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622" r:id="rId2"/>
    <p:sldId id="594" r:id="rId3"/>
    <p:sldId id="595" r:id="rId4"/>
    <p:sldId id="596" r:id="rId5"/>
    <p:sldId id="597" r:id="rId6"/>
    <p:sldId id="598" r:id="rId7"/>
    <p:sldId id="599" r:id="rId8"/>
    <p:sldId id="607" r:id="rId9"/>
    <p:sldId id="608" r:id="rId10"/>
    <p:sldId id="609" r:id="rId11"/>
    <p:sldId id="610" r:id="rId12"/>
    <p:sldId id="611" r:id="rId13"/>
    <p:sldId id="588" r:id="rId14"/>
  </p:sldIdLst>
  <p:sldSz cx="12192000" cy="6858000"/>
  <p:notesSz cx="6858000" cy="9144000"/>
  <p:custDataLst>
    <p:tags r:id="rId1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2" pos="279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31982"/>
    <a:srgbClr val="00B956"/>
    <a:srgbClr val="FF0000"/>
    <a:srgbClr val="F9CDC5"/>
    <a:srgbClr val="EB5A40"/>
    <a:srgbClr val="444189"/>
    <a:srgbClr val="00421F"/>
    <a:srgbClr val="F6F6F6"/>
    <a:srgbClr val="5BD9E5"/>
    <a:srgbClr val="FFA7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2" autoAdjust="0"/>
    <p:restoredTop sz="95282" autoAdjust="0"/>
  </p:normalViewPr>
  <p:slideViewPr>
    <p:cSldViewPr snapToGrid="0" showGuides="1">
      <p:cViewPr varScale="1">
        <p:scale>
          <a:sx n="117" d="100"/>
          <a:sy n="117" d="100"/>
        </p:scale>
        <p:origin x="-318" y="-102"/>
      </p:cViewPr>
      <p:guideLst>
        <p:guide orient="horz" pos="2160"/>
        <p:guide pos="27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\\var\folders\nx\jk_vbxm91_q829n6xmvw65hh0000gn\T\com.microsoft.Outlook\Outlook%20Temp\total_traveled_v2-1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rgbClr val="00B3A1"/>
              </a:solidFill>
              <a:round/>
            </a:ln>
            <a:effectLst/>
          </c:spPr>
          <c:marker>
            <c:symbol val="none"/>
          </c:marker>
          <c:cat>
            <c:strRef>
              <c:f>Sheet1!$B$2:$B$31</c:f>
              <c:strCache>
                <c:ptCount val="30"/>
                <c:pt idx="0">
                  <c:v>2016-09-01</c:v>
                </c:pt>
                <c:pt idx="1">
                  <c:v>2016-09-02</c:v>
                </c:pt>
                <c:pt idx="2">
                  <c:v>2016-09-03</c:v>
                </c:pt>
                <c:pt idx="3">
                  <c:v>2016-09-04</c:v>
                </c:pt>
                <c:pt idx="4">
                  <c:v>2016-09-05</c:v>
                </c:pt>
                <c:pt idx="5">
                  <c:v>2016-09-06</c:v>
                </c:pt>
                <c:pt idx="6">
                  <c:v>2016-09-07</c:v>
                </c:pt>
                <c:pt idx="7">
                  <c:v>2016-09-08</c:v>
                </c:pt>
                <c:pt idx="8">
                  <c:v>2016-09-09</c:v>
                </c:pt>
                <c:pt idx="9">
                  <c:v>2016-09-10</c:v>
                </c:pt>
                <c:pt idx="10">
                  <c:v>2016-09-11</c:v>
                </c:pt>
                <c:pt idx="11">
                  <c:v>2016-09-12</c:v>
                </c:pt>
                <c:pt idx="12">
                  <c:v>2016-09-13</c:v>
                </c:pt>
                <c:pt idx="13">
                  <c:v>2016-09-14</c:v>
                </c:pt>
                <c:pt idx="14">
                  <c:v>2016-09-15</c:v>
                </c:pt>
                <c:pt idx="15">
                  <c:v>2016-09-16</c:v>
                </c:pt>
                <c:pt idx="16">
                  <c:v>2016-09-17</c:v>
                </c:pt>
                <c:pt idx="17">
                  <c:v>2016-09-18</c:v>
                </c:pt>
                <c:pt idx="18">
                  <c:v>2016-09-19</c:v>
                </c:pt>
                <c:pt idx="19">
                  <c:v>2016-09-20</c:v>
                </c:pt>
                <c:pt idx="20">
                  <c:v>2016-09-21</c:v>
                </c:pt>
                <c:pt idx="21">
                  <c:v>2016-09-22</c:v>
                </c:pt>
                <c:pt idx="22">
                  <c:v>2016-09-23</c:v>
                </c:pt>
                <c:pt idx="23">
                  <c:v>2016-09-24</c:v>
                </c:pt>
                <c:pt idx="24">
                  <c:v>2016-09-25</c:v>
                </c:pt>
                <c:pt idx="25">
                  <c:v>2016-09-26</c:v>
                </c:pt>
                <c:pt idx="26">
                  <c:v>2016-09-27</c:v>
                </c:pt>
                <c:pt idx="27">
                  <c:v>2016-09-28</c:v>
                </c:pt>
                <c:pt idx="28">
                  <c:v>2016-09-29</c:v>
                </c:pt>
                <c:pt idx="29">
                  <c:v>2016-09-30</c:v>
                </c:pt>
              </c:strCache>
            </c:strRef>
          </c:cat>
          <c:val>
            <c:numRef>
              <c:f>Sheet1!$K$2:$K$31</c:f>
              <c:numCache>
                <c:formatCode>0%</c:formatCode>
                <c:ptCount val="30"/>
                <c:pt idx="0">
                  <c:v>0.17479167271565901</c:v>
                </c:pt>
                <c:pt idx="1">
                  <c:v>0.18844550038789801</c:v>
                </c:pt>
                <c:pt idx="2">
                  <c:v>0.19783571599076999</c:v>
                </c:pt>
                <c:pt idx="3">
                  <c:v>0.205003987829734</c:v>
                </c:pt>
                <c:pt idx="4">
                  <c:v>0.21032265927302601</c:v>
                </c:pt>
                <c:pt idx="5">
                  <c:v>0.21351958094287801</c:v>
                </c:pt>
                <c:pt idx="6">
                  <c:v>0.19598801014526199</c:v>
                </c:pt>
                <c:pt idx="7">
                  <c:v>0.176757011899734</c:v>
                </c:pt>
                <c:pt idx="8">
                  <c:v>0.17922258213789899</c:v>
                </c:pt>
                <c:pt idx="9">
                  <c:v>0.188975966562173</c:v>
                </c:pt>
                <c:pt idx="10">
                  <c:v>0.198385136308387</c:v>
                </c:pt>
                <c:pt idx="11">
                  <c:v>0.21911543359962901</c:v>
                </c:pt>
                <c:pt idx="12">
                  <c:v>0.213174578629968</c:v>
                </c:pt>
                <c:pt idx="13">
                  <c:v>0.20546661890722701</c:v>
                </c:pt>
                <c:pt idx="14">
                  <c:v>0.179647485993219</c:v>
                </c:pt>
                <c:pt idx="15">
                  <c:v>0.183826975349142</c:v>
                </c:pt>
                <c:pt idx="16">
                  <c:v>0.183534469363443</c:v>
                </c:pt>
                <c:pt idx="17">
                  <c:v>0.184766804607986</c:v>
                </c:pt>
                <c:pt idx="18">
                  <c:v>0.21987544797603001</c:v>
                </c:pt>
                <c:pt idx="19">
                  <c:v>0.212459689240692</c:v>
                </c:pt>
                <c:pt idx="20">
                  <c:v>0.20669835304520801</c:v>
                </c:pt>
                <c:pt idx="21">
                  <c:v>0.18498037376255999</c:v>
                </c:pt>
                <c:pt idx="22">
                  <c:v>0.18013571869216499</c:v>
                </c:pt>
                <c:pt idx="23">
                  <c:v>0.195749897834083</c:v>
                </c:pt>
                <c:pt idx="24">
                  <c:v>0.18968946844955201</c:v>
                </c:pt>
                <c:pt idx="25">
                  <c:v>0.21458801552786</c:v>
                </c:pt>
                <c:pt idx="26">
                  <c:v>0.21105289642719699</c:v>
                </c:pt>
                <c:pt idx="27">
                  <c:v>0.21257314925288301</c:v>
                </c:pt>
                <c:pt idx="28">
                  <c:v>0.184992343032159</c:v>
                </c:pt>
                <c:pt idx="29">
                  <c:v>0.18327587403688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903808"/>
        <c:axId val="66941312"/>
      </c:lineChart>
      <c:catAx>
        <c:axId val="64903808"/>
        <c:scaling>
          <c:orientation val="minMax"/>
        </c:scaling>
        <c:delete val="0"/>
        <c:axPos val="b"/>
        <c:numFmt formatCode="[$-419]d\ mmm;@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6941312"/>
        <c:crosses val="autoZero"/>
        <c:auto val="1"/>
        <c:lblAlgn val="ctr"/>
        <c:lblOffset val="100"/>
        <c:tickMarkSkip val="3"/>
        <c:noMultiLvlLbl val="0"/>
      </c:catAx>
      <c:valAx>
        <c:axId val="66941312"/>
        <c:scaling>
          <c:orientation val="minMax"/>
          <c:min val="0.15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4903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0AB80C-38C5-4D27-BD7B-DECE926C85A8}" type="datetimeFigureOut">
              <a:rPr lang="ru-RU" smtClean="0"/>
              <a:t>08.08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D08745-4CD9-4D67-A67A-7838FB82FFA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33157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1ED684-5AEF-4B00-9E6E-2753381A40F2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97935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1ED684-5AEF-4B00-9E6E-2753381A40F2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7610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CFDE9-5173-4D06-AE41-A4500DEA802F}" type="datetimeFigureOut">
              <a:rPr lang="ru-RU" smtClean="0"/>
              <a:t>08.08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3779-FD43-4DB5-8F4E-D0ACB2297EC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26114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CFDE9-5173-4D06-AE41-A4500DEA802F}" type="datetimeFigureOut">
              <a:rPr lang="ru-RU" smtClean="0"/>
              <a:t>08.08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3779-FD43-4DB5-8F4E-D0ACB2297EC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76278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CFDE9-5173-4D06-AE41-A4500DEA802F}" type="datetimeFigureOut">
              <a:rPr lang="ru-RU" smtClean="0"/>
              <a:t>08.08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3779-FD43-4DB5-8F4E-D0ACB2297EC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84709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Объект 10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8" y="1589"/>
          <a:ext cx="195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1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8" y="1589"/>
                        <a:ext cx="1953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800" y="335897"/>
            <a:ext cx="11419200" cy="787707"/>
          </a:xfrm>
          <a:prstGeom prst="rect">
            <a:avLst/>
          </a:prstGeom>
        </p:spPr>
        <p:txBody>
          <a:bodyPr/>
          <a:lstStyle>
            <a:lvl1pPr>
              <a:defRPr>
                <a:latin typeface="PF DinDisplay Pro" panose="02000506030000020004" pitchFamily="2" charset="0"/>
                <a:sym typeface="PF DinDisplay Pro" panose="02000506030000020004" pitchFamily="2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1200" y="6379782"/>
            <a:ext cx="3321051" cy="238293"/>
          </a:xfrm>
          <a:prstGeom prst="rect">
            <a:avLst/>
          </a:prstGeom>
        </p:spPr>
        <p:txBody>
          <a:bodyPr vert="horz" wrap="none" lIns="91440" tIns="45720" rIns="91440" bIns="45720" rtlCol="0" anchor="b" anchorCtr="0">
            <a:noAutofit/>
          </a:bodyPr>
          <a:lstStyle>
            <a:lvl1pPr>
              <a:defRPr lang="ru-RU" smtClean="0">
                <a:latin typeface="PF DinDisplay Pro" panose="02000506030000020004" pitchFamily="2" charset="0"/>
                <a:sym typeface="PF DinDisplay Pro" panose="02000506030000020004" pitchFamily="2" charset="0"/>
              </a:defRPr>
            </a:lvl1pPr>
          </a:lstStyle>
          <a:p>
            <a:endParaRPr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390525" y="6379782"/>
            <a:ext cx="320676" cy="238293"/>
          </a:xfrm>
          <a:prstGeom prst="rect">
            <a:avLst/>
          </a:prstGeom>
        </p:spPr>
        <p:txBody>
          <a:bodyPr/>
          <a:lstStyle>
            <a:lvl1pPr>
              <a:defRPr sz="1000">
                <a:latin typeface="PF DinDisplay Pro" panose="02000506030000020004" pitchFamily="2" charset="0"/>
                <a:sym typeface="PF DinDisplay Pro" panose="02000506030000020004" pitchFamily="2" charset="0"/>
              </a:defRPr>
            </a:lvl1pPr>
          </a:lstStyle>
          <a:p>
            <a:fld id="{98B4E4F1-47F5-42BB-BD7E-414202C1F421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Текст 3" title="comments_placeholder"/>
          <p:cNvSpPr>
            <a:spLocks noGrp="1"/>
          </p:cNvSpPr>
          <p:nvPr>
            <p:ph type="body" sz="quarter" idx="13" hasCustomPrompt="1"/>
          </p:nvPr>
        </p:nvSpPr>
        <p:spPr>
          <a:xfrm>
            <a:off x="711201" y="6330918"/>
            <a:ext cx="8930945" cy="3384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800" b="0">
                <a:solidFill>
                  <a:schemeClr val="tx1"/>
                </a:solidFill>
                <a:latin typeface="PF DinDisplay Pro" panose="02000506030000020004" pitchFamily="2" charset="0"/>
                <a:sym typeface="PF DinDisplay Pro" panose="02000506030000020004" pitchFamily="2" charset="0"/>
              </a:defRPr>
            </a:lvl1pPr>
          </a:lstStyle>
          <a:p>
            <a:pPr lvl="0"/>
            <a:r>
              <a:rPr lang="ru-RU" dirty="0" smtClean="0"/>
              <a:t>комментари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9914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" name="Объект 10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8" y="1589"/>
          <a:ext cx="195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8" y="1589"/>
                        <a:ext cx="1953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800" y="335897"/>
            <a:ext cx="11419200" cy="787707"/>
          </a:xfrm>
          <a:prstGeom prst="rect">
            <a:avLst/>
          </a:prstGeom>
        </p:spPr>
        <p:txBody>
          <a:bodyPr/>
          <a:lstStyle>
            <a:lvl1pPr>
              <a:defRPr>
                <a:latin typeface="PF DinDisplay Pro" panose="02000506030000020004" pitchFamily="2" charset="0"/>
                <a:sym typeface="PF DinDisplay Pro" panose="02000506030000020004" pitchFamily="2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1200" y="6379782"/>
            <a:ext cx="3321051" cy="238293"/>
          </a:xfrm>
          <a:prstGeom prst="rect">
            <a:avLst/>
          </a:prstGeom>
        </p:spPr>
        <p:txBody>
          <a:bodyPr vert="horz" wrap="none" lIns="91440" tIns="45720" rIns="91440" bIns="45720" rtlCol="0" anchor="b" anchorCtr="0">
            <a:noAutofit/>
          </a:bodyPr>
          <a:lstStyle>
            <a:lvl1pPr>
              <a:defRPr lang="ru-RU" smtClean="0">
                <a:latin typeface="PF DinDisplay Pro" panose="02000506030000020004" pitchFamily="2" charset="0"/>
                <a:sym typeface="PF DinDisplay Pro" panose="02000506030000020004" pitchFamily="2" charset="0"/>
              </a:defRPr>
            </a:lvl1pPr>
          </a:lstStyle>
          <a:p>
            <a:endParaRPr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390525" y="6379782"/>
            <a:ext cx="320676" cy="238293"/>
          </a:xfrm>
          <a:prstGeom prst="rect">
            <a:avLst/>
          </a:prstGeom>
        </p:spPr>
        <p:txBody>
          <a:bodyPr/>
          <a:lstStyle>
            <a:lvl1pPr>
              <a:defRPr sz="1000">
                <a:latin typeface="PF DinDisplay Pro" panose="02000506030000020004" pitchFamily="2" charset="0"/>
                <a:sym typeface="PF DinDisplay Pro" panose="02000506030000020004" pitchFamily="2" charset="0"/>
              </a:defRPr>
            </a:lvl1pPr>
          </a:lstStyle>
          <a:p>
            <a:fld id="{98B4E4F1-47F5-42BB-BD7E-414202C1F421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Текст 3" title="comments_placeholder"/>
          <p:cNvSpPr>
            <a:spLocks noGrp="1"/>
          </p:cNvSpPr>
          <p:nvPr>
            <p:ph type="body" sz="quarter" idx="13" hasCustomPrompt="1"/>
          </p:nvPr>
        </p:nvSpPr>
        <p:spPr>
          <a:xfrm>
            <a:off x="711201" y="6330918"/>
            <a:ext cx="8930945" cy="3384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800" b="0">
                <a:solidFill>
                  <a:schemeClr val="tx1"/>
                </a:solidFill>
                <a:latin typeface="PF DinDisplay Pro" panose="02000506030000020004" pitchFamily="2" charset="0"/>
                <a:sym typeface="PF DinDisplay Pro" panose="02000506030000020004" pitchFamily="2" charset="0"/>
              </a:defRPr>
            </a:lvl1pPr>
          </a:lstStyle>
          <a:p>
            <a:pPr lvl="0"/>
            <a:r>
              <a:rPr lang="ru-RU" dirty="0" smtClean="0"/>
              <a:t>комментари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4826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CFDE9-5173-4D06-AE41-A4500DEA802F}" type="datetimeFigureOut">
              <a:rPr lang="ru-RU" smtClean="0"/>
              <a:t>08.08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3779-FD43-4DB5-8F4E-D0ACB2297EC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3926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CFDE9-5173-4D06-AE41-A4500DEA802F}" type="datetimeFigureOut">
              <a:rPr lang="ru-RU" smtClean="0"/>
              <a:t>08.08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3779-FD43-4DB5-8F4E-D0ACB2297EC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76926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CFDE9-5173-4D06-AE41-A4500DEA802F}" type="datetimeFigureOut">
              <a:rPr lang="ru-RU" smtClean="0"/>
              <a:t>08.08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3779-FD43-4DB5-8F4E-D0ACB2297EC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019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CFDE9-5173-4D06-AE41-A4500DEA802F}" type="datetimeFigureOut">
              <a:rPr lang="ru-RU" smtClean="0"/>
              <a:t>08.08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3779-FD43-4DB5-8F4E-D0ACB2297EC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02745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CFDE9-5173-4D06-AE41-A4500DEA802F}" type="datetimeFigureOut">
              <a:rPr lang="ru-RU" smtClean="0"/>
              <a:t>08.08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3779-FD43-4DB5-8F4E-D0ACB2297EC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57312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CFDE9-5173-4D06-AE41-A4500DEA802F}" type="datetimeFigureOut">
              <a:rPr lang="ru-RU" smtClean="0"/>
              <a:t>08.08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3779-FD43-4DB5-8F4E-D0ACB2297EC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6485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CFDE9-5173-4D06-AE41-A4500DEA802F}" type="datetimeFigureOut">
              <a:rPr lang="ru-RU" smtClean="0"/>
              <a:t>08.08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3779-FD43-4DB5-8F4E-D0ACB2297EC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91576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5CFDE9-5173-4D06-AE41-A4500DEA802F}" type="datetimeFigureOut">
              <a:rPr lang="ru-RU" smtClean="0"/>
              <a:t>08.08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643779-FD43-4DB5-8F4E-D0ACB2297EC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95478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75CFDE9-5173-4D06-AE41-A4500DEA802F}" type="datetimeFigureOut">
              <a:rPr lang="ru-RU" smtClean="0"/>
              <a:t>08.08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643779-FD43-4DB5-8F4E-D0ACB2297EC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1729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4" r:id="rId12"/>
    <p:sldLayoutId id="214748367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5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.xml"/><Relationship Id="rId4" Type="http://schemas.openxmlformats.org/officeDocument/2006/relationships/image" Target="../media/image2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tiff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5.xml"/><Relationship Id="rId7" Type="http://schemas.openxmlformats.org/officeDocument/2006/relationships/image" Target="../media/image9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3198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801685" y="4377475"/>
            <a:ext cx="10760672" cy="92301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ctr">
              <a:buClr>
                <a:srgbClr val="57068C"/>
              </a:buClr>
              <a:buSzPct val="100000"/>
            </a:pPr>
            <a:endParaRPr lang="ru-RU" sz="5398" b="1" dirty="0">
              <a:solidFill>
                <a:prstClr val="white"/>
              </a:solidFill>
              <a:latin typeface="Arial Black" panose="020B0A04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384" y="6085834"/>
            <a:ext cx="2021629" cy="473804"/>
          </a:xfrm>
          <a:prstGeom prst="rect">
            <a:avLst/>
          </a:prstGeom>
        </p:spPr>
      </p:pic>
      <p:sp>
        <p:nvSpPr>
          <p:cNvPr id="4" name="Заголовок 1"/>
          <p:cNvSpPr txBox="1">
            <a:spLocks/>
          </p:cNvSpPr>
          <p:nvPr/>
        </p:nvSpPr>
        <p:spPr>
          <a:xfrm>
            <a:off x="301225" y="596563"/>
            <a:ext cx="11517535" cy="2204689"/>
          </a:xfrm>
          <a:prstGeom prst="rect">
            <a:avLst/>
          </a:prstGeom>
        </p:spPr>
        <p:txBody>
          <a:bodyPr vert="horz" lIns="91412" tIns="45706" rIns="91412" bIns="45706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rgbClr val="57068C"/>
              </a:buClr>
              <a:buSzPct val="100000"/>
            </a:pPr>
            <a:r>
              <a:rPr lang="en-US" sz="5398" b="1" dirty="0" smtClean="0">
                <a:solidFill>
                  <a:prstClr val="white"/>
                </a:solidFill>
                <a:latin typeface="Arial Black" panose="020B0A04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IG DATA </a:t>
            </a:r>
            <a:endParaRPr lang="ru-RU" sz="5398" b="1" dirty="0">
              <a:solidFill>
                <a:prstClr val="white"/>
              </a:solidFill>
              <a:latin typeface="Arial Black" panose="020B0A04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5477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7765928" y="1807590"/>
            <a:ext cx="4082875" cy="4172363"/>
          </a:xfrm>
          <a:prstGeom prst="rect">
            <a:avLst/>
          </a:prstGeom>
          <a:solidFill>
            <a:schemeClr val="bg2">
              <a:lumMod val="8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970" tIns="47985" rIns="95970" bIns="47985" rtlCol="0" anchor="t" anchorCtr="0"/>
          <a:lstStyle/>
          <a:p>
            <a:pPr algn="ctr"/>
            <a:endParaRPr lang="ru-RU" sz="1866" dirty="0" err="1"/>
          </a:p>
        </p:txBody>
      </p:sp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2586433"/>
              </p:ext>
            </p:extLst>
          </p:nvPr>
        </p:nvGraphicFramePr>
        <p:xfrm>
          <a:off x="3997" y="2116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1" name="Слайд think-cell" r:id="rId4" imgW="470" imgH="469" progId="TCLayout.ActiveDocument.1">
                  <p:embed/>
                </p:oleObj>
              </mc:Choice>
              <mc:Fallback>
                <p:oleObj name="Слайд think-cell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997" y="2116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" name="Рисунок 3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6607" y="5946472"/>
            <a:ext cx="2311435" cy="734685"/>
          </a:xfrm>
          <a:prstGeom prst="rect">
            <a:avLst/>
          </a:prstGeom>
        </p:spPr>
      </p:pic>
      <p:grpSp>
        <p:nvGrpSpPr>
          <p:cNvPr id="40" name="Группа 39"/>
          <p:cNvGrpSpPr/>
          <p:nvPr/>
        </p:nvGrpSpPr>
        <p:grpSpPr>
          <a:xfrm>
            <a:off x="10774106" y="6142957"/>
            <a:ext cx="1079328" cy="341715"/>
            <a:chOff x="10776993" y="6289862"/>
            <a:chExt cx="1079995" cy="341925"/>
          </a:xfrm>
        </p:grpSpPr>
        <p:sp>
          <p:nvSpPr>
            <p:cNvPr id="42" name="Овал 41"/>
            <p:cNvSpPr/>
            <p:nvPr/>
          </p:nvSpPr>
          <p:spPr>
            <a:xfrm>
              <a:off x="10776993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8">
                <a:cs typeface="Arial" panose="020B0604020202020204" pitchFamily="34" charset="0"/>
              </a:endParaRPr>
            </a:p>
          </p:txBody>
        </p:sp>
        <p:sp>
          <p:nvSpPr>
            <p:cNvPr id="44" name="Овал 43"/>
            <p:cNvSpPr/>
            <p:nvPr/>
          </p:nvSpPr>
          <p:spPr>
            <a:xfrm>
              <a:off x="11515064" y="6289862"/>
              <a:ext cx="341924" cy="341925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8">
                <a:cs typeface="Arial" panose="020B0604020202020204" pitchFamily="34" charset="0"/>
              </a:endParaRPr>
            </a:p>
          </p:txBody>
        </p:sp>
        <p:sp>
          <p:nvSpPr>
            <p:cNvPr id="45" name="Овал 44"/>
            <p:cNvSpPr/>
            <p:nvPr/>
          </p:nvSpPr>
          <p:spPr>
            <a:xfrm>
              <a:off x="11146028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8">
                <a:cs typeface="Arial" panose="020B0604020202020204" pitchFamily="34" charset="0"/>
              </a:endParaRPr>
            </a:p>
          </p:txBody>
        </p:sp>
      </p:grpSp>
      <p:sp>
        <p:nvSpPr>
          <p:cNvPr id="46" name="Заголовок 4"/>
          <p:cNvSpPr txBox="1">
            <a:spLocks/>
          </p:cNvSpPr>
          <p:nvPr/>
        </p:nvSpPr>
        <p:spPr>
          <a:xfrm>
            <a:off x="352724" y="207645"/>
            <a:ext cx="11623872" cy="1183960"/>
          </a:xfrm>
          <a:prstGeom prst="rect">
            <a:avLst/>
          </a:prstGeom>
        </p:spPr>
        <p:txBody>
          <a:bodyPr anchor="t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57068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189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378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754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defTabSz="403100">
              <a:spcBef>
                <a:spcPts val="0"/>
              </a:spcBef>
              <a:spcAft>
                <a:spcPts val="0"/>
              </a:spcAft>
            </a:pPr>
            <a:r>
              <a:rPr lang="ru-RU" sz="3599" b="1" dirty="0">
                <a:solidFill>
                  <a:schemeClr val="tx1"/>
                </a:solidFill>
                <a:latin typeface="Arial Black" panose="020B0A04020102020204" pitchFamily="34" charset="0"/>
                <a:ea typeface="Gotham Pro Medium" charset="0"/>
                <a:cs typeface="Gotham Pro Medium" charset="0"/>
              </a:rPr>
              <a:t>Кейс: строительство альтернативного внеуличного транспорта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60058" y="1418106"/>
            <a:ext cx="7081948" cy="24183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ct val="0"/>
              </a:spcBef>
            </a:pPr>
            <a:endParaRPr lang="ru-RU" sz="1400" dirty="0"/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ru-RU" sz="1866" b="1" dirty="0"/>
              <a:t>Задача: </a:t>
            </a:r>
            <a:r>
              <a:rPr lang="ru-RU" sz="1866" dirty="0"/>
              <a:t>Оценить необходимость в новой дороге </a:t>
            </a:r>
            <a:r>
              <a:rPr lang="en-US" sz="1866" dirty="0"/>
              <a:t>/</a:t>
            </a:r>
            <a:r>
              <a:rPr lang="ru-RU" sz="1866" dirty="0"/>
              <a:t> развязке и спрогнозировать спрос.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endParaRPr lang="ru-RU" sz="1866" dirty="0"/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ru-RU" sz="1866" b="1" dirty="0"/>
              <a:t>Решение – трёхэтапная аналитика: </a:t>
            </a:r>
            <a:r>
              <a:rPr lang="ru-RU" sz="1866" dirty="0"/>
              <a:t>предварительная оценка и замеры, прогнозирование, интервьюирование 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ru-RU" sz="1866" dirty="0"/>
              <a:t>(определение оптимальной стоимости проезда)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7850721" y="1886180"/>
            <a:ext cx="4125876" cy="38823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sz="1466" b="1" dirty="0"/>
              <a:t>Case</a:t>
            </a:r>
            <a:r>
              <a:rPr lang="ru-RU" sz="1466" b="1" dirty="0"/>
              <a:t>:</a:t>
            </a:r>
          </a:p>
          <a:p>
            <a:pPr>
              <a:lnSpc>
                <a:spcPct val="120000"/>
              </a:lnSpc>
              <a:spcBef>
                <a:spcPct val="0"/>
              </a:spcBef>
            </a:pPr>
            <a:endParaRPr lang="ru-RU" sz="1466" dirty="0"/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sz="1466" dirty="0"/>
              <a:t>    </a:t>
            </a:r>
            <a:r>
              <a:rPr lang="ru-RU" sz="1466" dirty="0"/>
              <a:t>Для проекта строительства </a:t>
            </a:r>
            <a:r>
              <a:rPr lang="ru-RU" sz="1466" b="1" dirty="0"/>
              <a:t>канатной дороги </a:t>
            </a:r>
            <a:r>
              <a:rPr lang="ru-RU" sz="1466" dirty="0"/>
              <a:t>было проведено исследование по оценке существующего пассажиропотока, чтобы спрогнозировать ожидаемое количество пассажиров после строительства. Также были исследованы предполагаемые пункты посадки-высадки. </a:t>
            </a:r>
            <a:endParaRPr lang="en-US" sz="1466" dirty="0"/>
          </a:p>
          <a:p>
            <a:pPr>
              <a:lnSpc>
                <a:spcPct val="120000"/>
              </a:lnSpc>
              <a:spcBef>
                <a:spcPct val="0"/>
              </a:spcBef>
            </a:pPr>
            <a:endParaRPr lang="en-US" sz="1466" dirty="0"/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sz="1466" dirty="0"/>
              <a:t>   </a:t>
            </a:r>
            <a:r>
              <a:rPr lang="ru-RU" sz="1466" dirty="0"/>
              <a:t>По результатам исследования была определена приоритетная локация для строительства канатной дороги, а также спрогнозирован пассажиропоток.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 flipH="1">
            <a:off x="7442006" y="1651304"/>
            <a:ext cx="3534" cy="4654563"/>
          </a:xfrm>
          <a:prstGeom prst="line">
            <a:avLst/>
          </a:prstGeom>
          <a:ln w="88900" cap="rnd">
            <a:solidFill>
              <a:schemeClr val="bg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259204" y="3866070"/>
            <a:ext cx="389850" cy="4615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99" dirty="0">
                <a:solidFill>
                  <a:srgbClr val="731982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572643" y="3625853"/>
            <a:ext cx="7278074" cy="6093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ct val="0"/>
              </a:spcBef>
            </a:pPr>
            <a:endParaRPr lang="ru-RU" sz="1400" dirty="0"/>
          </a:p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ru-RU" sz="1400" b="1" dirty="0"/>
              <a:t>Анализ</a:t>
            </a:r>
            <a:r>
              <a:rPr lang="ru-RU" sz="1400" dirty="0"/>
              <a:t> </a:t>
            </a:r>
            <a:r>
              <a:rPr lang="ru-RU" sz="1400" b="1" dirty="0"/>
              <a:t>паттернов перемещения </a:t>
            </a:r>
            <a:r>
              <a:rPr lang="ru-RU" sz="1400" dirty="0"/>
              <a:t>населения между различными локациями.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572643" y="4496830"/>
            <a:ext cx="7278074" cy="350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ru-RU" sz="1400" b="1" dirty="0"/>
              <a:t>Прогноз</a:t>
            </a:r>
            <a:r>
              <a:rPr lang="ru-RU" sz="1400" dirty="0"/>
              <a:t> </a:t>
            </a:r>
            <a:r>
              <a:rPr lang="ru-RU" sz="1400" b="1" dirty="0"/>
              <a:t>потенциального трафика </a:t>
            </a:r>
            <a:r>
              <a:rPr lang="ru-RU" sz="1400" dirty="0"/>
              <a:t>для нового объекта.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72643" y="5024834"/>
            <a:ext cx="6548975" cy="112646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120000"/>
              </a:lnSpc>
              <a:spcBef>
                <a:spcPct val="0"/>
              </a:spcBef>
              <a:defRPr sz="1050">
                <a:latin typeface="GT Walsheim v2 Manual" panose="00000500000000000000" pitchFamily="50" charset="-52"/>
              </a:defRPr>
            </a:lvl1pPr>
          </a:lstStyle>
          <a:p>
            <a:r>
              <a:rPr lang="ru-RU" sz="1400" b="1" dirty="0">
                <a:latin typeface="+mn-lt"/>
              </a:rPr>
              <a:t>Анкетирование потенциальной аудитории</a:t>
            </a:r>
            <a:r>
              <a:rPr lang="ru-RU" sz="1400" dirty="0">
                <a:latin typeface="+mn-lt"/>
              </a:rPr>
              <a:t> для оценки готовности использования нового маршрута, а также покупательской способности  (для определения оптимальной стоимости проезда).</a:t>
            </a:r>
          </a:p>
          <a:p>
            <a:endParaRPr lang="ru-RU" sz="1400" dirty="0">
              <a:latin typeface="+mn-lt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50419" y="4459564"/>
            <a:ext cx="389850" cy="4615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399" dirty="0">
                <a:solidFill>
                  <a:srgbClr val="731982"/>
                </a:solidFill>
                <a:latin typeface="Arial Black" panose="020B0A04020102020204" pitchFamily="34" charset="0"/>
              </a:rPr>
              <a:t>2</a:t>
            </a:r>
            <a:endParaRPr lang="ru-RU" sz="2399" dirty="0">
              <a:solidFill>
                <a:srgbClr val="731982"/>
              </a:solidFill>
              <a:latin typeface="Arial Black" panose="020B0A040201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52255" y="5043453"/>
            <a:ext cx="389850" cy="4615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399" dirty="0">
                <a:solidFill>
                  <a:srgbClr val="731982"/>
                </a:solidFill>
                <a:latin typeface="Arial Black" panose="020B0A04020102020204" pitchFamily="34" charset="0"/>
              </a:rPr>
              <a:t>3</a:t>
            </a:r>
            <a:endParaRPr lang="ru-RU" sz="2399" dirty="0">
              <a:solidFill>
                <a:srgbClr val="731982"/>
              </a:solidFill>
              <a:latin typeface="Arial Black" panose="020B0A0402010202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572644" y="3847448"/>
            <a:ext cx="641362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572644" y="2596058"/>
            <a:ext cx="641362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631407" y="6001346"/>
            <a:ext cx="6413628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9289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804" y="5947249"/>
            <a:ext cx="2312148" cy="734912"/>
          </a:xfrm>
          <a:prstGeom prst="rect">
            <a:avLst/>
          </a:prstGeom>
        </p:spPr>
      </p:pic>
      <p:grpSp>
        <p:nvGrpSpPr>
          <p:cNvPr id="3" name="Группа 2"/>
          <p:cNvGrpSpPr/>
          <p:nvPr/>
        </p:nvGrpSpPr>
        <p:grpSpPr>
          <a:xfrm>
            <a:off x="10775549" y="6143794"/>
            <a:ext cx="1079661" cy="341820"/>
            <a:chOff x="10776993" y="6289862"/>
            <a:chExt cx="1079995" cy="341925"/>
          </a:xfrm>
        </p:grpSpPr>
        <p:sp>
          <p:nvSpPr>
            <p:cNvPr id="4" name="Овал 3"/>
            <p:cNvSpPr/>
            <p:nvPr/>
          </p:nvSpPr>
          <p:spPr>
            <a:xfrm>
              <a:off x="10776993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Овал 4"/>
            <p:cNvSpPr/>
            <p:nvPr/>
          </p:nvSpPr>
          <p:spPr>
            <a:xfrm>
              <a:off x="11515064" y="6289862"/>
              <a:ext cx="341924" cy="341925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Овал 5"/>
            <p:cNvSpPr/>
            <p:nvPr/>
          </p:nvSpPr>
          <p:spPr>
            <a:xfrm>
              <a:off x="11146028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0" name="Как подключить сервис"/>
          <p:cNvSpPr txBox="1"/>
          <p:nvPr/>
        </p:nvSpPr>
        <p:spPr>
          <a:xfrm>
            <a:off x="319086" y="545148"/>
            <a:ext cx="10888414" cy="48203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91412" tIns="45706" rIns="91412" bIns="45706" rtlCol="0" anchor="ctr">
            <a:noAutofit/>
          </a:bodyPr>
          <a:lstStyle>
            <a:defPPr>
              <a:defRPr lang="ru-RU"/>
            </a:defPPr>
            <a:lvl1pPr marR="0" indent="0" defTabSz="3024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uFillTx/>
                <a:latin typeface="PF DinDisplay Pro Black" panose="02000503030000020004" pitchFamily="2" charset="0"/>
                <a:ea typeface="Gotham Pro Medium" charset="0"/>
                <a:cs typeface="Gotham Pro Medium" charset="0"/>
              </a:defRPr>
            </a:lvl1pPr>
            <a:lvl2pPr marL="0" marR="0" indent="83748" algn="ctr" defTabSz="3024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103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</a:defRPr>
            </a:lvl2pPr>
            <a:lvl3pPr marL="0" marR="0" indent="167495" algn="ctr" defTabSz="3024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103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</a:defRPr>
            </a:lvl3pPr>
            <a:lvl4pPr marL="0" marR="0" indent="251243" algn="ctr" defTabSz="3024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103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</a:defRPr>
            </a:lvl4pPr>
            <a:lvl5pPr marL="0" marR="0" indent="334991" algn="ctr" defTabSz="3024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103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</a:defRPr>
            </a:lvl5pPr>
            <a:lvl6pPr marL="0" marR="0" indent="418739" algn="ctr" defTabSz="3024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103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</a:defRPr>
            </a:lvl6pPr>
            <a:lvl7pPr marL="0" marR="0" indent="502486" algn="ctr" defTabSz="3024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103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</a:defRPr>
            </a:lvl7pPr>
            <a:lvl8pPr marL="0" marR="0" indent="586233" algn="ctr" defTabSz="3024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103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</a:defRPr>
            </a:lvl8pPr>
            <a:lvl9pPr marL="0" marR="0" indent="669981" algn="ctr" defTabSz="3024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103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</a:defRPr>
            </a:lvl9pPr>
          </a:lstStyle>
          <a:p>
            <a:r>
              <a:rPr lang="ru-RU" sz="3599" dirty="0">
                <a:latin typeface="Arial Black" panose="020B0A04020102020204" pitchFamily="34" charset="0"/>
              </a:rPr>
              <a:t>Планирование маршрутной сети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1817722" y="1550669"/>
            <a:ext cx="526106" cy="7077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999" dirty="0">
                <a:latin typeface="Arial Black" panose="020B0A04020102020204" pitchFamily="34" charset="0"/>
              </a:rPr>
              <a:t>1</a:t>
            </a:r>
            <a:endParaRPr lang="ru-RU" sz="3999" dirty="0"/>
          </a:p>
        </p:txBody>
      </p:sp>
      <p:sp>
        <p:nvSpPr>
          <p:cNvPr id="42" name="Прямоугольник 41"/>
          <p:cNvSpPr/>
          <p:nvPr/>
        </p:nvSpPr>
        <p:spPr>
          <a:xfrm>
            <a:off x="5557309" y="1550669"/>
            <a:ext cx="526106" cy="7077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999" dirty="0">
                <a:solidFill>
                  <a:srgbClr val="00B050"/>
                </a:solidFill>
                <a:latin typeface="Arial Black" panose="020B0A04020102020204" pitchFamily="34" charset="0"/>
              </a:rPr>
              <a:t>2</a:t>
            </a:r>
            <a:endParaRPr lang="ru-RU" sz="3999" dirty="0">
              <a:solidFill>
                <a:srgbClr val="00B050"/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9503767" y="1550669"/>
            <a:ext cx="526106" cy="7077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999" dirty="0">
                <a:solidFill>
                  <a:srgbClr val="00B050"/>
                </a:solidFill>
                <a:latin typeface="Arial Black" panose="020B0A04020102020204" pitchFamily="34" charset="0"/>
              </a:rPr>
              <a:t>3</a:t>
            </a:r>
            <a:endParaRPr lang="ru-RU" sz="3999" dirty="0">
              <a:solidFill>
                <a:srgbClr val="00B050"/>
              </a:solidFill>
            </a:endParaRPr>
          </a:p>
        </p:txBody>
      </p:sp>
      <p:grpSp>
        <p:nvGrpSpPr>
          <p:cNvPr id="48" name="Группа 47"/>
          <p:cNvGrpSpPr/>
          <p:nvPr/>
        </p:nvGrpSpPr>
        <p:grpSpPr>
          <a:xfrm>
            <a:off x="4092905" y="2391434"/>
            <a:ext cx="4006206" cy="3151565"/>
            <a:chOff x="2760062" y="2600572"/>
            <a:chExt cx="2314768" cy="1513439"/>
          </a:xfrm>
        </p:grpSpPr>
        <p:cxnSp>
          <p:nvCxnSpPr>
            <p:cNvPr id="37" name="Прямая соединительная линия 36"/>
            <p:cNvCxnSpPr/>
            <p:nvPr/>
          </p:nvCxnSpPr>
          <p:spPr>
            <a:xfrm>
              <a:off x="5074830" y="2600572"/>
              <a:ext cx="0" cy="1513439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Прямая соединительная линия 44"/>
            <p:cNvCxnSpPr/>
            <p:nvPr/>
          </p:nvCxnSpPr>
          <p:spPr>
            <a:xfrm>
              <a:off x="2760062" y="2600572"/>
              <a:ext cx="0" cy="1513439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Прямоугольник 24"/>
          <p:cNvSpPr/>
          <p:nvPr/>
        </p:nvSpPr>
        <p:spPr>
          <a:xfrm>
            <a:off x="319085" y="2296836"/>
            <a:ext cx="3826774" cy="9537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66" dirty="0">
                <a:ea typeface="Gotham Pro" charset="0"/>
                <a:cs typeface="Gotham Pro" charset="0"/>
              </a:rPr>
              <a:t>Поток профилируется по </a:t>
            </a:r>
            <a:r>
              <a:rPr lang="ru-RU" sz="1866" b="1" dirty="0">
                <a:ea typeface="Gotham Pro" charset="0"/>
                <a:cs typeface="Gotham Pro" charset="0"/>
              </a:rPr>
              <a:t>типу транспорта </a:t>
            </a:r>
            <a:r>
              <a:rPr lang="ru-RU" sz="1866" dirty="0">
                <a:ea typeface="Gotham Pro" charset="0"/>
                <a:cs typeface="Gotham Pro" charset="0"/>
              </a:rPr>
              <a:t>и другим качественным характеристикам</a:t>
            </a:r>
          </a:p>
        </p:txBody>
      </p:sp>
      <p:cxnSp>
        <p:nvCxnSpPr>
          <p:cNvPr id="35" name="Straight Connector 34"/>
          <p:cNvCxnSpPr/>
          <p:nvPr/>
        </p:nvCxnSpPr>
        <p:spPr>
          <a:xfrm>
            <a:off x="455074" y="5426032"/>
            <a:ext cx="11410553" cy="0"/>
          </a:xfrm>
          <a:prstGeom prst="line">
            <a:avLst/>
          </a:prstGeom>
          <a:solidFill>
            <a:srgbClr val="5F19AA"/>
          </a:solidFill>
          <a:ln w="190500" cap="flat">
            <a:gradFill>
              <a:gsLst>
                <a:gs pos="0">
                  <a:schemeClr val="tx1"/>
                </a:gs>
                <a:gs pos="58000">
                  <a:srgbClr val="731982"/>
                </a:gs>
                <a:gs pos="39000">
                  <a:srgbClr val="731982"/>
                </a:gs>
                <a:gs pos="84000">
                  <a:srgbClr val="00B956"/>
                </a:gs>
              </a:gsLst>
              <a:lin ang="0" scaled="0"/>
            </a:gra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Текст 4"/>
          <p:cNvSpPr txBox="1">
            <a:spLocks/>
          </p:cNvSpPr>
          <p:nvPr/>
        </p:nvSpPr>
        <p:spPr>
          <a:xfrm>
            <a:off x="4092905" y="2296052"/>
            <a:ext cx="4089082" cy="95372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ea typeface="Gotham Pro" charset="0"/>
                <a:cs typeface="Gotham Pro" charset="0"/>
              </a:defRPr>
            </a:lvl1pPr>
          </a:lstStyle>
          <a:p>
            <a:r>
              <a:rPr lang="ru-RU" sz="1866" dirty="0"/>
              <a:t>Выделение сегмента </a:t>
            </a:r>
            <a:r>
              <a:rPr lang="ru-RU" sz="1866" b="1" dirty="0"/>
              <a:t>постоянных пассажиров</a:t>
            </a:r>
            <a:r>
              <a:rPr lang="ru-RU" sz="1866" dirty="0"/>
              <a:t> (ядро клиентской базы) для каждого транспорта</a:t>
            </a:r>
          </a:p>
        </p:txBody>
      </p:sp>
      <p:sp>
        <p:nvSpPr>
          <p:cNvPr id="36" name="Текст 4"/>
          <p:cNvSpPr txBox="1">
            <a:spLocks/>
          </p:cNvSpPr>
          <p:nvPr/>
        </p:nvSpPr>
        <p:spPr>
          <a:xfrm>
            <a:off x="8099111" y="2296052"/>
            <a:ext cx="4355970" cy="95372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ea typeface="Gotham Pro" charset="0"/>
                <a:cs typeface="Gotham Pro" charset="0"/>
              </a:defRPr>
            </a:lvl1pPr>
          </a:lstStyle>
          <a:p>
            <a:r>
              <a:rPr lang="ru-RU" sz="1866" b="1" dirty="0"/>
              <a:t>Прогноз потребления </a:t>
            </a:r>
            <a:r>
              <a:rPr lang="ru-RU" sz="1866" dirty="0"/>
              <a:t>транспортных услуг по типам транспорта, направлениям и времени</a:t>
            </a:r>
          </a:p>
        </p:txBody>
      </p:sp>
      <p:pic>
        <p:nvPicPr>
          <p:cNvPr id="49" name="Picture 224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3837" y="3215043"/>
            <a:ext cx="2720306" cy="2059287"/>
          </a:xfrm>
          <a:prstGeom prst="rect">
            <a:avLst/>
          </a:prstGeom>
        </p:spPr>
      </p:pic>
      <p:pic>
        <p:nvPicPr>
          <p:cNvPr id="50" name="Picture 24"/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3">
                <a:tint val="45000"/>
                <a:satMod val="400000"/>
              </a:schemeClr>
            </a:duotone>
            <a:lum bright="-40000" contrast="-40000"/>
          </a:blip>
          <a:stretch>
            <a:fillRect/>
          </a:stretch>
        </p:blipFill>
        <p:spPr>
          <a:xfrm>
            <a:off x="5050604" y="3316623"/>
            <a:ext cx="2032339" cy="1692083"/>
          </a:xfrm>
          <a:prstGeom prst="rect">
            <a:avLst/>
          </a:prstGeom>
        </p:spPr>
      </p:pic>
      <p:graphicFrame>
        <p:nvGraphicFramePr>
          <p:cNvPr id="51" name="Диаграмма 50"/>
          <p:cNvGraphicFramePr>
            <a:graphicFrameLocks/>
          </p:cNvGraphicFramePr>
          <p:nvPr>
            <p:extLst/>
          </p:nvPr>
        </p:nvGraphicFramePr>
        <p:xfrm>
          <a:off x="8099112" y="3552759"/>
          <a:ext cx="3937407" cy="16019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53942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/>
        </p:nvSpPr>
        <p:spPr>
          <a:xfrm>
            <a:off x="228792" y="1283655"/>
            <a:ext cx="5606227" cy="4662818"/>
          </a:xfrm>
          <a:prstGeom prst="rect">
            <a:avLst/>
          </a:prstGeom>
          <a:solidFill>
            <a:schemeClr val="bg2">
              <a:lumMod val="7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399"/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6607" y="5946472"/>
            <a:ext cx="2311435" cy="734685"/>
          </a:xfrm>
          <a:prstGeom prst="rect">
            <a:avLst/>
          </a:prstGeom>
        </p:spPr>
      </p:pic>
      <p:grpSp>
        <p:nvGrpSpPr>
          <p:cNvPr id="40" name="Группа 39"/>
          <p:cNvGrpSpPr/>
          <p:nvPr/>
        </p:nvGrpSpPr>
        <p:grpSpPr>
          <a:xfrm>
            <a:off x="10774106" y="6142957"/>
            <a:ext cx="1079328" cy="341715"/>
            <a:chOff x="10776993" y="6289862"/>
            <a:chExt cx="1079995" cy="341925"/>
          </a:xfrm>
        </p:grpSpPr>
        <p:sp>
          <p:nvSpPr>
            <p:cNvPr id="42" name="Овал 41"/>
            <p:cNvSpPr/>
            <p:nvPr/>
          </p:nvSpPr>
          <p:spPr>
            <a:xfrm>
              <a:off x="10776993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8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Овал 43"/>
            <p:cNvSpPr/>
            <p:nvPr/>
          </p:nvSpPr>
          <p:spPr>
            <a:xfrm>
              <a:off x="11515064" y="6289862"/>
              <a:ext cx="341924" cy="341925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8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Овал 44"/>
            <p:cNvSpPr/>
            <p:nvPr/>
          </p:nvSpPr>
          <p:spPr>
            <a:xfrm>
              <a:off x="11146028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8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6" name="Заголовок 4"/>
          <p:cNvSpPr txBox="1">
            <a:spLocks/>
          </p:cNvSpPr>
          <p:nvPr/>
        </p:nvSpPr>
        <p:spPr>
          <a:xfrm>
            <a:off x="324886" y="213690"/>
            <a:ext cx="11333950" cy="1183960"/>
          </a:xfrm>
          <a:prstGeom prst="rect">
            <a:avLst/>
          </a:prstGeom>
        </p:spPr>
        <p:txBody>
          <a:bodyPr anchor="t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57068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189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378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754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3599" dirty="0">
                <a:solidFill>
                  <a:schemeClr val="tx1"/>
                </a:solidFill>
                <a:latin typeface="Arial Black" panose="020B0A04020102020204" pitchFamily="34" charset="0"/>
              </a:rPr>
              <a:t>Кейс: оптимизация маршрутов</a:t>
            </a:r>
          </a:p>
        </p:txBody>
      </p:sp>
      <p:sp>
        <p:nvSpPr>
          <p:cNvPr id="86" name="Прямоугольник 85"/>
          <p:cNvSpPr/>
          <p:nvPr/>
        </p:nvSpPr>
        <p:spPr>
          <a:xfrm>
            <a:off x="6379045" y="5082522"/>
            <a:ext cx="2514938" cy="246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1599"/>
              </a:spcAft>
            </a:pPr>
            <a:r>
              <a:rPr kumimoji="1" lang="ru-RU" sz="1599" dirty="0">
                <a:ea typeface="ヒラギノ角ゴ ProN W3"/>
                <a:cs typeface="Arial" panose="020B0604020202020204" pitchFamily="34" charset="0"/>
              </a:rPr>
              <a:t>Уровень городских улиц</a:t>
            </a:r>
          </a:p>
        </p:txBody>
      </p:sp>
      <p:sp>
        <p:nvSpPr>
          <p:cNvPr id="87" name="Прямоугольник 86"/>
          <p:cNvSpPr/>
          <p:nvPr/>
        </p:nvSpPr>
        <p:spPr>
          <a:xfrm>
            <a:off x="9223047" y="5076079"/>
            <a:ext cx="2799828" cy="246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>
              <a:spcAft>
                <a:spcPts val="1599"/>
              </a:spcAft>
            </a:pPr>
            <a:r>
              <a:rPr kumimoji="1" lang="ru-RU" sz="1599" dirty="0">
                <a:ea typeface="ヒラギノ角ゴ ProN W3"/>
                <a:cs typeface="Arial" panose="020B0604020202020204" pitchFamily="34" charset="0"/>
              </a:rPr>
              <a:t>Уровень районов и городов</a:t>
            </a:r>
          </a:p>
        </p:txBody>
      </p:sp>
      <p:sp>
        <p:nvSpPr>
          <p:cNvPr id="31" name="Rectangle 7"/>
          <p:cNvSpPr>
            <a:spLocks/>
          </p:cNvSpPr>
          <p:nvPr/>
        </p:nvSpPr>
        <p:spPr bwMode="auto">
          <a:xfrm>
            <a:off x="347608" y="1688483"/>
            <a:ext cx="5388045" cy="3855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ctr">
              <a:defRPr kumimoji="1" sz="3200">
                <a:solidFill>
                  <a:schemeClr val="tx1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1pPr>
            <a:lvl2pPr marL="742950" indent="-285750" algn="ctr">
              <a:defRPr kumimoji="1" sz="3200">
                <a:solidFill>
                  <a:schemeClr val="tx1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2pPr>
            <a:lvl3pPr marL="1143000" indent="-228600" algn="ctr">
              <a:defRPr kumimoji="1" sz="3200">
                <a:solidFill>
                  <a:schemeClr val="tx1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3pPr>
            <a:lvl4pPr marL="1600200" indent="-228600" algn="ctr">
              <a:defRPr kumimoji="1" sz="3200">
                <a:solidFill>
                  <a:schemeClr val="tx1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4pPr>
            <a:lvl5pPr marL="2057400" indent="-228600" algn="ctr">
              <a:defRPr kumimoji="1" sz="3200">
                <a:solidFill>
                  <a:schemeClr val="tx1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9pPr>
          </a:lstStyle>
          <a:p>
            <a:pPr algn="l">
              <a:spcAft>
                <a:spcPts val="1599"/>
              </a:spcAft>
            </a:pPr>
            <a:r>
              <a:rPr lang="ru-RU" sz="1866" b="1" dirty="0">
                <a:latin typeface="+mn-lt"/>
                <a:cs typeface="Arial" panose="020B0604020202020204" pitchFamily="34" charset="0"/>
              </a:rPr>
              <a:t>Задача: </a:t>
            </a:r>
            <a:r>
              <a:rPr lang="ru-RU" sz="1866" dirty="0">
                <a:latin typeface="+mn-lt"/>
                <a:cs typeface="Arial" panose="020B0604020202020204" pitchFamily="34" charset="0"/>
              </a:rPr>
              <a:t>Планирование маршрутной сети и расписания</a:t>
            </a:r>
            <a:endParaRPr lang="ru-RU" sz="1866" dirty="0">
              <a:latin typeface="+mn-lt"/>
            </a:endParaRPr>
          </a:p>
          <a:p>
            <a:pPr algn="l"/>
            <a:r>
              <a:rPr lang="ru-RU" sz="1866" b="1" dirty="0">
                <a:latin typeface="+mn-lt"/>
              </a:rPr>
              <a:t>Рекомендации</a:t>
            </a:r>
            <a:r>
              <a:rPr lang="ru-RU" sz="1866" dirty="0">
                <a:latin typeface="+mn-lt"/>
              </a:rPr>
              <a:t>, разработанные с помощью </a:t>
            </a:r>
            <a:r>
              <a:rPr lang="ru-RU" sz="1866" dirty="0" err="1">
                <a:latin typeface="+mn-lt"/>
              </a:rPr>
              <a:t>геоаналитического</a:t>
            </a:r>
            <a:r>
              <a:rPr lang="ru-RU" sz="1866" dirty="0">
                <a:latin typeface="+mn-lt"/>
              </a:rPr>
              <a:t> сервиса:</a:t>
            </a:r>
          </a:p>
          <a:p>
            <a:pPr algn="l"/>
            <a:endParaRPr lang="ru-RU" sz="1866" dirty="0">
              <a:latin typeface="+mn-lt"/>
            </a:endParaRPr>
          </a:p>
          <a:p>
            <a:pPr algn="l"/>
            <a:r>
              <a:rPr lang="ru-RU" sz="1866" dirty="0">
                <a:latin typeface="+mn-lt"/>
              </a:rPr>
              <a:t>•  ТОП направлений с потенциалом роста билетной выручки</a:t>
            </a:r>
          </a:p>
          <a:p>
            <a:pPr algn="l"/>
            <a:r>
              <a:rPr lang="ru-RU" sz="1866" dirty="0">
                <a:latin typeface="+mn-lt"/>
              </a:rPr>
              <a:t>•  Оптимальное маршрутное расписание</a:t>
            </a:r>
          </a:p>
          <a:p>
            <a:pPr algn="l"/>
            <a:r>
              <a:rPr lang="ru-RU" sz="1866" dirty="0">
                <a:latin typeface="+mn-lt"/>
              </a:rPr>
              <a:t>•  </a:t>
            </a:r>
            <a:r>
              <a:rPr lang="ru-RU" sz="1866" dirty="0" err="1">
                <a:latin typeface="+mn-lt"/>
              </a:rPr>
              <a:t>Мультимодальные</a:t>
            </a:r>
            <a:r>
              <a:rPr lang="ru-RU" sz="1866" dirty="0">
                <a:latin typeface="+mn-lt"/>
              </a:rPr>
              <a:t> маршруты</a:t>
            </a:r>
          </a:p>
          <a:p>
            <a:pPr algn="l">
              <a:spcAft>
                <a:spcPts val="1599"/>
              </a:spcAft>
            </a:pPr>
            <a:endParaRPr lang="ru-RU" sz="1866" dirty="0">
              <a:latin typeface="+mn-lt"/>
              <a:cs typeface="Arial" panose="020B0604020202020204" pitchFamily="34" charset="0"/>
            </a:endParaRPr>
          </a:p>
          <a:p>
            <a:pPr algn="l">
              <a:spcAft>
                <a:spcPts val="1599"/>
              </a:spcAft>
            </a:pPr>
            <a:r>
              <a:rPr lang="ru-RU" sz="1866" b="1" dirty="0">
                <a:latin typeface="+mn-lt"/>
                <a:cs typeface="Arial" panose="020B0604020202020204" pitchFamily="34" charset="0"/>
              </a:rPr>
              <a:t>Коммерческий эффект: </a:t>
            </a:r>
            <a:r>
              <a:rPr lang="ru-RU" sz="1866" dirty="0">
                <a:latin typeface="+mn-lt"/>
                <a:cs typeface="Arial" panose="020B0604020202020204" pitchFamily="34" charset="0"/>
              </a:rPr>
              <a:t>рост билетной выручки на 2-3%</a:t>
            </a:r>
            <a:r>
              <a:rPr lang="en-US" sz="1866" dirty="0">
                <a:latin typeface="+mn-lt"/>
                <a:cs typeface="Arial" panose="020B0604020202020204" pitchFamily="34" charset="0"/>
              </a:rPr>
              <a:t>, </a:t>
            </a:r>
            <a:r>
              <a:rPr lang="ru-RU" sz="1866" dirty="0">
                <a:latin typeface="+mn-lt"/>
                <a:cs typeface="Arial" panose="020B0604020202020204" pitchFamily="34" charset="0"/>
              </a:rPr>
              <a:t>снижение информационных затрат на 2-4%</a:t>
            </a:r>
          </a:p>
        </p:txBody>
      </p:sp>
      <p:sp>
        <p:nvSpPr>
          <p:cNvPr id="19" name="Rectangle 7"/>
          <p:cNvSpPr>
            <a:spLocks/>
          </p:cNvSpPr>
          <p:nvPr/>
        </p:nvSpPr>
        <p:spPr bwMode="auto">
          <a:xfrm>
            <a:off x="6721309" y="1672325"/>
            <a:ext cx="4790411" cy="574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ctr">
              <a:defRPr kumimoji="1" sz="3200">
                <a:solidFill>
                  <a:schemeClr val="tx1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1pPr>
            <a:lvl2pPr marL="742950" indent="-285750" algn="ctr">
              <a:defRPr kumimoji="1" sz="3200">
                <a:solidFill>
                  <a:schemeClr val="tx1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2pPr>
            <a:lvl3pPr marL="1143000" indent="-228600" algn="ctr">
              <a:defRPr kumimoji="1" sz="3200">
                <a:solidFill>
                  <a:schemeClr val="tx1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3pPr>
            <a:lvl4pPr marL="1600200" indent="-228600" algn="ctr">
              <a:defRPr kumimoji="1" sz="3200">
                <a:solidFill>
                  <a:schemeClr val="tx1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4pPr>
            <a:lvl5pPr marL="2057400" indent="-228600" algn="ctr">
              <a:defRPr kumimoji="1" sz="3200">
                <a:solidFill>
                  <a:schemeClr val="tx1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kumimoji="1" sz="3200">
                <a:solidFill>
                  <a:schemeClr val="tx1"/>
                </a:solidFill>
                <a:latin typeface="Gill Sans"/>
                <a:ea typeface="ヒラギノ角ゴ ProN W3"/>
                <a:cs typeface="ヒラギノ角ゴ ProN W3"/>
                <a:sym typeface="Gill Sans"/>
              </a:defRPr>
            </a:lvl9pPr>
          </a:lstStyle>
          <a:p>
            <a:pPr>
              <a:spcAft>
                <a:spcPts val="1599"/>
              </a:spcAft>
            </a:pPr>
            <a:r>
              <a:rPr lang="ru-RU" sz="1866" dirty="0">
                <a:latin typeface="Arial Black" panose="020B0A04020102020204" pitchFamily="34" charset="0"/>
                <a:cs typeface="Arial" panose="020B0604020202020204" pitchFamily="34" charset="0"/>
              </a:rPr>
              <a:t>Детализация пассажироперевозок от улицы до города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69085" y="2521259"/>
            <a:ext cx="5894857" cy="2495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4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B9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380385" y="2177706"/>
            <a:ext cx="10760672" cy="193835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>
              <a:buClr>
                <a:srgbClr val="57068C"/>
              </a:buClr>
              <a:buSzPct val="100000"/>
            </a:pPr>
            <a:r>
              <a:rPr lang="ru-RU" sz="5998" dirty="0" smtClean="0">
                <a:solidFill>
                  <a:schemeClr val="bg1"/>
                </a:solidFill>
                <a:latin typeface="Arial Black" panose="020B0A040201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ПАСИБО!</a:t>
            </a:r>
          </a:p>
          <a:p>
            <a:pPr>
              <a:buClr>
                <a:srgbClr val="57068C"/>
              </a:buClr>
              <a:buSzPct val="100000"/>
            </a:pPr>
            <a:endParaRPr lang="en-US" sz="5998" dirty="0" smtClean="0">
              <a:solidFill>
                <a:schemeClr val="bg1"/>
              </a:solidFill>
              <a:latin typeface="Arial Black" panose="020B0A040201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384" y="6085834"/>
            <a:ext cx="2021629" cy="473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350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Заголовок 2"/>
          <p:cNvSpPr txBox="1">
            <a:spLocks/>
          </p:cNvSpPr>
          <p:nvPr/>
        </p:nvSpPr>
        <p:spPr>
          <a:xfrm>
            <a:off x="273665" y="144930"/>
            <a:ext cx="8406512" cy="686356"/>
          </a:xfrm>
          <a:prstGeom prst="rect">
            <a:avLst/>
          </a:prstGeom>
        </p:spPr>
        <p:txBody>
          <a:bodyPr vert="horz" lIns="91384" tIns="45693" rIns="91384" bIns="45693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999" b="1" dirty="0">
                <a:solidFill>
                  <a:prstClr val="black"/>
                </a:solidFill>
                <a:latin typeface="Arial Black" panose="020B0A04020102020204" pitchFamily="34" charset="0"/>
                <a:cs typeface="Gotham Pro Medium" panose="02000503040000020004" pitchFamily="2" charset="0"/>
                <a:sym typeface="PF DinDisplay Pro" panose="02000506030000020004" pitchFamily="2" charset="0"/>
              </a:rPr>
              <a:t>Сбор и обработка данных</a:t>
            </a: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804" y="5947249"/>
            <a:ext cx="2312148" cy="734912"/>
          </a:xfrm>
          <a:prstGeom prst="rect">
            <a:avLst/>
          </a:prstGeom>
        </p:spPr>
      </p:pic>
      <p:grpSp>
        <p:nvGrpSpPr>
          <p:cNvPr id="39" name="Группа 38"/>
          <p:cNvGrpSpPr/>
          <p:nvPr/>
        </p:nvGrpSpPr>
        <p:grpSpPr>
          <a:xfrm>
            <a:off x="10775549" y="6143794"/>
            <a:ext cx="1079661" cy="341820"/>
            <a:chOff x="10776993" y="6289862"/>
            <a:chExt cx="1079995" cy="341925"/>
          </a:xfrm>
        </p:grpSpPr>
        <p:sp>
          <p:nvSpPr>
            <p:cNvPr id="40" name="Овал 39"/>
            <p:cNvSpPr/>
            <p:nvPr/>
          </p:nvSpPr>
          <p:spPr>
            <a:xfrm>
              <a:off x="10776993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Овал 40"/>
            <p:cNvSpPr/>
            <p:nvPr/>
          </p:nvSpPr>
          <p:spPr>
            <a:xfrm>
              <a:off x="11515064" y="6289862"/>
              <a:ext cx="341924" cy="341925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Овал 41"/>
            <p:cNvSpPr/>
            <p:nvPr/>
          </p:nvSpPr>
          <p:spPr>
            <a:xfrm>
              <a:off x="11146028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166" name="Прямая соединительная линия 165"/>
          <p:cNvCxnSpPr/>
          <p:nvPr/>
        </p:nvCxnSpPr>
        <p:spPr>
          <a:xfrm>
            <a:off x="5574278" y="1511156"/>
            <a:ext cx="0" cy="4275150"/>
          </a:xfrm>
          <a:prstGeom prst="line">
            <a:avLst/>
          </a:prstGeom>
          <a:ln w="88900" cap="rnd">
            <a:solidFill>
              <a:schemeClr val="bg2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5" name="Прямоугольник 294"/>
          <p:cNvSpPr/>
          <p:nvPr/>
        </p:nvSpPr>
        <p:spPr>
          <a:xfrm>
            <a:off x="1060744" y="1488495"/>
            <a:ext cx="4550528" cy="707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339" lvl="1">
              <a:lnSpc>
                <a:spcPct val="150000"/>
              </a:lnSpc>
              <a:spcAft>
                <a:spcPts val="1200"/>
              </a:spcAft>
            </a:pPr>
            <a:r>
              <a:rPr lang="ru-RU" sz="1333" dirty="0"/>
              <a:t>Когда абонент перемещается по городу, его телефон переключается </a:t>
            </a:r>
            <a:r>
              <a:rPr lang="ru-RU" sz="1333" b="1" dirty="0"/>
              <a:t>от одной базовой станции к другой</a:t>
            </a:r>
          </a:p>
        </p:txBody>
      </p:sp>
      <p:sp>
        <p:nvSpPr>
          <p:cNvPr id="296" name="Прямоугольник 295"/>
          <p:cNvSpPr/>
          <p:nvPr/>
        </p:nvSpPr>
        <p:spPr>
          <a:xfrm>
            <a:off x="1077435" y="2551917"/>
            <a:ext cx="4147140" cy="10154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339" lvl="1">
              <a:lnSpc>
                <a:spcPct val="150000"/>
              </a:lnSpc>
              <a:spcAft>
                <a:spcPts val="1200"/>
              </a:spcAft>
            </a:pPr>
            <a:r>
              <a:rPr lang="ru-RU" sz="1333" dirty="0"/>
              <a:t>Системы операторов мобильной связи видят данные о создаваемой нагрузке </a:t>
            </a:r>
            <a:r>
              <a:rPr lang="ru-RU" sz="1333" b="1" dirty="0"/>
              <a:t>на базовые станци</a:t>
            </a:r>
            <a:r>
              <a:rPr lang="ru-RU" sz="1333" dirty="0"/>
              <a:t>и и хранят их</a:t>
            </a:r>
          </a:p>
        </p:txBody>
      </p:sp>
      <p:sp>
        <p:nvSpPr>
          <p:cNvPr id="297" name="Прямоугольник 296"/>
          <p:cNvSpPr/>
          <p:nvPr/>
        </p:nvSpPr>
        <p:spPr>
          <a:xfrm>
            <a:off x="1102163" y="3632779"/>
            <a:ext cx="4436273" cy="10154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339" lvl="1">
              <a:lnSpc>
                <a:spcPct val="150000"/>
              </a:lnSpc>
              <a:spcAft>
                <a:spcPts val="1200"/>
              </a:spcAft>
            </a:pPr>
            <a:r>
              <a:rPr lang="ru-RU" sz="1333" dirty="0"/>
              <a:t>ИТ-система может агрегировать данные абонентов в </a:t>
            </a:r>
            <a:r>
              <a:rPr lang="ru-RU" sz="1333" b="1" dirty="0"/>
              <a:t>данные о «потоке» </a:t>
            </a:r>
            <a:r>
              <a:rPr lang="ru-RU" sz="1333" dirty="0"/>
              <a:t>в привязке к заданной географической точке</a:t>
            </a:r>
          </a:p>
        </p:txBody>
      </p:sp>
      <p:sp>
        <p:nvSpPr>
          <p:cNvPr id="298" name="Прямоугольник 297"/>
          <p:cNvSpPr/>
          <p:nvPr/>
        </p:nvSpPr>
        <p:spPr>
          <a:xfrm>
            <a:off x="1034414" y="4795221"/>
            <a:ext cx="4646014" cy="707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339" lvl="1">
              <a:lnSpc>
                <a:spcPct val="150000"/>
              </a:lnSpc>
              <a:spcAft>
                <a:spcPts val="1200"/>
              </a:spcAft>
            </a:pPr>
            <a:r>
              <a:rPr lang="ru-RU" sz="1333" dirty="0"/>
              <a:t>Поток </a:t>
            </a:r>
            <a:r>
              <a:rPr lang="ru-RU" sz="1333" b="1" dirty="0"/>
              <a:t>профилируется</a:t>
            </a:r>
            <a:r>
              <a:rPr lang="ru-RU" sz="1333" dirty="0"/>
              <a:t> с точки зрения качественных характеристик абонентов: пол, возраст, доход</a:t>
            </a:r>
          </a:p>
        </p:txBody>
      </p:sp>
      <p:sp>
        <p:nvSpPr>
          <p:cNvPr id="299" name="Заголовок 4"/>
          <p:cNvSpPr txBox="1">
            <a:spLocks/>
          </p:cNvSpPr>
          <p:nvPr/>
        </p:nvSpPr>
        <p:spPr>
          <a:xfrm>
            <a:off x="2965068" y="851753"/>
            <a:ext cx="850505" cy="741201"/>
          </a:xfrm>
          <a:prstGeom prst="rect">
            <a:avLst/>
          </a:prstGeom>
        </p:spPr>
        <p:txBody>
          <a:bodyPr anchor="t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57068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189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378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754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4798" dirty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1</a:t>
            </a:r>
          </a:p>
        </p:txBody>
      </p:sp>
      <p:sp>
        <p:nvSpPr>
          <p:cNvPr id="300" name="Заголовок 4"/>
          <p:cNvSpPr txBox="1">
            <a:spLocks/>
          </p:cNvSpPr>
          <p:nvPr/>
        </p:nvSpPr>
        <p:spPr>
          <a:xfrm>
            <a:off x="7948258" y="851753"/>
            <a:ext cx="850505" cy="741201"/>
          </a:xfrm>
          <a:prstGeom prst="rect">
            <a:avLst/>
          </a:prstGeom>
        </p:spPr>
        <p:txBody>
          <a:bodyPr anchor="t"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>
                <a:solidFill>
                  <a:srgbClr val="57068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189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378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566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754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4798" dirty="0">
                <a:solidFill>
                  <a:srgbClr val="00B956"/>
                </a:solidFill>
                <a:latin typeface="GT Walsheim v2 Manual Black" panose="00000900000000000000" pitchFamily="50" charset="-52"/>
              </a:rPr>
              <a:t>2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500" y="1586566"/>
            <a:ext cx="535927" cy="605597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9573" y="2665836"/>
            <a:ext cx="646994" cy="59636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4471" y="3774124"/>
            <a:ext cx="479177" cy="54682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33027" y="4897632"/>
            <a:ext cx="542118" cy="585241"/>
          </a:xfrm>
          <a:prstGeom prst="rect">
            <a:avLst/>
          </a:prstGeom>
        </p:spPr>
      </p:pic>
      <p:sp>
        <p:nvSpPr>
          <p:cNvPr id="301" name="Прямоугольник 300"/>
          <p:cNvSpPr/>
          <p:nvPr/>
        </p:nvSpPr>
        <p:spPr>
          <a:xfrm>
            <a:off x="5999133" y="1480583"/>
            <a:ext cx="4285017" cy="14770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339" lvl="1">
              <a:lnSpc>
                <a:spcPct val="150000"/>
              </a:lnSpc>
              <a:spcAft>
                <a:spcPts val="1200"/>
              </a:spcAft>
            </a:pPr>
            <a:r>
              <a:rPr lang="ru-RU" sz="1333" dirty="0"/>
              <a:t>К агрегированным данным применяется самообучающийся </a:t>
            </a:r>
            <a:r>
              <a:rPr lang="ru-RU" sz="1333" b="1" dirty="0"/>
              <a:t>алгоритм </a:t>
            </a:r>
            <a:r>
              <a:rPr lang="ru-RU" sz="1333" b="1" dirty="0" err="1"/>
              <a:t>геомаппинга</a:t>
            </a:r>
            <a:r>
              <a:rPr lang="ru-RU" sz="1333" dirty="0"/>
              <a:t>. </a:t>
            </a:r>
          </a:p>
          <a:p>
            <a:pPr marL="171339" lvl="1">
              <a:lnSpc>
                <a:spcPct val="150000"/>
              </a:lnSpc>
              <a:spcAft>
                <a:spcPts val="1200"/>
              </a:spcAft>
            </a:pPr>
            <a:r>
              <a:rPr lang="ru-RU" sz="1333" dirty="0"/>
              <a:t>Таким образом достигается точность до розничной точки.</a:t>
            </a:r>
            <a:endParaRPr lang="ru-RU" sz="1333" b="1" dirty="0"/>
          </a:p>
        </p:txBody>
      </p:sp>
      <p:pic>
        <p:nvPicPr>
          <p:cNvPr id="24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5866" y="2995942"/>
            <a:ext cx="3825123" cy="27903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568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5878" y="3175"/>
          <a:ext cx="2114" cy="21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63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878" y="3175"/>
                        <a:ext cx="2114" cy="21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1881" y="0"/>
            <a:ext cx="211601" cy="2116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algn="ctr"/>
            <a:endParaRPr lang="ru-RU" sz="3732" b="1" dirty="0" err="1"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9894" y="355234"/>
            <a:ext cx="11217660" cy="890696"/>
          </a:xfrm>
        </p:spPr>
        <p:txBody>
          <a:bodyPr>
            <a:noAutofit/>
          </a:bodyPr>
          <a:lstStyle/>
          <a:p>
            <a:pPr defTabSz="1218804"/>
            <a:r>
              <a:rPr lang="ru-RU" sz="3732" dirty="0">
                <a:solidFill>
                  <a:prstClr val="black"/>
                </a:solidFill>
                <a:latin typeface="Arial Black" panose="020B0A04020102020204" pitchFamily="34" charset="0"/>
                <a:cs typeface="Gotham Pro Medium" panose="02000503040000020004" pitchFamily="2" charset="0"/>
              </a:rPr>
              <a:t>Технологическая платформа МегаФона</a:t>
            </a:r>
          </a:p>
        </p:txBody>
      </p:sp>
      <p:sp>
        <p:nvSpPr>
          <p:cNvPr id="65" name="Прямоугольник 37"/>
          <p:cNvSpPr/>
          <p:nvPr/>
        </p:nvSpPr>
        <p:spPr>
          <a:xfrm>
            <a:off x="618140" y="1495533"/>
            <a:ext cx="4922899" cy="8306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99" dirty="0">
                <a:sym typeface="PF DinDisplay Pro" panose="02000506030000020004" pitchFamily="2" charset="0"/>
              </a:rPr>
              <a:t>Агрегация анонимных данных </a:t>
            </a:r>
            <a:r>
              <a:rPr lang="ru-RU" sz="1599" b="1" dirty="0">
                <a:sym typeface="PF DinDisplay Pro" panose="02000506030000020004" pitchFamily="2" charset="0"/>
              </a:rPr>
              <a:t>различных</a:t>
            </a:r>
            <a:r>
              <a:rPr lang="ru-RU" sz="1599" dirty="0">
                <a:sym typeface="PF DinDisplay Pro" panose="02000506030000020004" pitchFamily="2" charset="0"/>
              </a:rPr>
              <a:t> </a:t>
            </a:r>
            <a:r>
              <a:rPr lang="ru-RU" sz="1599" b="1" dirty="0">
                <a:sym typeface="PF DinDisplay Pro" panose="02000506030000020004" pitchFamily="2" charset="0"/>
              </a:rPr>
              <a:t>индустрий</a:t>
            </a:r>
            <a:r>
              <a:rPr lang="ru-RU" sz="1599" dirty="0">
                <a:sym typeface="PF DinDisplay Pro" panose="02000506030000020004" pitchFamily="2" charset="0"/>
              </a:rPr>
              <a:t>, не ограничиваясь абонентами операторов или пользователями Интернета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7006" y="2832940"/>
            <a:ext cx="10520549" cy="2829521"/>
          </a:xfrm>
          <a:prstGeom prst="rect">
            <a:avLst/>
          </a:prstGeom>
        </p:spPr>
      </p:pic>
      <p:sp>
        <p:nvSpPr>
          <p:cNvPr id="29" name="Прямоугольник 37"/>
          <p:cNvSpPr/>
          <p:nvPr/>
        </p:nvSpPr>
        <p:spPr>
          <a:xfrm>
            <a:off x="5804842" y="1500967"/>
            <a:ext cx="5872713" cy="5845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99" b="1" dirty="0"/>
              <a:t>Формирование рекомендаций </a:t>
            </a:r>
            <a:r>
              <a:rPr lang="ru-RU" sz="1599" dirty="0"/>
              <a:t>на основании поведенческого профиля всего экономически активного населения страны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5645177" y="1507764"/>
            <a:ext cx="1849" cy="861085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Группа 37"/>
          <p:cNvGrpSpPr/>
          <p:nvPr/>
        </p:nvGrpSpPr>
        <p:grpSpPr>
          <a:xfrm>
            <a:off x="10775549" y="6143794"/>
            <a:ext cx="1079661" cy="341820"/>
            <a:chOff x="10776993" y="6289862"/>
            <a:chExt cx="1079995" cy="341925"/>
          </a:xfrm>
        </p:grpSpPr>
        <p:sp>
          <p:nvSpPr>
            <p:cNvPr id="69" name="Овал 68"/>
            <p:cNvSpPr/>
            <p:nvPr/>
          </p:nvSpPr>
          <p:spPr>
            <a:xfrm>
              <a:off x="10776993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Овал 69"/>
            <p:cNvSpPr/>
            <p:nvPr/>
          </p:nvSpPr>
          <p:spPr>
            <a:xfrm>
              <a:off x="11515064" y="6289862"/>
              <a:ext cx="341924" cy="341925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Овал 70"/>
            <p:cNvSpPr/>
            <p:nvPr/>
          </p:nvSpPr>
          <p:spPr>
            <a:xfrm>
              <a:off x="11146028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37" name="Рисунок 3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804" y="5947249"/>
            <a:ext cx="2312148" cy="734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293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5878" y="3175"/>
          <a:ext cx="2114" cy="21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87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878" y="3175"/>
                        <a:ext cx="2114" cy="21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048" y="391070"/>
            <a:ext cx="11217660" cy="890696"/>
          </a:xfrm>
        </p:spPr>
        <p:txBody>
          <a:bodyPr>
            <a:noAutofit/>
          </a:bodyPr>
          <a:lstStyle/>
          <a:p>
            <a:pPr defTabSz="1218804"/>
            <a:r>
              <a:rPr lang="ru-RU" sz="3999" dirty="0">
                <a:solidFill>
                  <a:prstClr val="black"/>
                </a:solidFill>
                <a:latin typeface="Arial Black" panose="020B0A04020102020204" pitchFamily="34" charset="0"/>
                <a:cs typeface="Gotham Pro Medium" panose="02000503040000020004" pitchFamily="2" charset="0"/>
              </a:rPr>
              <a:t>Живой источник данных</a:t>
            </a:r>
          </a:p>
        </p:txBody>
      </p:sp>
      <p:sp>
        <p:nvSpPr>
          <p:cNvPr id="65" name="Прямоугольник 37"/>
          <p:cNvSpPr/>
          <p:nvPr/>
        </p:nvSpPr>
        <p:spPr>
          <a:xfrm>
            <a:off x="6366205" y="2802150"/>
            <a:ext cx="5423815" cy="5845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99" dirty="0">
                <a:sym typeface="PF DinDisplay Pro" panose="02000506030000020004" pitchFamily="2" charset="0"/>
              </a:rPr>
              <a:t>Анонимные</a:t>
            </a:r>
            <a:r>
              <a:rPr lang="en-US" sz="1599" dirty="0">
                <a:sym typeface="PF DinDisplay Pro" panose="02000506030000020004" pitchFamily="2" charset="0"/>
              </a:rPr>
              <a:t> / </a:t>
            </a:r>
            <a:r>
              <a:rPr lang="ru-RU" sz="1599" dirty="0">
                <a:sym typeface="PF DinDisplay Pro" panose="02000506030000020004" pitchFamily="2" charset="0"/>
              </a:rPr>
              <a:t>агрегированные данные различных индустрий</a:t>
            </a: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804" y="5947249"/>
            <a:ext cx="2312148" cy="734912"/>
          </a:xfrm>
          <a:prstGeom prst="rect">
            <a:avLst/>
          </a:prstGeom>
        </p:spPr>
      </p:pic>
      <p:grpSp>
        <p:nvGrpSpPr>
          <p:cNvPr id="38" name="Группа 37"/>
          <p:cNvGrpSpPr/>
          <p:nvPr/>
        </p:nvGrpSpPr>
        <p:grpSpPr>
          <a:xfrm>
            <a:off x="10775549" y="6143794"/>
            <a:ext cx="1079661" cy="341820"/>
            <a:chOff x="10776993" y="6289862"/>
            <a:chExt cx="1079995" cy="341925"/>
          </a:xfrm>
        </p:grpSpPr>
        <p:sp>
          <p:nvSpPr>
            <p:cNvPr id="69" name="Овал 68"/>
            <p:cNvSpPr/>
            <p:nvPr/>
          </p:nvSpPr>
          <p:spPr>
            <a:xfrm>
              <a:off x="10776993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Овал 69"/>
            <p:cNvSpPr/>
            <p:nvPr/>
          </p:nvSpPr>
          <p:spPr>
            <a:xfrm>
              <a:off x="11515064" y="6289862"/>
              <a:ext cx="341924" cy="341925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Овал 70"/>
            <p:cNvSpPr/>
            <p:nvPr/>
          </p:nvSpPr>
          <p:spPr>
            <a:xfrm>
              <a:off x="11146028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Прямоугольник 3"/>
          <p:cNvSpPr/>
          <p:nvPr/>
        </p:nvSpPr>
        <p:spPr>
          <a:xfrm>
            <a:off x="1520817" y="2144518"/>
            <a:ext cx="3602268" cy="3794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66" dirty="0">
                <a:latin typeface="Arial Black" panose="020B0A04020102020204" pitchFamily="34" charset="0"/>
                <a:sym typeface="PF DinDisplay Pro" panose="02000506030000020004" pitchFamily="2" charset="0"/>
              </a:rPr>
              <a:t>3,2+ ПЕТАБАЙТА данных</a:t>
            </a:r>
            <a:endParaRPr lang="ru-RU" sz="1866" dirty="0">
              <a:latin typeface="Arial Black" panose="020B0A0402010202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474808" y="2759599"/>
            <a:ext cx="5111581" cy="0"/>
          </a:xfrm>
          <a:prstGeom prst="line">
            <a:avLst/>
          </a:prstGeom>
          <a:ln w="63500">
            <a:solidFill>
              <a:srgbClr val="00B9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Прямоугольник 32"/>
          <p:cNvSpPr/>
          <p:nvPr/>
        </p:nvSpPr>
        <p:spPr>
          <a:xfrm>
            <a:off x="2223143" y="2886473"/>
            <a:ext cx="1493955" cy="338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599" b="1" dirty="0">
                <a:latin typeface="+mj-lt"/>
                <a:sym typeface="PF DinDisplay Pro" panose="02000506030000020004" pitchFamily="2" charset="0"/>
              </a:rPr>
              <a:t>Телекомы</a:t>
            </a:r>
          </a:p>
        </p:txBody>
      </p:sp>
      <p:sp>
        <p:nvSpPr>
          <p:cNvPr id="44" name="Прямоугольник 32"/>
          <p:cNvSpPr/>
          <p:nvPr/>
        </p:nvSpPr>
        <p:spPr>
          <a:xfrm>
            <a:off x="3624565" y="2886473"/>
            <a:ext cx="935739" cy="338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599" b="1" dirty="0">
                <a:latin typeface="+mj-lt"/>
                <a:sym typeface="PF DinDisplay Pro" panose="02000506030000020004" pitchFamily="2" charset="0"/>
              </a:rPr>
              <a:t>WEB</a:t>
            </a:r>
            <a:endParaRPr lang="ru-RU" sz="1599" b="1" dirty="0">
              <a:latin typeface="+mj-lt"/>
              <a:sym typeface="PF DinDisplay Pro" panose="02000506030000020004" pitchFamily="2" charset="0"/>
            </a:endParaRPr>
          </a:p>
        </p:txBody>
      </p:sp>
      <p:sp>
        <p:nvSpPr>
          <p:cNvPr id="45" name="Прямоугольник 32"/>
          <p:cNvSpPr/>
          <p:nvPr/>
        </p:nvSpPr>
        <p:spPr>
          <a:xfrm>
            <a:off x="16651" y="3340557"/>
            <a:ext cx="2554140" cy="8306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99" dirty="0">
                <a:latin typeface="+mj-lt"/>
                <a:sym typeface="PF DinDisplay Pro" panose="02000506030000020004" pitchFamily="2" charset="0"/>
              </a:rPr>
              <a:t>	</a:t>
            </a:r>
          </a:p>
          <a:p>
            <a:pPr algn="r"/>
            <a:r>
              <a:rPr lang="ru-RU" sz="1599" b="1" dirty="0">
                <a:latin typeface="+mj-lt"/>
              </a:rPr>
              <a:t>Событий</a:t>
            </a:r>
            <a:r>
              <a:rPr lang="ru-RU" sz="1599" dirty="0">
                <a:latin typeface="+mj-lt"/>
              </a:rPr>
              <a:t> на каждого человека в месяц</a:t>
            </a:r>
            <a:endParaRPr lang="en-US" sz="1599" dirty="0">
              <a:latin typeface="+mj-lt"/>
            </a:endParaRPr>
          </a:p>
        </p:txBody>
      </p:sp>
      <p:sp>
        <p:nvSpPr>
          <p:cNvPr id="46" name="Прямоугольник 32"/>
          <p:cNvSpPr/>
          <p:nvPr/>
        </p:nvSpPr>
        <p:spPr>
          <a:xfrm>
            <a:off x="4650650" y="2886474"/>
            <a:ext cx="982991" cy="338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599" b="1" dirty="0">
                <a:latin typeface="+mj-lt"/>
                <a:sym typeface="PF DinDisplay Pro" panose="02000506030000020004" pitchFamily="2" charset="0"/>
              </a:rPr>
              <a:t>Прочее</a:t>
            </a: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474808" y="4394029"/>
            <a:ext cx="511158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32"/>
          <p:cNvSpPr/>
          <p:nvPr/>
        </p:nvSpPr>
        <p:spPr>
          <a:xfrm>
            <a:off x="2595634" y="3611165"/>
            <a:ext cx="869926" cy="338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99" b="1" dirty="0">
                <a:latin typeface="+mj-lt"/>
                <a:sym typeface="PF DinDisplay Pro" panose="02000506030000020004" pitchFamily="2" charset="0"/>
              </a:rPr>
              <a:t>4 000</a:t>
            </a:r>
          </a:p>
        </p:txBody>
      </p:sp>
      <p:sp>
        <p:nvSpPr>
          <p:cNvPr id="52" name="Прямоугольник 32"/>
          <p:cNvSpPr/>
          <p:nvPr/>
        </p:nvSpPr>
        <p:spPr>
          <a:xfrm>
            <a:off x="3685239" y="3606690"/>
            <a:ext cx="901786" cy="338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99" b="1" dirty="0">
                <a:latin typeface="+mj-lt"/>
                <a:sym typeface="PF DinDisplay Pro" panose="02000506030000020004" pitchFamily="2" charset="0"/>
              </a:rPr>
              <a:t>19 000</a:t>
            </a:r>
          </a:p>
        </p:txBody>
      </p:sp>
      <p:sp>
        <p:nvSpPr>
          <p:cNvPr id="53" name="Прямоугольник 32"/>
          <p:cNvSpPr/>
          <p:nvPr/>
        </p:nvSpPr>
        <p:spPr>
          <a:xfrm>
            <a:off x="4867655" y="3606689"/>
            <a:ext cx="564002" cy="338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99" b="1" dirty="0">
                <a:latin typeface="+mj-lt"/>
                <a:sym typeface="PF DinDisplay Pro" panose="02000506030000020004" pitchFamily="2" charset="0"/>
              </a:rPr>
              <a:t>60</a:t>
            </a: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>
            <a:off x="498975" y="3279005"/>
            <a:ext cx="511158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>
            <a:off x="474806" y="5540964"/>
            <a:ext cx="5111581" cy="0"/>
          </a:xfrm>
          <a:prstGeom prst="line">
            <a:avLst/>
          </a:prstGeom>
          <a:ln w="63500">
            <a:solidFill>
              <a:srgbClr val="00B9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Прямоугольник 32"/>
          <p:cNvSpPr/>
          <p:nvPr/>
        </p:nvSpPr>
        <p:spPr>
          <a:xfrm>
            <a:off x="2705360" y="4587321"/>
            <a:ext cx="650470" cy="338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99" b="1" dirty="0">
                <a:latin typeface="+mj-lt"/>
                <a:sym typeface="PF DinDisplay Pro" panose="02000506030000020004" pitchFamily="2" charset="0"/>
              </a:rPr>
              <a:t>444</a:t>
            </a:r>
          </a:p>
        </p:txBody>
      </p:sp>
      <p:sp>
        <p:nvSpPr>
          <p:cNvPr id="73" name="Прямоугольник 32"/>
          <p:cNvSpPr/>
          <p:nvPr/>
        </p:nvSpPr>
        <p:spPr>
          <a:xfrm>
            <a:off x="3717099" y="4587321"/>
            <a:ext cx="843205" cy="338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99" b="1" dirty="0">
                <a:latin typeface="+mj-lt"/>
                <a:sym typeface="PF DinDisplay Pro" panose="02000506030000020004" pitchFamily="2" charset="0"/>
              </a:rPr>
              <a:t>2 886</a:t>
            </a:r>
          </a:p>
        </p:txBody>
      </p:sp>
      <p:sp>
        <p:nvSpPr>
          <p:cNvPr id="76" name="Прямоугольник 32"/>
          <p:cNvSpPr/>
          <p:nvPr/>
        </p:nvSpPr>
        <p:spPr>
          <a:xfrm>
            <a:off x="4897884" y="4587527"/>
            <a:ext cx="518777" cy="338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99" b="1" dirty="0">
                <a:latin typeface="+mj-lt"/>
                <a:sym typeface="PF DinDisplay Pro" panose="02000506030000020004" pitchFamily="2" charset="0"/>
              </a:rPr>
              <a:t>13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7374833" y="2144518"/>
            <a:ext cx="3640740" cy="3794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66" dirty="0">
                <a:latin typeface="Arial Black" panose="020B0A04020102020204" pitchFamily="34" charset="0"/>
                <a:sym typeface="PF DinDisplay Pro" panose="02000506030000020004" pitchFamily="2" charset="0"/>
              </a:rPr>
              <a:t>Какие данные доступны?</a:t>
            </a:r>
            <a:endParaRPr lang="ru-RU" sz="1866" dirty="0">
              <a:latin typeface="Arial Black" panose="020B0A04020102020204" pitchFamily="34" charset="0"/>
            </a:endParaRPr>
          </a:p>
        </p:txBody>
      </p:sp>
      <p:cxnSp>
        <p:nvCxnSpPr>
          <p:cNvPr id="80" name="Прямая соединительная линия 79"/>
          <p:cNvCxnSpPr/>
          <p:nvPr/>
        </p:nvCxnSpPr>
        <p:spPr>
          <a:xfrm>
            <a:off x="6404673" y="2759599"/>
            <a:ext cx="5111581" cy="0"/>
          </a:xfrm>
          <a:prstGeom prst="line">
            <a:avLst/>
          </a:prstGeom>
          <a:ln w="63500">
            <a:solidFill>
              <a:srgbClr val="00B9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Прямоугольник 37"/>
          <p:cNvSpPr/>
          <p:nvPr/>
        </p:nvSpPr>
        <p:spPr>
          <a:xfrm>
            <a:off x="6368823" y="3498844"/>
            <a:ext cx="5423815" cy="8306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99" b="1" dirty="0">
                <a:sym typeface="PF DinDisplay Pro" panose="02000506030000020004" pitchFamily="2" charset="0"/>
              </a:rPr>
              <a:t>Качественные</a:t>
            </a:r>
            <a:r>
              <a:rPr lang="ru-RU" sz="1599" dirty="0">
                <a:sym typeface="PF DinDisplay Pro" panose="02000506030000020004" pitchFamily="2" charset="0"/>
              </a:rPr>
              <a:t>: социально-демографические данные, доход, вид используемого транспорта, факты посещения городов</a:t>
            </a:r>
            <a:r>
              <a:rPr lang="en-US" sz="1599" dirty="0">
                <a:sym typeface="PF DinDisplay Pro" panose="02000506030000020004" pitchFamily="2" charset="0"/>
              </a:rPr>
              <a:t> / </a:t>
            </a:r>
            <a:r>
              <a:rPr lang="ru-RU" sz="1599" dirty="0">
                <a:sym typeface="PF DinDisplay Pro" panose="02000506030000020004" pitchFamily="2" charset="0"/>
              </a:rPr>
              <a:t>стран</a:t>
            </a:r>
          </a:p>
        </p:txBody>
      </p:sp>
      <p:cxnSp>
        <p:nvCxnSpPr>
          <p:cNvPr id="82" name="Прямая соединительная линия 81"/>
          <p:cNvCxnSpPr/>
          <p:nvPr/>
        </p:nvCxnSpPr>
        <p:spPr>
          <a:xfrm>
            <a:off x="6453537" y="3417775"/>
            <a:ext cx="511158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единительная линия 82"/>
          <p:cNvCxnSpPr/>
          <p:nvPr/>
        </p:nvCxnSpPr>
        <p:spPr>
          <a:xfrm>
            <a:off x="6469128" y="4450794"/>
            <a:ext cx="511158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Прямоугольник 37"/>
          <p:cNvSpPr/>
          <p:nvPr/>
        </p:nvSpPr>
        <p:spPr>
          <a:xfrm>
            <a:off x="6366205" y="4528858"/>
            <a:ext cx="5423815" cy="5845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99" b="1" dirty="0">
                <a:sym typeface="PF DinDisplay Pro" panose="02000506030000020004" pitchFamily="2" charset="0"/>
              </a:rPr>
              <a:t>Количественные</a:t>
            </a:r>
            <a:r>
              <a:rPr lang="ru-RU" sz="1599" dirty="0">
                <a:sym typeface="PF DinDisplay Pro" panose="02000506030000020004" pitchFamily="2" charset="0"/>
              </a:rPr>
              <a:t>: схемы перемещения, маршруты, места проживания и работы, фактическое население</a:t>
            </a:r>
          </a:p>
        </p:txBody>
      </p:sp>
      <p:cxnSp>
        <p:nvCxnSpPr>
          <p:cNvPr id="85" name="Прямая соединительная линия 84"/>
          <p:cNvCxnSpPr/>
          <p:nvPr/>
        </p:nvCxnSpPr>
        <p:spPr>
          <a:xfrm>
            <a:off x="6453537" y="5540964"/>
            <a:ext cx="5111581" cy="0"/>
          </a:xfrm>
          <a:prstGeom prst="line">
            <a:avLst/>
          </a:prstGeom>
          <a:ln w="63500">
            <a:solidFill>
              <a:srgbClr val="00B9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Овал 76"/>
          <p:cNvSpPr/>
          <p:nvPr/>
        </p:nvSpPr>
        <p:spPr>
          <a:xfrm>
            <a:off x="5161731" y="5165591"/>
            <a:ext cx="1580776" cy="1580781"/>
          </a:xfrm>
          <a:prstGeom prst="ellipse">
            <a:avLst/>
          </a:prstGeom>
          <a:solidFill>
            <a:srgbClr val="731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99" b="1" dirty="0">
                <a:latin typeface="+mj-lt"/>
              </a:rPr>
              <a:t>360º</a:t>
            </a:r>
            <a:r>
              <a:rPr lang="en-US" sz="1599" dirty="0">
                <a:latin typeface="+mj-lt"/>
              </a:rPr>
              <a:t> </a:t>
            </a:r>
            <a:r>
              <a:rPr lang="ru-RU" sz="1599" dirty="0">
                <a:latin typeface="+mj-lt"/>
              </a:rPr>
              <a:t>видение клиентов</a:t>
            </a:r>
          </a:p>
          <a:p>
            <a:endParaRPr lang="ru-RU" sz="1599" dirty="0">
              <a:latin typeface="+mj-lt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838556" y="4587320"/>
            <a:ext cx="2554140" cy="338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99" b="1" dirty="0">
                <a:latin typeface="+mj-lt"/>
              </a:rPr>
              <a:t>Терабайт</a:t>
            </a:r>
            <a:r>
              <a:rPr lang="ru-RU" sz="1599" dirty="0">
                <a:latin typeface="+mj-lt"/>
              </a:rPr>
              <a:t> в год</a:t>
            </a:r>
          </a:p>
        </p:txBody>
      </p:sp>
      <p:sp>
        <p:nvSpPr>
          <p:cNvPr id="34" name="Текст 6"/>
          <p:cNvSpPr txBox="1">
            <a:spLocks/>
          </p:cNvSpPr>
          <p:nvPr/>
        </p:nvSpPr>
        <p:spPr>
          <a:xfrm>
            <a:off x="332780" y="1061624"/>
            <a:ext cx="11457240" cy="803307"/>
          </a:xfrm>
          <a:prstGeom prst="rect">
            <a:avLst/>
          </a:prstGeom>
        </p:spPr>
        <p:txBody>
          <a:bodyPr vert="horz" lIns="121882" tIns="60941" rIns="121882" bIns="60941" rtlCol="0" anchor="t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866" dirty="0">
                <a:solidFill>
                  <a:schemeClr val="tx1"/>
                </a:solidFill>
                <a:latin typeface="Arial Black" panose="020B0A04020102020204" pitchFamily="34" charset="0"/>
              </a:rPr>
              <a:t>Формируем рекомендации на основании поведенческого профиля с охватом  </a:t>
            </a:r>
          </a:p>
          <a:p>
            <a:pPr algn="l"/>
            <a:r>
              <a:rPr lang="ru-RU" sz="1866" dirty="0">
                <a:solidFill>
                  <a:srgbClr val="00B050"/>
                </a:solidFill>
                <a:latin typeface="Arial Black" panose="020B0A04020102020204" pitchFamily="34" charset="0"/>
              </a:rPr>
              <a:t>9</a:t>
            </a:r>
            <a:r>
              <a:rPr lang="en-US" sz="1866" dirty="0">
                <a:solidFill>
                  <a:srgbClr val="00B050"/>
                </a:solidFill>
                <a:latin typeface="Arial Black" panose="020B0A04020102020204" pitchFamily="34" charset="0"/>
              </a:rPr>
              <a:t>7</a:t>
            </a:r>
            <a:r>
              <a:rPr lang="ru-RU" sz="1866" dirty="0">
                <a:solidFill>
                  <a:srgbClr val="00B050"/>
                </a:solidFill>
                <a:latin typeface="Arial Black" panose="020B0A04020102020204" pitchFamily="34" charset="0"/>
              </a:rPr>
              <a:t>%</a:t>
            </a:r>
            <a:r>
              <a:rPr lang="ru-RU" sz="1866" dirty="0">
                <a:solidFill>
                  <a:schemeClr val="tx1"/>
                </a:solidFill>
                <a:latin typeface="Arial Black" panose="020B0A04020102020204" pitchFamily="34" charset="0"/>
              </a:rPr>
              <a:t> экономически активного населения страны</a:t>
            </a:r>
          </a:p>
        </p:txBody>
      </p:sp>
    </p:spTree>
    <p:extLst>
      <p:ext uri="{BB962C8B-B14F-4D97-AF65-F5344CB8AC3E}">
        <p14:creationId xmlns:p14="http://schemas.microsoft.com/office/powerpoint/2010/main" val="2249905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7">
            <a:extLst>
              <a:ext uri="{FF2B5EF4-FFF2-40B4-BE49-F238E27FC236}">
                <a16:creationId xmlns:a16="http://schemas.microsoft.com/office/drawing/2014/main" xmlns="" id="{F357E6AA-A659-0F48-A70F-F946EB53E36A}"/>
              </a:ext>
            </a:extLst>
          </p:cNvPr>
          <p:cNvGrpSpPr/>
          <p:nvPr/>
        </p:nvGrpSpPr>
        <p:grpSpPr>
          <a:xfrm>
            <a:off x="444657" y="1768722"/>
            <a:ext cx="6022704" cy="3547752"/>
            <a:chOff x="541338" y="734828"/>
            <a:chExt cx="8912225" cy="5249863"/>
          </a:xfrm>
          <a:solidFill>
            <a:schemeClr val="bg1">
              <a:lumMod val="75000"/>
            </a:schemeClr>
          </a:solidFill>
        </p:grpSpPr>
        <p:sp>
          <p:nvSpPr>
            <p:cNvPr id="12" name="Freeform 172">
              <a:extLst>
                <a:ext uri="{FF2B5EF4-FFF2-40B4-BE49-F238E27FC236}">
                  <a16:creationId xmlns:a16="http://schemas.microsoft.com/office/drawing/2014/main" xmlns="" id="{CB15BE7E-981D-4B40-9A58-CDC97680FB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35725" y="4495616"/>
              <a:ext cx="871538" cy="1274762"/>
            </a:xfrm>
            <a:custGeom>
              <a:avLst/>
              <a:gdLst>
                <a:gd name="T0" fmla="*/ 0 w 870915"/>
                <a:gd name="T1" fmla="*/ 0 h 1273969"/>
                <a:gd name="T2" fmla="*/ 870915 w 870915"/>
                <a:gd name="T3" fmla="*/ 1273969 h 1273969"/>
              </a:gdLst>
              <a:ahLst/>
              <a:cxnLst/>
              <a:rect l="T0" t="T1" r="T2" b="T3"/>
              <a:pathLst>
                <a:path w="870915" h="1273969">
                  <a:moveTo>
                    <a:pt x="9910" y="1216819"/>
                  </a:moveTo>
                  <a:cubicBezTo>
                    <a:pt x="12688" y="1216025"/>
                    <a:pt x="16712" y="1216253"/>
                    <a:pt x="19435" y="1214438"/>
                  </a:cubicBezTo>
                  <a:cubicBezTo>
                    <a:pt x="40975" y="1200077"/>
                    <a:pt x="7987" y="1212696"/>
                    <a:pt x="31341" y="1204913"/>
                  </a:cubicBezTo>
                  <a:cubicBezTo>
                    <a:pt x="32135" y="1202532"/>
                    <a:pt x="33722" y="1200279"/>
                    <a:pt x="33722" y="1197769"/>
                  </a:cubicBezTo>
                  <a:cubicBezTo>
                    <a:pt x="33722" y="1190172"/>
                    <a:pt x="30365" y="1185212"/>
                    <a:pt x="24197" y="1181100"/>
                  </a:cubicBezTo>
                  <a:cubicBezTo>
                    <a:pt x="22109" y="1179708"/>
                    <a:pt x="19299" y="1179841"/>
                    <a:pt x="17054" y="1178719"/>
                  </a:cubicBezTo>
                  <a:cubicBezTo>
                    <a:pt x="14494" y="1177439"/>
                    <a:pt x="12291" y="1175544"/>
                    <a:pt x="9910" y="1173957"/>
                  </a:cubicBezTo>
                  <a:cubicBezTo>
                    <a:pt x="8322" y="1171576"/>
                    <a:pt x="6427" y="1169373"/>
                    <a:pt x="5147" y="1166813"/>
                  </a:cubicBezTo>
                  <a:cubicBezTo>
                    <a:pt x="1477" y="1159473"/>
                    <a:pt x="1205" y="1147182"/>
                    <a:pt x="385" y="1140619"/>
                  </a:cubicBezTo>
                  <a:cubicBezTo>
                    <a:pt x="4570" y="1128063"/>
                    <a:pt x="0" y="1138224"/>
                    <a:pt x="9910" y="1126332"/>
                  </a:cubicBezTo>
                  <a:cubicBezTo>
                    <a:pt x="19834" y="1114423"/>
                    <a:pt x="8716" y="1123159"/>
                    <a:pt x="21816" y="1114425"/>
                  </a:cubicBezTo>
                  <a:cubicBezTo>
                    <a:pt x="21022" y="1109663"/>
                    <a:pt x="21292" y="1104595"/>
                    <a:pt x="19435" y="1100138"/>
                  </a:cubicBezTo>
                  <a:cubicBezTo>
                    <a:pt x="17234" y="1094854"/>
                    <a:pt x="11720" y="1091280"/>
                    <a:pt x="9910" y="1085850"/>
                  </a:cubicBezTo>
                  <a:lnTo>
                    <a:pt x="7529" y="1078707"/>
                  </a:lnTo>
                  <a:cubicBezTo>
                    <a:pt x="8323" y="1075532"/>
                    <a:pt x="7755" y="1071645"/>
                    <a:pt x="9910" y="1069182"/>
                  </a:cubicBezTo>
                  <a:cubicBezTo>
                    <a:pt x="25034" y="1051897"/>
                    <a:pt x="49429" y="1058329"/>
                    <a:pt x="69441" y="1057275"/>
                  </a:cubicBezTo>
                  <a:cubicBezTo>
                    <a:pt x="83103" y="1052722"/>
                    <a:pt x="70352" y="1058155"/>
                    <a:pt x="83729" y="1047750"/>
                  </a:cubicBezTo>
                  <a:cubicBezTo>
                    <a:pt x="88247" y="1044236"/>
                    <a:pt x="98016" y="1038225"/>
                    <a:pt x="98016" y="1038225"/>
                  </a:cubicBezTo>
                  <a:cubicBezTo>
                    <a:pt x="99604" y="1035844"/>
                    <a:pt x="100947" y="1033280"/>
                    <a:pt x="102779" y="1031082"/>
                  </a:cubicBezTo>
                  <a:cubicBezTo>
                    <a:pt x="117026" y="1013986"/>
                    <a:pt x="119368" y="1023413"/>
                    <a:pt x="152785" y="1021557"/>
                  </a:cubicBezTo>
                  <a:cubicBezTo>
                    <a:pt x="155166" y="1019969"/>
                    <a:pt x="157730" y="1018626"/>
                    <a:pt x="159929" y="1016794"/>
                  </a:cubicBezTo>
                  <a:cubicBezTo>
                    <a:pt x="162516" y="1014638"/>
                    <a:pt x="164231" y="1011458"/>
                    <a:pt x="167072" y="1009650"/>
                  </a:cubicBezTo>
                  <a:cubicBezTo>
                    <a:pt x="197413" y="990341"/>
                    <a:pt x="177175" y="1009071"/>
                    <a:pt x="193266" y="992982"/>
                  </a:cubicBezTo>
                  <a:cubicBezTo>
                    <a:pt x="194060" y="985044"/>
                    <a:pt x="194519" y="977066"/>
                    <a:pt x="195647" y="969169"/>
                  </a:cubicBezTo>
                  <a:cubicBezTo>
                    <a:pt x="196558" y="962796"/>
                    <a:pt x="198108" y="957183"/>
                    <a:pt x="202791" y="952500"/>
                  </a:cubicBezTo>
                  <a:cubicBezTo>
                    <a:pt x="204815" y="950476"/>
                    <a:pt x="207554" y="949325"/>
                    <a:pt x="209935" y="947738"/>
                  </a:cubicBezTo>
                  <a:cubicBezTo>
                    <a:pt x="212316" y="944563"/>
                    <a:pt x="214496" y="941226"/>
                    <a:pt x="217079" y="938213"/>
                  </a:cubicBezTo>
                  <a:cubicBezTo>
                    <a:pt x="219270" y="935656"/>
                    <a:pt x="222155" y="933727"/>
                    <a:pt x="224222" y="931069"/>
                  </a:cubicBezTo>
                  <a:cubicBezTo>
                    <a:pt x="227736" y="926551"/>
                    <a:pt x="229700" y="920829"/>
                    <a:pt x="233747" y="916782"/>
                  </a:cubicBezTo>
                  <a:lnTo>
                    <a:pt x="248035" y="902494"/>
                  </a:lnTo>
                  <a:cubicBezTo>
                    <a:pt x="252174" y="890077"/>
                    <a:pt x="247355" y="899659"/>
                    <a:pt x="257560" y="890588"/>
                  </a:cubicBezTo>
                  <a:cubicBezTo>
                    <a:pt x="265679" y="883371"/>
                    <a:pt x="269724" y="876171"/>
                    <a:pt x="278991" y="871538"/>
                  </a:cubicBezTo>
                  <a:cubicBezTo>
                    <a:pt x="281236" y="870416"/>
                    <a:pt x="283754" y="869951"/>
                    <a:pt x="286135" y="869157"/>
                  </a:cubicBezTo>
                  <a:cubicBezTo>
                    <a:pt x="297326" y="857966"/>
                    <a:pt x="290477" y="863882"/>
                    <a:pt x="307566" y="852488"/>
                  </a:cubicBezTo>
                  <a:lnTo>
                    <a:pt x="321854" y="842963"/>
                  </a:lnTo>
                  <a:lnTo>
                    <a:pt x="328997" y="840582"/>
                  </a:lnTo>
                  <a:cubicBezTo>
                    <a:pt x="331378" y="838201"/>
                    <a:pt x="333339" y="835306"/>
                    <a:pt x="336141" y="833438"/>
                  </a:cubicBezTo>
                  <a:cubicBezTo>
                    <a:pt x="338230" y="832046"/>
                    <a:pt x="341325" y="832625"/>
                    <a:pt x="343285" y="831057"/>
                  </a:cubicBezTo>
                  <a:cubicBezTo>
                    <a:pt x="345520" y="829269"/>
                    <a:pt x="346023" y="825937"/>
                    <a:pt x="348047" y="823913"/>
                  </a:cubicBezTo>
                  <a:cubicBezTo>
                    <a:pt x="350071" y="821889"/>
                    <a:pt x="352810" y="820738"/>
                    <a:pt x="355191" y="819150"/>
                  </a:cubicBezTo>
                  <a:cubicBezTo>
                    <a:pt x="366108" y="802774"/>
                    <a:pt x="359286" y="806673"/>
                    <a:pt x="371860" y="802482"/>
                  </a:cubicBezTo>
                  <a:cubicBezTo>
                    <a:pt x="375936" y="790254"/>
                    <a:pt x="376622" y="789942"/>
                    <a:pt x="376622" y="771525"/>
                  </a:cubicBezTo>
                  <a:cubicBezTo>
                    <a:pt x="376622" y="761176"/>
                    <a:pt x="376148" y="750741"/>
                    <a:pt x="374241" y="740569"/>
                  </a:cubicBezTo>
                  <a:cubicBezTo>
                    <a:pt x="373714" y="737756"/>
                    <a:pt x="371311" y="735624"/>
                    <a:pt x="369479" y="733425"/>
                  </a:cubicBezTo>
                  <a:cubicBezTo>
                    <a:pt x="365719" y="728913"/>
                    <a:pt x="360540" y="724194"/>
                    <a:pt x="355191" y="721519"/>
                  </a:cubicBezTo>
                  <a:cubicBezTo>
                    <a:pt x="351776" y="719811"/>
                    <a:pt x="341572" y="717520"/>
                    <a:pt x="338522" y="716757"/>
                  </a:cubicBezTo>
                  <a:cubicBezTo>
                    <a:pt x="336141" y="715169"/>
                    <a:pt x="332966" y="714375"/>
                    <a:pt x="331379" y="711994"/>
                  </a:cubicBezTo>
                  <a:cubicBezTo>
                    <a:pt x="329564" y="709271"/>
                    <a:pt x="328997" y="705742"/>
                    <a:pt x="328997" y="702469"/>
                  </a:cubicBezTo>
                  <a:cubicBezTo>
                    <a:pt x="328997" y="689744"/>
                    <a:pt x="330113" y="677031"/>
                    <a:pt x="331379" y="664369"/>
                  </a:cubicBezTo>
                  <a:cubicBezTo>
                    <a:pt x="331705" y="661113"/>
                    <a:pt x="331945" y="657567"/>
                    <a:pt x="333760" y="654844"/>
                  </a:cubicBezTo>
                  <a:cubicBezTo>
                    <a:pt x="335348" y="652463"/>
                    <a:pt x="338705" y="651914"/>
                    <a:pt x="340904" y="650082"/>
                  </a:cubicBezTo>
                  <a:cubicBezTo>
                    <a:pt x="352796" y="640172"/>
                    <a:pt x="342635" y="644742"/>
                    <a:pt x="355191" y="640557"/>
                  </a:cubicBezTo>
                  <a:cubicBezTo>
                    <a:pt x="362215" y="635874"/>
                    <a:pt x="363749" y="635526"/>
                    <a:pt x="369479" y="628650"/>
                  </a:cubicBezTo>
                  <a:cubicBezTo>
                    <a:pt x="371311" y="626452"/>
                    <a:pt x="372654" y="623888"/>
                    <a:pt x="374241" y="621507"/>
                  </a:cubicBezTo>
                  <a:cubicBezTo>
                    <a:pt x="379972" y="604311"/>
                    <a:pt x="373741" y="624755"/>
                    <a:pt x="379004" y="590550"/>
                  </a:cubicBezTo>
                  <a:cubicBezTo>
                    <a:pt x="379386" y="588069"/>
                    <a:pt x="379844" y="585388"/>
                    <a:pt x="381385" y="583407"/>
                  </a:cubicBezTo>
                  <a:cubicBezTo>
                    <a:pt x="385520" y="578090"/>
                    <a:pt x="395672" y="569119"/>
                    <a:pt x="395672" y="569119"/>
                  </a:cubicBezTo>
                  <a:cubicBezTo>
                    <a:pt x="401660" y="551161"/>
                    <a:pt x="392887" y="572600"/>
                    <a:pt x="405197" y="557213"/>
                  </a:cubicBezTo>
                  <a:cubicBezTo>
                    <a:pt x="406765" y="555253"/>
                    <a:pt x="406456" y="552314"/>
                    <a:pt x="407579" y="550069"/>
                  </a:cubicBezTo>
                  <a:cubicBezTo>
                    <a:pt x="411548" y="542130"/>
                    <a:pt x="412340" y="542926"/>
                    <a:pt x="419485" y="538163"/>
                  </a:cubicBezTo>
                  <a:cubicBezTo>
                    <a:pt x="425212" y="529572"/>
                    <a:pt x="428745" y="523259"/>
                    <a:pt x="438535" y="516732"/>
                  </a:cubicBezTo>
                  <a:cubicBezTo>
                    <a:pt x="443297" y="513557"/>
                    <a:pt x="448775" y="511254"/>
                    <a:pt x="452822" y="507207"/>
                  </a:cubicBezTo>
                  <a:cubicBezTo>
                    <a:pt x="455203" y="504826"/>
                    <a:pt x="457810" y="502650"/>
                    <a:pt x="459966" y="500063"/>
                  </a:cubicBezTo>
                  <a:cubicBezTo>
                    <a:pt x="461798" y="497864"/>
                    <a:pt x="462705" y="494943"/>
                    <a:pt x="464729" y="492919"/>
                  </a:cubicBezTo>
                  <a:cubicBezTo>
                    <a:pt x="466752" y="490896"/>
                    <a:pt x="469491" y="489744"/>
                    <a:pt x="471872" y="488157"/>
                  </a:cubicBezTo>
                  <a:cubicBezTo>
                    <a:pt x="471078" y="478632"/>
                    <a:pt x="473322" y="468339"/>
                    <a:pt x="469491" y="459582"/>
                  </a:cubicBezTo>
                  <a:cubicBezTo>
                    <a:pt x="466696" y="453193"/>
                    <a:pt x="454678" y="449882"/>
                    <a:pt x="448060" y="447675"/>
                  </a:cubicBezTo>
                  <a:cubicBezTo>
                    <a:pt x="446472" y="444500"/>
                    <a:pt x="445570" y="440877"/>
                    <a:pt x="443297" y="438150"/>
                  </a:cubicBezTo>
                  <a:cubicBezTo>
                    <a:pt x="441465" y="435952"/>
                    <a:pt x="438483" y="435051"/>
                    <a:pt x="436154" y="433388"/>
                  </a:cubicBezTo>
                  <a:cubicBezTo>
                    <a:pt x="432924" y="431081"/>
                    <a:pt x="430256" y="427856"/>
                    <a:pt x="426629" y="426244"/>
                  </a:cubicBezTo>
                  <a:cubicBezTo>
                    <a:pt x="422930" y="424600"/>
                    <a:pt x="418666" y="424773"/>
                    <a:pt x="414722" y="423863"/>
                  </a:cubicBezTo>
                  <a:cubicBezTo>
                    <a:pt x="408344" y="422391"/>
                    <a:pt x="402022" y="420688"/>
                    <a:pt x="395672" y="419100"/>
                  </a:cubicBezTo>
                  <a:cubicBezTo>
                    <a:pt x="382577" y="410370"/>
                    <a:pt x="393688" y="419100"/>
                    <a:pt x="383766" y="407194"/>
                  </a:cubicBezTo>
                  <a:cubicBezTo>
                    <a:pt x="368489" y="388862"/>
                    <a:pt x="383682" y="410640"/>
                    <a:pt x="371860" y="392907"/>
                  </a:cubicBezTo>
                  <a:cubicBezTo>
                    <a:pt x="371066" y="390526"/>
                    <a:pt x="370698" y="387957"/>
                    <a:pt x="369479" y="385763"/>
                  </a:cubicBezTo>
                  <a:cubicBezTo>
                    <a:pt x="366699" y="380759"/>
                    <a:pt x="361764" y="376905"/>
                    <a:pt x="359954" y="371475"/>
                  </a:cubicBezTo>
                  <a:lnTo>
                    <a:pt x="355191" y="357188"/>
                  </a:lnTo>
                  <a:cubicBezTo>
                    <a:pt x="354397" y="354807"/>
                    <a:pt x="354202" y="352132"/>
                    <a:pt x="352810" y="350044"/>
                  </a:cubicBezTo>
                  <a:lnTo>
                    <a:pt x="348047" y="342900"/>
                  </a:lnTo>
                  <a:cubicBezTo>
                    <a:pt x="347253" y="340519"/>
                    <a:pt x="347058" y="337845"/>
                    <a:pt x="345666" y="335757"/>
                  </a:cubicBezTo>
                  <a:cubicBezTo>
                    <a:pt x="342000" y="330258"/>
                    <a:pt x="336649" y="327364"/>
                    <a:pt x="331379" y="323850"/>
                  </a:cubicBezTo>
                  <a:cubicBezTo>
                    <a:pt x="328204" y="319088"/>
                    <a:pt x="323243" y="315116"/>
                    <a:pt x="321854" y="309563"/>
                  </a:cubicBezTo>
                  <a:cubicBezTo>
                    <a:pt x="321060" y="306388"/>
                    <a:pt x="320936" y="302965"/>
                    <a:pt x="319472" y="300038"/>
                  </a:cubicBezTo>
                  <a:cubicBezTo>
                    <a:pt x="316912" y="294918"/>
                    <a:pt x="309947" y="285750"/>
                    <a:pt x="309947" y="285750"/>
                  </a:cubicBezTo>
                  <a:cubicBezTo>
                    <a:pt x="306221" y="274572"/>
                    <a:pt x="305185" y="273127"/>
                    <a:pt x="305185" y="257175"/>
                  </a:cubicBezTo>
                  <a:cubicBezTo>
                    <a:pt x="305185" y="253902"/>
                    <a:pt x="305522" y="250206"/>
                    <a:pt x="307566" y="247650"/>
                  </a:cubicBezTo>
                  <a:cubicBezTo>
                    <a:pt x="309134" y="245690"/>
                    <a:pt x="312329" y="246063"/>
                    <a:pt x="314710" y="245269"/>
                  </a:cubicBezTo>
                  <a:cubicBezTo>
                    <a:pt x="333988" y="251694"/>
                    <a:pt x="332543" y="252180"/>
                    <a:pt x="367097" y="245269"/>
                  </a:cubicBezTo>
                  <a:cubicBezTo>
                    <a:pt x="372710" y="244146"/>
                    <a:pt x="376622" y="238919"/>
                    <a:pt x="381385" y="235744"/>
                  </a:cubicBezTo>
                  <a:cubicBezTo>
                    <a:pt x="390616" y="229590"/>
                    <a:pt x="385815" y="231887"/>
                    <a:pt x="395672" y="228600"/>
                  </a:cubicBezTo>
                  <a:cubicBezTo>
                    <a:pt x="411735" y="212538"/>
                    <a:pt x="407830" y="220703"/>
                    <a:pt x="412341" y="207169"/>
                  </a:cubicBezTo>
                  <a:cubicBezTo>
                    <a:pt x="411547" y="196850"/>
                    <a:pt x="412594" y="186221"/>
                    <a:pt x="409960" y="176213"/>
                  </a:cubicBezTo>
                  <a:cubicBezTo>
                    <a:pt x="408503" y="170678"/>
                    <a:pt x="400435" y="161925"/>
                    <a:pt x="400435" y="161925"/>
                  </a:cubicBezTo>
                  <a:cubicBezTo>
                    <a:pt x="400414" y="161840"/>
                    <a:pt x="396813" y="146398"/>
                    <a:pt x="395672" y="145257"/>
                  </a:cubicBezTo>
                  <a:cubicBezTo>
                    <a:pt x="391625" y="141210"/>
                    <a:pt x="386147" y="138907"/>
                    <a:pt x="381385" y="135732"/>
                  </a:cubicBezTo>
                  <a:lnTo>
                    <a:pt x="374241" y="130969"/>
                  </a:lnTo>
                  <a:cubicBezTo>
                    <a:pt x="372654" y="128588"/>
                    <a:pt x="370759" y="126385"/>
                    <a:pt x="369479" y="123825"/>
                  </a:cubicBezTo>
                  <a:cubicBezTo>
                    <a:pt x="368356" y="121580"/>
                    <a:pt x="368489" y="118770"/>
                    <a:pt x="367097" y="116682"/>
                  </a:cubicBezTo>
                  <a:cubicBezTo>
                    <a:pt x="365229" y="113880"/>
                    <a:pt x="362110" y="112125"/>
                    <a:pt x="359954" y="109538"/>
                  </a:cubicBezTo>
                  <a:cubicBezTo>
                    <a:pt x="358122" y="107339"/>
                    <a:pt x="356779" y="104775"/>
                    <a:pt x="355191" y="102394"/>
                  </a:cubicBezTo>
                  <a:cubicBezTo>
                    <a:pt x="353604" y="97632"/>
                    <a:pt x="348842" y="92869"/>
                    <a:pt x="350429" y="88107"/>
                  </a:cubicBezTo>
                  <a:lnTo>
                    <a:pt x="355191" y="73819"/>
                  </a:lnTo>
                  <a:cubicBezTo>
                    <a:pt x="355985" y="57944"/>
                    <a:pt x="353121" y="41453"/>
                    <a:pt x="357572" y="26194"/>
                  </a:cubicBezTo>
                  <a:cubicBezTo>
                    <a:pt x="359175" y="20699"/>
                    <a:pt x="367097" y="19844"/>
                    <a:pt x="371860" y="16669"/>
                  </a:cubicBezTo>
                  <a:lnTo>
                    <a:pt x="379004" y="11907"/>
                  </a:lnTo>
                  <a:cubicBezTo>
                    <a:pt x="394761" y="1402"/>
                    <a:pt x="383282" y="7364"/>
                    <a:pt x="417104" y="4763"/>
                  </a:cubicBezTo>
                  <a:cubicBezTo>
                    <a:pt x="425437" y="2680"/>
                    <a:pt x="434770" y="0"/>
                    <a:pt x="443297" y="0"/>
                  </a:cubicBezTo>
                  <a:cubicBezTo>
                    <a:pt x="451274" y="0"/>
                    <a:pt x="459172" y="1588"/>
                    <a:pt x="467110" y="2382"/>
                  </a:cubicBezTo>
                  <a:cubicBezTo>
                    <a:pt x="469491" y="3969"/>
                    <a:pt x="472466" y="4909"/>
                    <a:pt x="474254" y="7144"/>
                  </a:cubicBezTo>
                  <a:cubicBezTo>
                    <a:pt x="475822" y="9104"/>
                    <a:pt x="475416" y="12094"/>
                    <a:pt x="476635" y="14288"/>
                  </a:cubicBezTo>
                  <a:cubicBezTo>
                    <a:pt x="479415" y="19291"/>
                    <a:pt x="482985" y="23813"/>
                    <a:pt x="486160" y="28575"/>
                  </a:cubicBezTo>
                  <a:lnTo>
                    <a:pt x="490922" y="35719"/>
                  </a:lnTo>
                  <a:cubicBezTo>
                    <a:pt x="491716" y="38894"/>
                    <a:pt x="492594" y="42049"/>
                    <a:pt x="493304" y="45244"/>
                  </a:cubicBezTo>
                  <a:cubicBezTo>
                    <a:pt x="494182" y="49195"/>
                    <a:pt x="494703" y="53224"/>
                    <a:pt x="495685" y="57150"/>
                  </a:cubicBezTo>
                  <a:cubicBezTo>
                    <a:pt x="496294" y="59585"/>
                    <a:pt x="496291" y="62519"/>
                    <a:pt x="498066" y="64294"/>
                  </a:cubicBezTo>
                  <a:cubicBezTo>
                    <a:pt x="499841" y="66069"/>
                    <a:pt x="502829" y="65881"/>
                    <a:pt x="505210" y="66675"/>
                  </a:cubicBezTo>
                  <a:cubicBezTo>
                    <a:pt x="507591" y="69056"/>
                    <a:pt x="509696" y="71751"/>
                    <a:pt x="512354" y="73819"/>
                  </a:cubicBezTo>
                  <a:cubicBezTo>
                    <a:pt x="516872" y="77333"/>
                    <a:pt x="526641" y="83344"/>
                    <a:pt x="526641" y="83344"/>
                  </a:cubicBezTo>
                  <a:cubicBezTo>
                    <a:pt x="528578" y="89155"/>
                    <a:pt x="529168" y="93015"/>
                    <a:pt x="533785" y="97632"/>
                  </a:cubicBezTo>
                  <a:cubicBezTo>
                    <a:pt x="535809" y="99656"/>
                    <a:pt x="538548" y="100807"/>
                    <a:pt x="540929" y="102394"/>
                  </a:cubicBezTo>
                  <a:cubicBezTo>
                    <a:pt x="552748" y="120125"/>
                    <a:pt x="537561" y="98353"/>
                    <a:pt x="552835" y="116682"/>
                  </a:cubicBezTo>
                  <a:cubicBezTo>
                    <a:pt x="554667" y="118880"/>
                    <a:pt x="555574" y="121802"/>
                    <a:pt x="557597" y="123825"/>
                  </a:cubicBezTo>
                  <a:cubicBezTo>
                    <a:pt x="562214" y="128442"/>
                    <a:pt x="566073" y="129032"/>
                    <a:pt x="571885" y="130969"/>
                  </a:cubicBezTo>
                  <a:cubicBezTo>
                    <a:pt x="577153" y="136237"/>
                    <a:pt x="580475" y="138625"/>
                    <a:pt x="583791" y="145257"/>
                  </a:cubicBezTo>
                  <a:cubicBezTo>
                    <a:pt x="584913" y="147502"/>
                    <a:pt x="585378" y="150019"/>
                    <a:pt x="586172" y="152400"/>
                  </a:cubicBezTo>
                  <a:cubicBezTo>
                    <a:pt x="586966" y="161131"/>
                    <a:pt x="585182" y="170501"/>
                    <a:pt x="588554" y="178594"/>
                  </a:cubicBezTo>
                  <a:cubicBezTo>
                    <a:pt x="589813" y="181615"/>
                    <a:pt x="594932" y="180076"/>
                    <a:pt x="598079" y="180975"/>
                  </a:cubicBezTo>
                  <a:cubicBezTo>
                    <a:pt x="615855" y="186055"/>
                    <a:pt x="591804" y="181866"/>
                    <a:pt x="626654" y="185738"/>
                  </a:cubicBezTo>
                  <a:cubicBezTo>
                    <a:pt x="629588" y="187694"/>
                    <a:pt x="640024" y="193977"/>
                    <a:pt x="640941" y="197644"/>
                  </a:cubicBezTo>
                  <a:cubicBezTo>
                    <a:pt x="642814" y="205134"/>
                    <a:pt x="637400" y="211290"/>
                    <a:pt x="633797" y="216694"/>
                  </a:cubicBezTo>
                  <a:cubicBezTo>
                    <a:pt x="632250" y="221336"/>
                    <a:pt x="628371" y="228712"/>
                    <a:pt x="633797" y="233363"/>
                  </a:cubicBezTo>
                  <a:cubicBezTo>
                    <a:pt x="637609" y="236630"/>
                    <a:pt x="648085" y="238125"/>
                    <a:pt x="648085" y="238125"/>
                  </a:cubicBezTo>
                  <a:cubicBezTo>
                    <a:pt x="674573" y="234341"/>
                    <a:pt x="656895" y="240269"/>
                    <a:pt x="671897" y="228600"/>
                  </a:cubicBezTo>
                  <a:cubicBezTo>
                    <a:pt x="676415" y="225086"/>
                    <a:pt x="686185" y="219075"/>
                    <a:pt x="686185" y="219075"/>
                  </a:cubicBezTo>
                  <a:cubicBezTo>
                    <a:pt x="687772" y="216694"/>
                    <a:pt x="688141" y="212493"/>
                    <a:pt x="690947" y="211932"/>
                  </a:cubicBezTo>
                  <a:cubicBezTo>
                    <a:pt x="705470" y="209028"/>
                    <a:pt x="711385" y="216924"/>
                    <a:pt x="724285" y="219075"/>
                  </a:cubicBezTo>
                  <a:lnTo>
                    <a:pt x="738572" y="221457"/>
                  </a:lnTo>
                  <a:cubicBezTo>
                    <a:pt x="760155" y="235845"/>
                    <a:pt x="747160" y="230464"/>
                    <a:pt x="779054" y="233363"/>
                  </a:cubicBezTo>
                  <a:cubicBezTo>
                    <a:pt x="780641" y="235744"/>
                    <a:pt x="781581" y="238719"/>
                    <a:pt x="783816" y="240507"/>
                  </a:cubicBezTo>
                  <a:cubicBezTo>
                    <a:pt x="785776" y="242075"/>
                    <a:pt x="788715" y="241766"/>
                    <a:pt x="790960" y="242888"/>
                  </a:cubicBezTo>
                  <a:cubicBezTo>
                    <a:pt x="793520" y="244168"/>
                    <a:pt x="795723" y="246063"/>
                    <a:pt x="798104" y="247650"/>
                  </a:cubicBezTo>
                  <a:cubicBezTo>
                    <a:pt x="799691" y="252413"/>
                    <a:pt x="802243" y="256957"/>
                    <a:pt x="802866" y="261938"/>
                  </a:cubicBezTo>
                  <a:cubicBezTo>
                    <a:pt x="803117" y="263945"/>
                    <a:pt x="806253" y="291149"/>
                    <a:pt x="807629" y="295275"/>
                  </a:cubicBezTo>
                  <a:cubicBezTo>
                    <a:pt x="808534" y="297990"/>
                    <a:pt x="810804" y="300038"/>
                    <a:pt x="812391" y="302419"/>
                  </a:cubicBezTo>
                  <a:cubicBezTo>
                    <a:pt x="813185" y="312738"/>
                    <a:pt x="811194" y="323664"/>
                    <a:pt x="814772" y="333375"/>
                  </a:cubicBezTo>
                  <a:cubicBezTo>
                    <a:pt x="817100" y="339695"/>
                    <a:pt x="829060" y="347663"/>
                    <a:pt x="829060" y="347663"/>
                  </a:cubicBezTo>
                  <a:cubicBezTo>
                    <a:pt x="829854" y="351632"/>
                    <a:pt x="830939" y="355553"/>
                    <a:pt x="831441" y="359569"/>
                  </a:cubicBezTo>
                  <a:cubicBezTo>
                    <a:pt x="832528" y="368269"/>
                    <a:pt x="832582" y="377084"/>
                    <a:pt x="833822" y="385763"/>
                  </a:cubicBezTo>
                  <a:cubicBezTo>
                    <a:pt x="834177" y="388248"/>
                    <a:pt x="834812" y="390818"/>
                    <a:pt x="836204" y="392907"/>
                  </a:cubicBezTo>
                  <a:cubicBezTo>
                    <a:pt x="841421" y="400732"/>
                    <a:pt x="843903" y="399323"/>
                    <a:pt x="850491" y="404813"/>
                  </a:cubicBezTo>
                  <a:cubicBezTo>
                    <a:pt x="853078" y="406969"/>
                    <a:pt x="855254" y="409576"/>
                    <a:pt x="857635" y="411957"/>
                  </a:cubicBezTo>
                  <a:cubicBezTo>
                    <a:pt x="858429" y="414338"/>
                    <a:pt x="858894" y="416855"/>
                    <a:pt x="860016" y="419100"/>
                  </a:cubicBezTo>
                  <a:cubicBezTo>
                    <a:pt x="863082" y="425231"/>
                    <a:pt x="870915" y="429632"/>
                    <a:pt x="862397" y="438150"/>
                  </a:cubicBezTo>
                  <a:cubicBezTo>
                    <a:pt x="862395" y="438152"/>
                    <a:pt x="844539" y="444103"/>
                    <a:pt x="840966" y="445294"/>
                  </a:cubicBezTo>
                  <a:lnTo>
                    <a:pt x="833822" y="447675"/>
                  </a:lnTo>
                  <a:lnTo>
                    <a:pt x="826679" y="450057"/>
                  </a:lnTo>
                  <a:cubicBezTo>
                    <a:pt x="825091" y="452438"/>
                    <a:pt x="823940" y="455176"/>
                    <a:pt x="821916" y="457200"/>
                  </a:cubicBezTo>
                  <a:cubicBezTo>
                    <a:pt x="819892" y="459224"/>
                    <a:pt x="816657" y="459809"/>
                    <a:pt x="814772" y="461963"/>
                  </a:cubicBezTo>
                  <a:cubicBezTo>
                    <a:pt x="811003" y="466270"/>
                    <a:pt x="809294" y="472203"/>
                    <a:pt x="805247" y="476250"/>
                  </a:cubicBezTo>
                  <a:cubicBezTo>
                    <a:pt x="800485" y="481013"/>
                    <a:pt x="794696" y="484934"/>
                    <a:pt x="790960" y="490538"/>
                  </a:cubicBezTo>
                  <a:cubicBezTo>
                    <a:pt x="784329" y="500484"/>
                    <a:pt x="788221" y="495658"/>
                    <a:pt x="779054" y="504825"/>
                  </a:cubicBezTo>
                  <a:cubicBezTo>
                    <a:pt x="778260" y="507206"/>
                    <a:pt x="776672" y="509459"/>
                    <a:pt x="776672" y="511969"/>
                  </a:cubicBezTo>
                  <a:cubicBezTo>
                    <a:pt x="776672" y="562315"/>
                    <a:pt x="774862" y="552351"/>
                    <a:pt x="781435" y="578644"/>
                  </a:cubicBezTo>
                  <a:cubicBezTo>
                    <a:pt x="782229" y="588963"/>
                    <a:pt x="781182" y="599592"/>
                    <a:pt x="783816" y="609600"/>
                  </a:cubicBezTo>
                  <a:cubicBezTo>
                    <a:pt x="785273" y="615135"/>
                    <a:pt x="793341" y="623888"/>
                    <a:pt x="793341" y="623888"/>
                  </a:cubicBezTo>
                  <a:cubicBezTo>
                    <a:pt x="794135" y="627063"/>
                    <a:pt x="793678" y="630857"/>
                    <a:pt x="795722" y="633413"/>
                  </a:cubicBezTo>
                  <a:cubicBezTo>
                    <a:pt x="797290" y="635373"/>
                    <a:pt x="800362" y="635621"/>
                    <a:pt x="802866" y="635794"/>
                  </a:cubicBezTo>
                  <a:cubicBezTo>
                    <a:pt x="823470" y="637215"/>
                    <a:pt x="844141" y="637381"/>
                    <a:pt x="864779" y="638175"/>
                  </a:cubicBezTo>
                  <a:cubicBezTo>
                    <a:pt x="863191" y="643731"/>
                    <a:pt x="863855" y="650525"/>
                    <a:pt x="860016" y="654844"/>
                  </a:cubicBezTo>
                  <a:cubicBezTo>
                    <a:pt x="860014" y="654846"/>
                    <a:pt x="842158" y="660797"/>
                    <a:pt x="838585" y="661988"/>
                  </a:cubicBezTo>
                  <a:lnTo>
                    <a:pt x="831441" y="664369"/>
                  </a:lnTo>
                  <a:cubicBezTo>
                    <a:pt x="829034" y="667979"/>
                    <a:pt x="824297" y="673730"/>
                    <a:pt x="824297" y="678657"/>
                  </a:cubicBezTo>
                  <a:cubicBezTo>
                    <a:pt x="824297" y="681167"/>
                    <a:pt x="825885" y="683419"/>
                    <a:pt x="826679" y="685800"/>
                  </a:cubicBezTo>
                  <a:cubicBezTo>
                    <a:pt x="827473" y="696119"/>
                    <a:pt x="828030" y="706459"/>
                    <a:pt x="829060" y="716757"/>
                  </a:cubicBezTo>
                  <a:cubicBezTo>
                    <a:pt x="829618" y="722342"/>
                    <a:pt x="831260" y="727816"/>
                    <a:pt x="831441" y="733425"/>
                  </a:cubicBezTo>
                  <a:cubicBezTo>
                    <a:pt x="832849" y="777066"/>
                    <a:pt x="832317" y="820756"/>
                    <a:pt x="833822" y="864394"/>
                  </a:cubicBezTo>
                  <a:cubicBezTo>
                    <a:pt x="833909" y="866903"/>
                    <a:pt x="835081" y="869293"/>
                    <a:pt x="836204" y="871538"/>
                  </a:cubicBezTo>
                  <a:cubicBezTo>
                    <a:pt x="837484" y="874098"/>
                    <a:pt x="839686" y="876122"/>
                    <a:pt x="840966" y="878682"/>
                  </a:cubicBezTo>
                  <a:cubicBezTo>
                    <a:pt x="850820" y="898391"/>
                    <a:pt x="834465" y="872503"/>
                    <a:pt x="848110" y="892969"/>
                  </a:cubicBezTo>
                  <a:cubicBezTo>
                    <a:pt x="848904" y="895350"/>
                    <a:pt x="851285" y="897732"/>
                    <a:pt x="850491" y="900113"/>
                  </a:cubicBezTo>
                  <a:cubicBezTo>
                    <a:pt x="849426" y="903308"/>
                    <a:pt x="845503" y="904670"/>
                    <a:pt x="843347" y="907257"/>
                  </a:cubicBezTo>
                  <a:cubicBezTo>
                    <a:pt x="833425" y="919163"/>
                    <a:pt x="844539" y="910431"/>
                    <a:pt x="831441" y="919163"/>
                  </a:cubicBezTo>
                  <a:lnTo>
                    <a:pt x="817154" y="940594"/>
                  </a:lnTo>
                  <a:lnTo>
                    <a:pt x="812391" y="947738"/>
                  </a:lnTo>
                  <a:lnTo>
                    <a:pt x="807629" y="954882"/>
                  </a:lnTo>
                  <a:cubicBezTo>
                    <a:pt x="806041" y="961232"/>
                    <a:pt x="804936" y="967722"/>
                    <a:pt x="802866" y="973932"/>
                  </a:cubicBezTo>
                  <a:cubicBezTo>
                    <a:pt x="802072" y="976313"/>
                    <a:pt x="801704" y="978881"/>
                    <a:pt x="800485" y="981075"/>
                  </a:cubicBezTo>
                  <a:cubicBezTo>
                    <a:pt x="797705" y="986079"/>
                    <a:pt x="794135" y="990600"/>
                    <a:pt x="790960" y="995363"/>
                  </a:cubicBezTo>
                  <a:lnTo>
                    <a:pt x="786197" y="1002507"/>
                  </a:lnTo>
                  <a:cubicBezTo>
                    <a:pt x="784610" y="1004888"/>
                    <a:pt x="784150" y="1008745"/>
                    <a:pt x="781435" y="1009650"/>
                  </a:cubicBezTo>
                  <a:lnTo>
                    <a:pt x="774291" y="1012032"/>
                  </a:lnTo>
                  <a:cubicBezTo>
                    <a:pt x="763972" y="1011238"/>
                    <a:pt x="753604" y="1010934"/>
                    <a:pt x="743335" y="1009650"/>
                  </a:cubicBezTo>
                  <a:cubicBezTo>
                    <a:pt x="740844" y="1009339"/>
                    <a:pt x="738641" y="1007813"/>
                    <a:pt x="736191" y="1007269"/>
                  </a:cubicBezTo>
                  <a:cubicBezTo>
                    <a:pt x="731478" y="1006222"/>
                    <a:pt x="726617" y="1005935"/>
                    <a:pt x="721904" y="1004888"/>
                  </a:cubicBezTo>
                  <a:cubicBezTo>
                    <a:pt x="719454" y="1004344"/>
                    <a:pt x="717221" y="1002999"/>
                    <a:pt x="714760" y="1002507"/>
                  </a:cubicBezTo>
                  <a:cubicBezTo>
                    <a:pt x="709256" y="1001406"/>
                    <a:pt x="703647" y="1000919"/>
                    <a:pt x="698091" y="1000125"/>
                  </a:cubicBezTo>
                  <a:cubicBezTo>
                    <a:pt x="669516" y="1000919"/>
                    <a:pt x="640879" y="1000470"/>
                    <a:pt x="612366" y="1002507"/>
                  </a:cubicBezTo>
                  <a:cubicBezTo>
                    <a:pt x="607359" y="1002865"/>
                    <a:pt x="602841" y="1005682"/>
                    <a:pt x="598079" y="1007269"/>
                  </a:cubicBezTo>
                  <a:cubicBezTo>
                    <a:pt x="595698" y="1008063"/>
                    <a:pt x="593442" y="1009531"/>
                    <a:pt x="590935" y="1009650"/>
                  </a:cubicBezTo>
                  <a:lnTo>
                    <a:pt x="490922" y="1014413"/>
                  </a:lnTo>
                  <a:lnTo>
                    <a:pt x="474254" y="1019175"/>
                  </a:lnTo>
                  <a:cubicBezTo>
                    <a:pt x="471097" y="1020036"/>
                    <a:pt x="467737" y="1020268"/>
                    <a:pt x="464729" y="1021557"/>
                  </a:cubicBezTo>
                  <a:cubicBezTo>
                    <a:pt x="462099" y="1022684"/>
                    <a:pt x="460145" y="1025039"/>
                    <a:pt x="457585" y="1026319"/>
                  </a:cubicBezTo>
                  <a:cubicBezTo>
                    <a:pt x="455340" y="1027441"/>
                    <a:pt x="452822" y="1027906"/>
                    <a:pt x="450441" y="1028700"/>
                  </a:cubicBezTo>
                  <a:cubicBezTo>
                    <a:pt x="448060" y="1030288"/>
                    <a:pt x="445857" y="1032183"/>
                    <a:pt x="443297" y="1033463"/>
                  </a:cubicBezTo>
                  <a:cubicBezTo>
                    <a:pt x="441052" y="1034585"/>
                    <a:pt x="438114" y="1034276"/>
                    <a:pt x="436154" y="1035844"/>
                  </a:cubicBezTo>
                  <a:cubicBezTo>
                    <a:pt x="433919" y="1037632"/>
                    <a:pt x="433292" y="1040849"/>
                    <a:pt x="431391" y="1042988"/>
                  </a:cubicBezTo>
                  <a:cubicBezTo>
                    <a:pt x="426344" y="1048666"/>
                    <a:pt x="417921" y="1058057"/>
                    <a:pt x="409960" y="1062038"/>
                  </a:cubicBezTo>
                  <a:cubicBezTo>
                    <a:pt x="407715" y="1063161"/>
                    <a:pt x="405197" y="1063625"/>
                    <a:pt x="402816" y="1064419"/>
                  </a:cubicBezTo>
                  <a:cubicBezTo>
                    <a:pt x="400435" y="1066007"/>
                    <a:pt x="398001" y="1067518"/>
                    <a:pt x="395672" y="1069182"/>
                  </a:cubicBezTo>
                  <a:cubicBezTo>
                    <a:pt x="374979" y="1083962"/>
                    <a:pt x="395851" y="1069854"/>
                    <a:pt x="379004" y="1081088"/>
                  </a:cubicBezTo>
                  <a:cubicBezTo>
                    <a:pt x="377416" y="1083469"/>
                    <a:pt x="376073" y="1086033"/>
                    <a:pt x="374241" y="1088232"/>
                  </a:cubicBezTo>
                  <a:cubicBezTo>
                    <a:pt x="372085" y="1090819"/>
                    <a:pt x="368965" y="1092573"/>
                    <a:pt x="367097" y="1095375"/>
                  </a:cubicBezTo>
                  <a:cubicBezTo>
                    <a:pt x="365705" y="1097464"/>
                    <a:pt x="365406" y="1100105"/>
                    <a:pt x="364716" y="1102519"/>
                  </a:cubicBezTo>
                  <a:cubicBezTo>
                    <a:pt x="360664" y="1116701"/>
                    <a:pt x="363328" y="1110156"/>
                    <a:pt x="359954" y="1128713"/>
                  </a:cubicBezTo>
                  <a:cubicBezTo>
                    <a:pt x="359368" y="1131933"/>
                    <a:pt x="358471" y="1135091"/>
                    <a:pt x="357572" y="1138238"/>
                  </a:cubicBezTo>
                  <a:cubicBezTo>
                    <a:pt x="355898" y="1144097"/>
                    <a:pt x="354589" y="1149617"/>
                    <a:pt x="348047" y="1152525"/>
                  </a:cubicBezTo>
                  <a:cubicBezTo>
                    <a:pt x="343635" y="1154486"/>
                    <a:pt x="338522" y="1154113"/>
                    <a:pt x="333760" y="1154907"/>
                  </a:cubicBezTo>
                  <a:cubicBezTo>
                    <a:pt x="329791" y="1157288"/>
                    <a:pt x="325436" y="1159119"/>
                    <a:pt x="321854" y="1162050"/>
                  </a:cubicBezTo>
                  <a:cubicBezTo>
                    <a:pt x="316641" y="1166315"/>
                    <a:pt x="307566" y="1176338"/>
                    <a:pt x="307566" y="1176338"/>
                  </a:cubicBezTo>
                  <a:cubicBezTo>
                    <a:pt x="303375" y="1188912"/>
                    <a:pt x="306577" y="1181394"/>
                    <a:pt x="295660" y="1197769"/>
                  </a:cubicBezTo>
                  <a:cubicBezTo>
                    <a:pt x="290897" y="1204913"/>
                    <a:pt x="291691" y="1205706"/>
                    <a:pt x="283754" y="1209675"/>
                  </a:cubicBezTo>
                  <a:cubicBezTo>
                    <a:pt x="277889" y="1212608"/>
                    <a:pt x="267816" y="1213522"/>
                    <a:pt x="262322" y="1214438"/>
                  </a:cubicBezTo>
                  <a:cubicBezTo>
                    <a:pt x="246237" y="1219800"/>
                    <a:pt x="263672" y="1212364"/>
                    <a:pt x="250416" y="1223963"/>
                  </a:cubicBezTo>
                  <a:cubicBezTo>
                    <a:pt x="240338" y="1232782"/>
                    <a:pt x="238797" y="1232599"/>
                    <a:pt x="228985" y="1235869"/>
                  </a:cubicBezTo>
                  <a:cubicBezTo>
                    <a:pt x="225810" y="1238250"/>
                    <a:pt x="222266" y="1240207"/>
                    <a:pt x="219460" y="1243013"/>
                  </a:cubicBezTo>
                  <a:cubicBezTo>
                    <a:pt x="217436" y="1245037"/>
                    <a:pt x="216932" y="1248369"/>
                    <a:pt x="214697" y="1250157"/>
                  </a:cubicBezTo>
                  <a:cubicBezTo>
                    <a:pt x="212737" y="1251725"/>
                    <a:pt x="209799" y="1251416"/>
                    <a:pt x="207554" y="1252538"/>
                  </a:cubicBezTo>
                  <a:cubicBezTo>
                    <a:pt x="204994" y="1253818"/>
                    <a:pt x="203208" y="1256700"/>
                    <a:pt x="200410" y="1257300"/>
                  </a:cubicBezTo>
                  <a:cubicBezTo>
                    <a:pt x="191837" y="1259137"/>
                    <a:pt x="182947" y="1258888"/>
                    <a:pt x="174216" y="1259682"/>
                  </a:cubicBezTo>
                  <a:cubicBezTo>
                    <a:pt x="169690" y="1260587"/>
                    <a:pt x="160046" y="1262004"/>
                    <a:pt x="155166" y="1264444"/>
                  </a:cubicBezTo>
                  <a:cubicBezTo>
                    <a:pt x="152606" y="1265724"/>
                    <a:pt x="150653" y="1268080"/>
                    <a:pt x="148022" y="1269207"/>
                  </a:cubicBezTo>
                  <a:cubicBezTo>
                    <a:pt x="145014" y="1270496"/>
                    <a:pt x="141644" y="1270689"/>
                    <a:pt x="138497" y="1271588"/>
                  </a:cubicBezTo>
                  <a:cubicBezTo>
                    <a:pt x="136084" y="1272277"/>
                    <a:pt x="133735" y="1273175"/>
                    <a:pt x="131354" y="1273969"/>
                  </a:cubicBezTo>
                  <a:cubicBezTo>
                    <a:pt x="126591" y="1273175"/>
                    <a:pt x="121647" y="1273115"/>
                    <a:pt x="117066" y="1271588"/>
                  </a:cubicBezTo>
                  <a:cubicBezTo>
                    <a:pt x="114351" y="1270683"/>
                    <a:pt x="112407" y="1268245"/>
                    <a:pt x="109922" y="1266825"/>
                  </a:cubicBezTo>
                  <a:cubicBezTo>
                    <a:pt x="106840" y="1265064"/>
                    <a:pt x="103693" y="1263381"/>
                    <a:pt x="100397" y="1262063"/>
                  </a:cubicBezTo>
                  <a:cubicBezTo>
                    <a:pt x="100374" y="1262054"/>
                    <a:pt x="82550" y="1256113"/>
                    <a:pt x="78966" y="1254919"/>
                  </a:cubicBezTo>
                  <a:cubicBezTo>
                    <a:pt x="76585" y="1254125"/>
                    <a:pt x="74322" y="1252765"/>
                    <a:pt x="71822" y="1252538"/>
                  </a:cubicBezTo>
                  <a:lnTo>
                    <a:pt x="45629" y="1250157"/>
                  </a:lnTo>
                  <a:cubicBezTo>
                    <a:pt x="43248" y="1248569"/>
                    <a:pt x="40509" y="1247418"/>
                    <a:pt x="38485" y="1245394"/>
                  </a:cubicBezTo>
                  <a:cubicBezTo>
                    <a:pt x="24731" y="1231640"/>
                    <a:pt x="44126" y="1244754"/>
                    <a:pt x="26579" y="1231107"/>
                  </a:cubicBezTo>
                  <a:cubicBezTo>
                    <a:pt x="13150" y="1220662"/>
                    <a:pt x="15796" y="1222459"/>
                    <a:pt x="2766" y="1219200"/>
                  </a:cubicBezTo>
                  <a:cubicBezTo>
                    <a:pt x="15773" y="1216599"/>
                    <a:pt x="7132" y="1217613"/>
                    <a:pt x="9910" y="1216819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06" name="Freeform 227">
              <a:extLst>
                <a:ext uri="{FF2B5EF4-FFF2-40B4-BE49-F238E27FC236}">
                  <a16:creationId xmlns:a16="http://schemas.microsoft.com/office/drawing/2014/main" xmlns="" id="{D36E6EF2-6206-2745-99FB-7D651B924803}"/>
                </a:ext>
              </a:extLst>
            </p:cNvPr>
            <p:cNvSpPr/>
            <p:nvPr/>
          </p:nvSpPr>
          <p:spPr bwMode="auto">
            <a:xfrm>
              <a:off x="2005013" y="2935541"/>
              <a:ext cx="1819275" cy="856415"/>
            </a:xfrm>
            <a:custGeom>
              <a:avLst/>
              <a:gdLst>
                <a:gd name="connsiteX0" fmla="*/ 492918 w 1819275"/>
                <a:gd name="connsiteY0" fmla="*/ 856018 h 856415"/>
                <a:gd name="connsiteX1" fmla="*/ 523875 w 1819275"/>
                <a:gd name="connsiteY1" fmla="*/ 853637 h 856415"/>
                <a:gd name="connsiteX2" fmla="*/ 545306 w 1819275"/>
                <a:gd name="connsiteY2" fmla="*/ 841731 h 856415"/>
                <a:gd name="connsiteX3" fmla="*/ 559593 w 1819275"/>
                <a:gd name="connsiteY3" fmla="*/ 836968 h 856415"/>
                <a:gd name="connsiteX4" fmla="*/ 578643 w 1819275"/>
                <a:gd name="connsiteY4" fmla="*/ 832206 h 856415"/>
                <a:gd name="connsiteX5" fmla="*/ 585787 w 1819275"/>
                <a:gd name="connsiteY5" fmla="*/ 827443 h 856415"/>
                <a:gd name="connsiteX6" fmla="*/ 600075 w 1819275"/>
                <a:gd name="connsiteY6" fmla="*/ 820300 h 856415"/>
                <a:gd name="connsiteX7" fmla="*/ 604837 w 1819275"/>
                <a:gd name="connsiteY7" fmla="*/ 784581 h 856415"/>
                <a:gd name="connsiteX8" fmla="*/ 609600 w 1819275"/>
                <a:gd name="connsiteY8" fmla="*/ 770293 h 856415"/>
                <a:gd name="connsiteX9" fmla="*/ 616743 w 1819275"/>
                <a:gd name="connsiteY9" fmla="*/ 765531 h 856415"/>
                <a:gd name="connsiteX10" fmla="*/ 626268 w 1819275"/>
                <a:gd name="connsiteY10" fmla="*/ 760768 h 856415"/>
                <a:gd name="connsiteX11" fmla="*/ 645318 w 1819275"/>
                <a:gd name="connsiteY11" fmla="*/ 746481 h 856415"/>
                <a:gd name="connsiteX12" fmla="*/ 654843 w 1819275"/>
                <a:gd name="connsiteY12" fmla="*/ 739337 h 856415"/>
                <a:gd name="connsiteX13" fmla="*/ 661987 w 1819275"/>
                <a:gd name="connsiteY13" fmla="*/ 734575 h 856415"/>
                <a:gd name="connsiteX14" fmla="*/ 673893 w 1819275"/>
                <a:gd name="connsiteY14" fmla="*/ 720287 h 856415"/>
                <a:gd name="connsiteX15" fmla="*/ 666750 w 1819275"/>
                <a:gd name="connsiteY15" fmla="*/ 684568 h 856415"/>
                <a:gd name="connsiteX16" fmla="*/ 652462 w 1819275"/>
                <a:gd name="connsiteY16" fmla="*/ 670281 h 856415"/>
                <a:gd name="connsiteX17" fmla="*/ 623887 w 1819275"/>
                <a:gd name="connsiteY17" fmla="*/ 675043 h 856415"/>
                <a:gd name="connsiteX18" fmla="*/ 609600 w 1819275"/>
                <a:gd name="connsiteY18" fmla="*/ 679806 h 856415"/>
                <a:gd name="connsiteX19" fmla="*/ 602456 w 1819275"/>
                <a:gd name="connsiteY19" fmla="*/ 682187 h 856415"/>
                <a:gd name="connsiteX20" fmla="*/ 585787 w 1819275"/>
                <a:gd name="connsiteY20" fmla="*/ 679806 h 856415"/>
                <a:gd name="connsiteX21" fmla="*/ 569118 w 1819275"/>
                <a:gd name="connsiteY21" fmla="*/ 675043 h 856415"/>
                <a:gd name="connsiteX22" fmla="*/ 557212 w 1819275"/>
                <a:gd name="connsiteY22" fmla="*/ 660756 h 856415"/>
                <a:gd name="connsiteX23" fmla="*/ 550068 w 1819275"/>
                <a:gd name="connsiteY23" fmla="*/ 653612 h 856415"/>
                <a:gd name="connsiteX24" fmla="*/ 552450 w 1819275"/>
                <a:gd name="connsiteY24" fmla="*/ 636943 h 856415"/>
                <a:gd name="connsiteX25" fmla="*/ 564356 w 1819275"/>
                <a:gd name="connsiteY25" fmla="*/ 622656 h 856415"/>
                <a:gd name="connsiteX26" fmla="*/ 571500 w 1819275"/>
                <a:gd name="connsiteY26" fmla="*/ 620275 h 856415"/>
                <a:gd name="connsiteX27" fmla="*/ 578643 w 1819275"/>
                <a:gd name="connsiteY27" fmla="*/ 615512 h 856415"/>
                <a:gd name="connsiteX28" fmla="*/ 588168 w 1819275"/>
                <a:gd name="connsiteY28" fmla="*/ 613131 h 856415"/>
                <a:gd name="connsiteX29" fmla="*/ 595312 w 1819275"/>
                <a:gd name="connsiteY29" fmla="*/ 605987 h 856415"/>
                <a:gd name="connsiteX30" fmla="*/ 609600 w 1819275"/>
                <a:gd name="connsiteY30" fmla="*/ 598843 h 856415"/>
                <a:gd name="connsiteX31" fmla="*/ 623887 w 1819275"/>
                <a:gd name="connsiteY31" fmla="*/ 586937 h 856415"/>
                <a:gd name="connsiteX32" fmla="*/ 623887 w 1819275"/>
                <a:gd name="connsiteY32" fmla="*/ 570268 h 856415"/>
                <a:gd name="connsiteX33" fmla="*/ 633412 w 1819275"/>
                <a:gd name="connsiteY33" fmla="*/ 432156 h 856415"/>
                <a:gd name="connsiteX34" fmla="*/ 657225 w 1819275"/>
                <a:gd name="connsiteY34" fmla="*/ 436918 h 856415"/>
                <a:gd name="connsiteX35" fmla="*/ 673893 w 1819275"/>
                <a:gd name="connsiteY35" fmla="*/ 444062 h 856415"/>
                <a:gd name="connsiteX36" fmla="*/ 692943 w 1819275"/>
                <a:gd name="connsiteY36" fmla="*/ 446443 h 856415"/>
                <a:gd name="connsiteX37" fmla="*/ 707231 w 1819275"/>
                <a:gd name="connsiteY37" fmla="*/ 451206 h 856415"/>
                <a:gd name="connsiteX38" fmla="*/ 714375 w 1819275"/>
                <a:gd name="connsiteY38" fmla="*/ 453587 h 856415"/>
                <a:gd name="connsiteX39" fmla="*/ 723900 w 1819275"/>
                <a:gd name="connsiteY39" fmla="*/ 455968 h 856415"/>
                <a:gd name="connsiteX40" fmla="*/ 735806 w 1819275"/>
                <a:gd name="connsiteY40" fmla="*/ 470256 h 856415"/>
                <a:gd name="connsiteX41" fmla="*/ 738187 w 1819275"/>
                <a:gd name="connsiteY41" fmla="*/ 477400 h 856415"/>
                <a:gd name="connsiteX42" fmla="*/ 769143 w 1819275"/>
                <a:gd name="connsiteY42" fmla="*/ 489306 h 856415"/>
                <a:gd name="connsiteX43" fmla="*/ 783431 w 1819275"/>
                <a:gd name="connsiteY43" fmla="*/ 494068 h 856415"/>
                <a:gd name="connsiteX44" fmla="*/ 809625 w 1819275"/>
                <a:gd name="connsiteY44" fmla="*/ 510737 h 856415"/>
                <a:gd name="connsiteX45" fmla="*/ 838200 w 1819275"/>
                <a:gd name="connsiteY45" fmla="*/ 508356 h 856415"/>
                <a:gd name="connsiteX46" fmla="*/ 847725 w 1819275"/>
                <a:gd name="connsiteY46" fmla="*/ 522643 h 856415"/>
                <a:gd name="connsiteX47" fmla="*/ 857250 w 1819275"/>
                <a:gd name="connsiteY47" fmla="*/ 529787 h 856415"/>
                <a:gd name="connsiteX48" fmla="*/ 871537 w 1819275"/>
                <a:gd name="connsiteY48" fmla="*/ 527406 h 856415"/>
                <a:gd name="connsiteX49" fmla="*/ 876300 w 1819275"/>
                <a:gd name="connsiteY49" fmla="*/ 513118 h 856415"/>
                <a:gd name="connsiteX50" fmla="*/ 873918 w 1819275"/>
                <a:gd name="connsiteY50" fmla="*/ 451206 h 856415"/>
                <a:gd name="connsiteX51" fmla="*/ 869156 w 1819275"/>
                <a:gd name="connsiteY51" fmla="*/ 432156 h 856415"/>
                <a:gd name="connsiteX52" fmla="*/ 866775 w 1819275"/>
                <a:gd name="connsiteY52" fmla="*/ 422631 h 856415"/>
                <a:gd name="connsiteX53" fmla="*/ 864393 w 1819275"/>
                <a:gd name="connsiteY53" fmla="*/ 413106 h 856415"/>
                <a:gd name="connsiteX54" fmla="*/ 857250 w 1819275"/>
                <a:gd name="connsiteY54" fmla="*/ 398818 h 856415"/>
                <a:gd name="connsiteX55" fmla="*/ 859631 w 1819275"/>
                <a:gd name="connsiteY55" fmla="*/ 358337 h 856415"/>
                <a:gd name="connsiteX56" fmla="*/ 862012 w 1819275"/>
                <a:gd name="connsiteY56" fmla="*/ 348812 h 856415"/>
                <a:gd name="connsiteX57" fmla="*/ 873918 w 1819275"/>
                <a:gd name="connsiteY57" fmla="*/ 336906 h 856415"/>
                <a:gd name="connsiteX58" fmla="*/ 881062 w 1819275"/>
                <a:gd name="connsiteY58" fmla="*/ 334525 h 856415"/>
                <a:gd name="connsiteX59" fmla="*/ 904875 w 1819275"/>
                <a:gd name="connsiteY59" fmla="*/ 325000 h 856415"/>
                <a:gd name="connsiteX60" fmla="*/ 912018 w 1819275"/>
                <a:gd name="connsiteY60" fmla="*/ 322618 h 856415"/>
                <a:gd name="connsiteX61" fmla="*/ 938212 w 1819275"/>
                <a:gd name="connsiteY61" fmla="*/ 320237 h 856415"/>
                <a:gd name="connsiteX62" fmla="*/ 947737 w 1819275"/>
                <a:gd name="connsiteY62" fmla="*/ 317856 h 856415"/>
                <a:gd name="connsiteX63" fmla="*/ 981075 w 1819275"/>
                <a:gd name="connsiteY63" fmla="*/ 313093 h 856415"/>
                <a:gd name="connsiteX64" fmla="*/ 995362 w 1819275"/>
                <a:gd name="connsiteY64" fmla="*/ 310712 h 856415"/>
                <a:gd name="connsiteX65" fmla="*/ 1012031 w 1819275"/>
                <a:gd name="connsiteY65" fmla="*/ 308331 h 856415"/>
                <a:gd name="connsiteX66" fmla="*/ 1023937 w 1819275"/>
                <a:gd name="connsiteY66" fmla="*/ 305950 h 856415"/>
                <a:gd name="connsiteX67" fmla="*/ 1085850 w 1819275"/>
                <a:gd name="connsiteY67" fmla="*/ 303568 h 856415"/>
                <a:gd name="connsiteX68" fmla="*/ 1102518 w 1819275"/>
                <a:gd name="connsiteY68" fmla="*/ 301187 h 856415"/>
                <a:gd name="connsiteX69" fmla="*/ 1112043 w 1819275"/>
                <a:gd name="connsiteY69" fmla="*/ 296425 h 856415"/>
                <a:gd name="connsiteX70" fmla="*/ 1119187 w 1819275"/>
                <a:gd name="connsiteY70" fmla="*/ 298806 h 856415"/>
                <a:gd name="connsiteX71" fmla="*/ 1143000 w 1819275"/>
                <a:gd name="connsiteY71" fmla="*/ 313093 h 856415"/>
                <a:gd name="connsiteX72" fmla="*/ 1157287 w 1819275"/>
                <a:gd name="connsiteY72" fmla="*/ 325000 h 856415"/>
                <a:gd name="connsiteX73" fmla="*/ 1171575 w 1819275"/>
                <a:gd name="connsiteY73" fmla="*/ 329762 h 856415"/>
                <a:gd name="connsiteX74" fmla="*/ 1178718 w 1819275"/>
                <a:gd name="connsiteY74" fmla="*/ 334525 h 856415"/>
                <a:gd name="connsiteX75" fmla="*/ 1185862 w 1819275"/>
                <a:gd name="connsiteY75" fmla="*/ 336906 h 856415"/>
                <a:gd name="connsiteX76" fmla="*/ 1207293 w 1819275"/>
                <a:gd name="connsiteY76" fmla="*/ 351193 h 856415"/>
                <a:gd name="connsiteX77" fmla="*/ 1214437 w 1819275"/>
                <a:gd name="connsiteY77" fmla="*/ 355956 h 856415"/>
                <a:gd name="connsiteX78" fmla="*/ 1228725 w 1819275"/>
                <a:gd name="connsiteY78" fmla="*/ 370243 h 856415"/>
                <a:gd name="connsiteX79" fmla="*/ 1233487 w 1819275"/>
                <a:gd name="connsiteY79" fmla="*/ 377387 h 856415"/>
                <a:gd name="connsiteX80" fmla="*/ 1240631 w 1819275"/>
                <a:gd name="connsiteY80" fmla="*/ 379768 h 856415"/>
                <a:gd name="connsiteX81" fmla="*/ 1245393 w 1819275"/>
                <a:gd name="connsiteY81" fmla="*/ 386912 h 856415"/>
                <a:gd name="connsiteX82" fmla="*/ 1254918 w 1819275"/>
                <a:gd name="connsiteY82" fmla="*/ 389293 h 856415"/>
                <a:gd name="connsiteX83" fmla="*/ 1262062 w 1819275"/>
                <a:gd name="connsiteY83" fmla="*/ 394056 h 856415"/>
                <a:gd name="connsiteX84" fmla="*/ 1278731 w 1819275"/>
                <a:gd name="connsiteY84" fmla="*/ 401200 h 856415"/>
                <a:gd name="connsiteX85" fmla="*/ 1293018 w 1819275"/>
                <a:gd name="connsiteY85" fmla="*/ 413106 h 856415"/>
                <a:gd name="connsiteX86" fmla="*/ 1302543 w 1819275"/>
                <a:gd name="connsiteY86" fmla="*/ 415487 h 856415"/>
                <a:gd name="connsiteX87" fmla="*/ 1309687 w 1819275"/>
                <a:gd name="connsiteY87" fmla="*/ 420250 h 856415"/>
                <a:gd name="connsiteX88" fmla="*/ 1323975 w 1819275"/>
                <a:gd name="connsiteY88" fmla="*/ 425012 h 856415"/>
                <a:gd name="connsiteX89" fmla="*/ 1331118 w 1819275"/>
                <a:gd name="connsiteY89" fmla="*/ 427393 h 856415"/>
                <a:gd name="connsiteX90" fmla="*/ 1345406 w 1819275"/>
                <a:gd name="connsiteY90" fmla="*/ 429775 h 856415"/>
                <a:gd name="connsiteX91" fmla="*/ 1362075 w 1819275"/>
                <a:gd name="connsiteY91" fmla="*/ 432156 h 856415"/>
                <a:gd name="connsiteX92" fmla="*/ 1371600 w 1819275"/>
                <a:gd name="connsiteY92" fmla="*/ 434537 h 856415"/>
                <a:gd name="connsiteX93" fmla="*/ 1388268 w 1819275"/>
                <a:gd name="connsiteY93" fmla="*/ 444062 h 856415"/>
                <a:gd name="connsiteX94" fmla="*/ 1395412 w 1819275"/>
                <a:gd name="connsiteY94" fmla="*/ 446443 h 856415"/>
                <a:gd name="connsiteX95" fmla="*/ 1404937 w 1819275"/>
                <a:gd name="connsiteY95" fmla="*/ 451206 h 856415"/>
                <a:gd name="connsiteX96" fmla="*/ 1419225 w 1819275"/>
                <a:gd name="connsiteY96" fmla="*/ 455968 h 856415"/>
                <a:gd name="connsiteX97" fmla="*/ 1426368 w 1819275"/>
                <a:gd name="connsiteY97" fmla="*/ 458350 h 856415"/>
                <a:gd name="connsiteX98" fmla="*/ 1433512 w 1819275"/>
                <a:gd name="connsiteY98" fmla="*/ 460731 h 856415"/>
                <a:gd name="connsiteX99" fmla="*/ 1443037 w 1819275"/>
                <a:gd name="connsiteY99" fmla="*/ 475018 h 856415"/>
                <a:gd name="connsiteX100" fmla="*/ 1445418 w 1819275"/>
                <a:gd name="connsiteY100" fmla="*/ 482162 h 856415"/>
                <a:gd name="connsiteX101" fmla="*/ 1459706 w 1819275"/>
                <a:gd name="connsiteY101" fmla="*/ 491687 h 856415"/>
                <a:gd name="connsiteX102" fmla="*/ 1466850 w 1819275"/>
                <a:gd name="connsiteY102" fmla="*/ 496450 h 856415"/>
                <a:gd name="connsiteX103" fmla="*/ 1483518 w 1819275"/>
                <a:gd name="connsiteY103" fmla="*/ 501212 h 856415"/>
                <a:gd name="connsiteX104" fmla="*/ 1500187 w 1819275"/>
                <a:gd name="connsiteY104" fmla="*/ 505975 h 856415"/>
                <a:gd name="connsiteX105" fmla="*/ 1514475 w 1819275"/>
                <a:gd name="connsiteY105" fmla="*/ 515500 h 856415"/>
                <a:gd name="connsiteX106" fmla="*/ 1531143 w 1819275"/>
                <a:gd name="connsiteY106" fmla="*/ 525025 h 856415"/>
                <a:gd name="connsiteX107" fmla="*/ 1545431 w 1819275"/>
                <a:gd name="connsiteY107" fmla="*/ 527406 h 856415"/>
                <a:gd name="connsiteX108" fmla="*/ 1552575 w 1819275"/>
                <a:gd name="connsiteY108" fmla="*/ 529787 h 856415"/>
                <a:gd name="connsiteX109" fmla="*/ 1564481 w 1819275"/>
                <a:gd name="connsiteY109" fmla="*/ 532168 h 856415"/>
                <a:gd name="connsiteX110" fmla="*/ 1604962 w 1819275"/>
                <a:gd name="connsiteY110" fmla="*/ 529787 h 856415"/>
                <a:gd name="connsiteX111" fmla="*/ 1612106 w 1819275"/>
                <a:gd name="connsiteY111" fmla="*/ 525025 h 856415"/>
                <a:gd name="connsiteX112" fmla="*/ 1621631 w 1819275"/>
                <a:gd name="connsiteY112" fmla="*/ 520262 h 856415"/>
                <a:gd name="connsiteX113" fmla="*/ 1631156 w 1819275"/>
                <a:gd name="connsiteY113" fmla="*/ 513118 h 856415"/>
                <a:gd name="connsiteX114" fmla="*/ 1638300 w 1819275"/>
                <a:gd name="connsiteY114" fmla="*/ 510737 h 856415"/>
                <a:gd name="connsiteX115" fmla="*/ 1647825 w 1819275"/>
                <a:gd name="connsiteY115" fmla="*/ 505975 h 856415"/>
                <a:gd name="connsiteX116" fmla="*/ 1654968 w 1819275"/>
                <a:gd name="connsiteY116" fmla="*/ 503593 h 856415"/>
                <a:gd name="connsiteX117" fmla="*/ 1662112 w 1819275"/>
                <a:gd name="connsiteY117" fmla="*/ 498831 h 856415"/>
                <a:gd name="connsiteX118" fmla="*/ 1671637 w 1819275"/>
                <a:gd name="connsiteY118" fmla="*/ 496450 h 856415"/>
                <a:gd name="connsiteX119" fmla="*/ 1678781 w 1819275"/>
                <a:gd name="connsiteY119" fmla="*/ 494068 h 856415"/>
                <a:gd name="connsiteX120" fmla="*/ 1685925 w 1819275"/>
                <a:gd name="connsiteY120" fmla="*/ 486925 h 856415"/>
                <a:gd name="connsiteX121" fmla="*/ 1693068 w 1819275"/>
                <a:gd name="connsiteY121" fmla="*/ 482162 h 856415"/>
                <a:gd name="connsiteX122" fmla="*/ 1709737 w 1819275"/>
                <a:gd name="connsiteY122" fmla="*/ 470256 h 856415"/>
                <a:gd name="connsiteX123" fmla="*/ 1716881 w 1819275"/>
                <a:gd name="connsiteY123" fmla="*/ 455968 h 856415"/>
                <a:gd name="connsiteX124" fmla="*/ 1740693 w 1819275"/>
                <a:gd name="connsiteY124" fmla="*/ 441681 h 856415"/>
                <a:gd name="connsiteX125" fmla="*/ 1747837 w 1819275"/>
                <a:gd name="connsiteY125" fmla="*/ 439300 h 856415"/>
                <a:gd name="connsiteX126" fmla="*/ 1754981 w 1819275"/>
                <a:gd name="connsiteY126" fmla="*/ 434537 h 856415"/>
                <a:gd name="connsiteX127" fmla="*/ 1778793 w 1819275"/>
                <a:gd name="connsiteY127" fmla="*/ 427393 h 856415"/>
                <a:gd name="connsiteX128" fmla="*/ 1788318 w 1819275"/>
                <a:gd name="connsiteY128" fmla="*/ 417868 h 856415"/>
                <a:gd name="connsiteX129" fmla="*/ 1795462 w 1819275"/>
                <a:gd name="connsiteY129" fmla="*/ 415487 h 856415"/>
                <a:gd name="connsiteX130" fmla="*/ 1802606 w 1819275"/>
                <a:gd name="connsiteY130" fmla="*/ 408343 h 856415"/>
                <a:gd name="connsiteX131" fmla="*/ 1804987 w 1819275"/>
                <a:gd name="connsiteY131" fmla="*/ 401200 h 856415"/>
                <a:gd name="connsiteX132" fmla="*/ 1800225 w 1819275"/>
                <a:gd name="connsiteY132" fmla="*/ 344050 h 856415"/>
                <a:gd name="connsiteX133" fmla="*/ 1802606 w 1819275"/>
                <a:gd name="connsiteY133" fmla="*/ 313093 h 856415"/>
                <a:gd name="connsiteX134" fmla="*/ 1816893 w 1819275"/>
                <a:gd name="connsiteY134" fmla="*/ 303568 h 856415"/>
                <a:gd name="connsiteX135" fmla="*/ 1819275 w 1819275"/>
                <a:gd name="connsiteY135" fmla="*/ 294043 h 856415"/>
                <a:gd name="connsiteX136" fmla="*/ 1814512 w 1819275"/>
                <a:gd name="connsiteY136" fmla="*/ 277375 h 856415"/>
                <a:gd name="connsiteX137" fmla="*/ 1807368 w 1819275"/>
                <a:gd name="connsiteY137" fmla="*/ 272612 h 856415"/>
                <a:gd name="connsiteX138" fmla="*/ 1797843 w 1819275"/>
                <a:gd name="connsiteY138" fmla="*/ 265468 h 856415"/>
                <a:gd name="connsiteX139" fmla="*/ 1790700 w 1819275"/>
                <a:gd name="connsiteY139" fmla="*/ 263087 h 856415"/>
                <a:gd name="connsiteX140" fmla="*/ 1766887 w 1819275"/>
                <a:gd name="connsiteY140" fmla="*/ 246418 h 856415"/>
                <a:gd name="connsiteX141" fmla="*/ 1757362 w 1819275"/>
                <a:gd name="connsiteY141" fmla="*/ 241656 h 856415"/>
                <a:gd name="connsiteX142" fmla="*/ 1750218 w 1819275"/>
                <a:gd name="connsiteY142" fmla="*/ 236893 h 856415"/>
                <a:gd name="connsiteX143" fmla="*/ 1731168 w 1819275"/>
                <a:gd name="connsiteY143" fmla="*/ 227368 h 856415"/>
                <a:gd name="connsiteX144" fmla="*/ 1724025 w 1819275"/>
                <a:gd name="connsiteY144" fmla="*/ 222606 h 856415"/>
                <a:gd name="connsiteX145" fmla="*/ 1709737 w 1819275"/>
                <a:gd name="connsiteY145" fmla="*/ 217843 h 856415"/>
                <a:gd name="connsiteX146" fmla="*/ 1693068 w 1819275"/>
                <a:gd name="connsiteY146" fmla="*/ 208318 h 856415"/>
                <a:gd name="connsiteX147" fmla="*/ 1681162 w 1819275"/>
                <a:gd name="connsiteY147" fmla="*/ 205937 h 856415"/>
                <a:gd name="connsiteX148" fmla="*/ 1659731 w 1819275"/>
                <a:gd name="connsiteY148" fmla="*/ 186887 h 856415"/>
                <a:gd name="connsiteX149" fmla="*/ 1643062 w 1819275"/>
                <a:gd name="connsiteY149" fmla="*/ 167837 h 856415"/>
                <a:gd name="connsiteX150" fmla="*/ 1628775 w 1819275"/>
                <a:gd name="connsiteY150" fmla="*/ 158312 h 856415"/>
                <a:gd name="connsiteX151" fmla="*/ 1614487 w 1819275"/>
                <a:gd name="connsiteY151" fmla="*/ 153550 h 856415"/>
                <a:gd name="connsiteX152" fmla="*/ 1607343 w 1819275"/>
                <a:gd name="connsiteY152" fmla="*/ 167837 h 856415"/>
                <a:gd name="connsiteX153" fmla="*/ 1612106 w 1819275"/>
                <a:gd name="connsiteY153" fmla="*/ 196412 h 856415"/>
                <a:gd name="connsiteX154" fmla="*/ 1614487 w 1819275"/>
                <a:gd name="connsiteY154" fmla="*/ 224987 h 856415"/>
                <a:gd name="connsiteX155" fmla="*/ 1607343 w 1819275"/>
                <a:gd name="connsiteY155" fmla="*/ 277375 h 856415"/>
                <a:gd name="connsiteX156" fmla="*/ 1593056 w 1819275"/>
                <a:gd name="connsiteY156" fmla="*/ 284518 h 856415"/>
                <a:gd name="connsiteX157" fmla="*/ 1585912 w 1819275"/>
                <a:gd name="connsiteY157" fmla="*/ 289281 h 856415"/>
                <a:gd name="connsiteX158" fmla="*/ 1562100 w 1819275"/>
                <a:gd name="connsiteY158" fmla="*/ 294043 h 856415"/>
                <a:gd name="connsiteX159" fmla="*/ 1547812 w 1819275"/>
                <a:gd name="connsiteY159" fmla="*/ 305950 h 856415"/>
                <a:gd name="connsiteX160" fmla="*/ 1538287 w 1819275"/>
                <a:gd name="connsiteY160" fmla="*/ 341668 h 856415"/>
                <a:gd name="connsiteX161" fmla="*/ 1531143 w 1819275"/>
                <a:gd name="connsiteY161" fmla="*/ 346431 h 856415"/>
                <a:gd name="connsiteX162" fmla="*/ 1516856 w 1819275"/>
                <a:gd name="connsiteY162" fmla="*/ 344050 h 856415"/>
                <a:gd name="connsiteX163" fmla="*/ 1509712 w 1819275"/>
                <a:gd name="connsiteY163" fmla="*/ 336906 h 856415"/>
                <a:gd name="connsiteX164" fmla="*/ 1502568 w 1819275"/>
                <a:gd name="connsiteY164" fmla="*/ 332143 h 856415"/>
                <a:gd name="connsiteX165" fmla="*/ 1495425 w 1819275"/>
                <a:gd name="connsiteY165" fmla="*/ 329762 h 856415"/>
                <a:gd name="connsiteX166" fmla="*/ 1471612 w 1819275"/>
                <a:gd name="connsiteY166" fmla="*/ 325000 h 856415"/>
                <a:gd name="connsiteX167" fmla="*/ 1464468 w 1819275"/>
                <a:gd name="connsiteY167" fmla="*/ 310712 h 856415"/>
                <a:gd name="connsiteX168" fmla="*/ 1471612 w 1819275"/>
                <a:gd name="connsiteY168" fmla="*/ 294043 h 856415"/>
                <a:gd name="connsiteX169" fmla="*/ 1478756 w 1819275"/>
                <a:gd name="connsiteY169" fmla="*/ 289281 h 856415"/>
                <a:gd name="connsiteX170" fmla="*/ 1485900 w 1819275"/>
                <a:gd name="connsiteY170" fmla="*/ 286900 h 856415"/>
                <a:gd name="connsiteX171" fmla="*/ 1500187 w 1819275"/>
                <a:gd name="connsiteY171" fmla="*/ 277375 h 856415"/>
                <a:gd name="connsiteX172" fmla="*/ 1514475 w 1819275"/>
                <a:gd name="connsiteY172" fmla="*/ 267850 h 856415"/>
                <a:gd name="connsiteX173" fmla="*/ 1528762 w 1819275"/>
                <a:gd name="connsiteY173" fmla="*/ 260706 h 856415"/>
                <a:gd name="connsiteX174" fmla="*/ 1535906 w 1819275"/>
                <a:gd name="connsiteY174" fmla="*/ 258325 h 856415"/>
                <a:gd name="connsiteX175" fmla="*/ 1535906 w 1819275"/>
                <a:gd name="connsiteY175" fmla="*/ 239275 h 856415"/>
                <a:gd name="connsiteX176" fmla="*/ 1519237 w 1819275"/>
                <a:gd name="connsiteY176" fmla="*/ 241656 h 856415"/>
                <a:gd name="connsiteX177" fmla="*/ 1485900 w 1819275"/>
                <a:gd name="connsiteY177" fmla="*/ 239275 h 856415"/>
                <a:gd name="connsiteX178" fmla="*/ 1471612 w 1819275"/>
                <a:gd name="connsiteY178" fmla="*/ 236893 h 856415"/>
                <a:gd name="connsiteX179" fmla="*/ 1431131 w 1819275"/>
                <a:gd name="connsiteY179" fmla="*/ 232131 h 856415"/>
                <a:gd name="connsiteX180" fmla="*/ 1423987 w 1819275"/>
                <a:gd name="connsiteY180" fmla="*/ 229750 h 856415"/>
                <a:gd name="connsiteX181" fmla="*/ 1402556 w 1819275"/>
                <a:gd name="connsiteY181" fmla="*/ 224987 h 856415"/>
                <a:gd name="connsiteX182" fmla="*/ 1395412 w 1819275"/>
                <a:gd name="connsiteY182" fmla="*/ 220225 h 856415"/>
                <a:gd name="connsiteX183" fmla="*/ 1371600 w 1819275"/>
                <a:gd name="connsiteY183" fmla="*/ 215462 h 856415"/>
                <a:gd name="connsiteX184" fmla="*/ 1352550 w 1819275"/>
                <a:gd name="connsiteY184" fmla="*/ 210700 h 856415"/>
                <a:gd name="connsiteX185" fmla="*/ 1309687 w 1819275"/>
                <a:gd name="connsiteY185" fmla="*/ 215462 h 856415"/>
                <a:gd name="connsiteX186" fmla="*/ 1302543 w 1819275"/>
                <a:gd name="connsiteY186" fmla="*/ 217843 h 856415"/>
                <a:gd name="connsiteX187" fmla="*/ 1295400 w 1819275"/>
                <a:gd name="connsiteY187" fmla="*/ 224987 h 856415"/>
                <a:gd name="connsiteX188" fmla="*/ 1281112 w 1819275"/>
                <a:gd name="connsiteY188" fmla="*/ 234512 h 856415"/>
                <a:gd name="connsiteX189" fmla="*/ 1269206 w 1819275"/>
                <a:gd name="connsiteY189" fmla="*/ 232131 h 856415"/>
                <a:gd name="connsiteX190" fmla="*/ 1259681 w 1819275"/>
                <a:gd name="connsiteY190" fmla="*/ 229750 h 856415"/>
                <a:gd name="connsiteX191" fmla="*/ 1250156 w 1819275"/>
                <a:gd name="connsiteY191" fmla="*/ 215462 h 856415"/>
                <a:gd name="connsiteX192" fmla="*/ 1243012 w 1819275"/>
                <a:gd name="connsiteY192" fmla="*/ 201175 h 856415"/>
                <a:gd name="connsiteX193" fmla="*/ 1233487 w 1819275"/>
                <a:gd name="connsiteY193" fmla="*/ 198793 h 856415"/>
                <a:gd name="connsiteX194" fmla="*/ 1221581 w 1819275"/>
                <a:gd name="connsiteY194" fmla="*/ 201175 h 856415"/>
                <a:gd name="connsiteX195" fmla="*/ 1197768 w 1819275"/>
                <a:gd name="connsiteY195" fmla="*/ 217843 h 856415"/>
                <a:gd name="connsiteX196" fmla="*/ 1181100 w 1819275"/>
                <a:gd name="connsiteY196" fmla="*/ 224987 h 856415"/>
                <a:gd name="connsiteX197" fmla="*/ 1164431 w 1819275"/>
                <a:gd name="connsiteY197" fmla="*/ 229750 h 856415"/>
                <a:gd name="connsiteX198" fmla="*/ 1157287 w 1819275"/>
                <a:gd name="connsiteY198" fmla="*/ 224987 h 856415"/>
                <a:gd name="connsiteX199" fmla="*/ 1159668 w 1819275"/>
                <a:gd name="connsiteY199" fmla="*/ 215462 h 856415"/>
                <a:gd name="connsiteX200" fmla="*/ 1171575 w 1819275"/>
                <a:gd name="connsiteY200" fmla="*/ 203556 h 856415"/>
                <a:gd name="connsiteX201" fmla="*/ 1176337 w 1819275"/>
                <a:gd name="connsiteY201" fmla="*/ 189268 h 856415"/>
                <a:gd name="connsiteX202" fmla="*/ 1171575 w 1819275"/>
                <a:gd name="connsiteY202" fmla="*/ 153550 h 856415"/>
                <a:gd name="connsiteX203" fmla="*/ 1164431 w 1819275"/>
                <a:gd name="connsiteY203" fmla="*/ 136881 h 856415"/>
                <a:gd name="connsiteX204" fmla="*/ 1150143 w 1819275"/>
                <a:gd name="connsiteY204" fmla="*/ 129737 h 856415"/>
                <a:gd name="connsiteX205" fmla="*/ 1143000 w 1819275"/>
                <a:gd name="connsiteY205" fmla="*/ 132118 h 856415"/>
                <a:gd name="connsiteX206" fmla="*/ 1138237 w 1819275"/>
                <a:gd name="connsiteY206" fmla="*/ 139262 h 856415"/>
                <a:gd name="connsiteX207" fmla="*/ 1131093 w 1819275"/>
                <a:gd name="connsiteY207" fmla="*/ 163075 h 856415"/>
                <a:gd name="connsiteX208" fmla="*/ 1123950 w 1819275"/>
                <a:gd name="connsiteY208" fmla="*/ 184506 h 856415"/>
                <a:gd name="connsiteX209" fmla="*/ 1121568 w 1819275"/>
                <a:gd name="connsiteY209" fmla="*/ 191650 h 856415"/>
                <a:gd name="connsiteX210" fmla="*/ 1114425 w 1819275"/>
                <a:gd name="connsiteY210" fmla="*/ 198793 h 856415"/>
                <a:gd name="connsiteX211" fmla="*/ 1102518 w 1819275"/>
                <a:gd name="connsiteY211" fmla="*/ 213081 h 856415"/>
                <a:gd name="connsiteX212" fmla="*/ 1085850 w 1819275"/>
                <a:gd name="connsiteY212" fmla="*/ 217843 h 856415"/>
                <a:gd name="connsiteX213" fmla="*/ 1057275 w 1819275"/>
                <a:gd name="connsiteY213" fmla="*/ 215462 h 856415"/>
                <a:gd name="connsiteX214" fmla="*/ 1050131 w 1819275"/>
                <a:gd name="connsiteY214" fmla="*/ 208318 h 856415"/>
                <a:gd name="connsiteX215" fmla="*/ 1042987 w 1819275"/>
                <a:gd name="connsiteY215" fmla="*/ 194031 h 856415"/>
                <a:gd name="connsiteX216" fmla="*/ 1023937 w 1819275"/>
                <a:gd name="connsiteY216" fmla="*/ 186887 h 856415"/>
                <a:gd name="connsiteX217" fmla="*/ 1000125 w 1819275"/>
                <a:gd name="connsiteY217" fmla="*/ 189268 h 856415"/>
                <a:gd name="connsiteX218" fmla="*/ 990600 w 1819275"/>
                <a:gd name="connsiteY218" fmla="*/ 203556 h 856415"/>
                <a:gd name="connsiteX219" fmla="*/ 983456 w 1819275"/>
                <a:gd name="connsiteY219" fmla="*/ 208318 h 856415"/>
                <a:gd name="connsiteX220" fmla="*/ 942975 w 1819275"/>
                <a:gd name="connsiteY220" fmla="*/ 213081 h 856415"/>
                <a:gd name="connsiteX221" fmla="*/ 938212 w 1819275"/>
                <a:gd name="connsiteY221" fmla="*/ 227368 h 856415"/>
                <a:gd name="connsiteX222" fmla="*/ 935831 w 1819275"/>
                <a:gd name="connsiteY222" fmla="*/ 234512 h 856415"/>
                <a:gd name="connsiteX223" fmla="*/ 931068 w 1819275"/>
                <a:gd name="connsiteY223" fmla="*/ 241656 h 856415"/>
                <a:gd name="connsiteX224" fmla="*/ 900112 w 1819275"/>
                <a:gd name="connsiteY224" fmla="*/ 232131 h 856415"/>
                <a:gd name="connsiteX225" fmla="*/ 907256 w 1819275"/>
                <a:gd name="connsiteY225" fmla="*/ 224987 h 856415"/>
                <a:gd name="connsiteX226" fmla="*/ 907256 w 1819275"/>
                <a:gd name="connsiteY226" fmla="*/ 203556 h 856415"/>
                <a:gd name="connsiteX227" fmla="*/ 904875 w 1819275"/>
                <a:gd name="connsiteY227" fmla="*/ 191650 h 856415"/>
                <a:gd name="connsiteX228" fmla="*/ 897731 w 1819275"/>
                <a:gd name="connsiteY228" fmla="*/ 189268 h 856415"/>
                <a:gd name="connsiteX229" fmla="*/ 876300 w 1819275"/>
                <a:gd name="connsiteY229" fmla="*/ 198793 h 856415"/>
                <a:gd name="connsiteX230" fmla="*/ 871537 w 1819275"/>
                <a:gd name="connsiteY230" fmla="*/ 205937 h 856415"/>
                <a:gd name="connsiteX231" fmla="*/ 857250 w 1819275"/>
                <a:gd name="connsiteY231" fmla="*/ 213081 h 856415"/>
                <a:gd name="connsiteX232" fmla="*/ 826293 w 1819275"/>
                <a:gd name="connsiteY232" fmla="*/ 210700 h 856415"/>
                <a:gd name="connsiteX233" fmla="*/ 802481 w 1819275"/>
                <a:gd name="connsiteY233" fmla="*/ 205937 h 856415"/>
                <a:gd name="connsiteX234" fmla="*/ 795337 w 1819275"/>
                <a:gd name="connsiteY234" fmla="*/ 201175 h 856415"/>
                <a:gd name="connsiteX235" fmla="*/ 790575 w 1819275"/>
                <a:gd name="connsiteY235" fmla="*/ 186887 h 856415"/>
                <a:gd name="connsiteX236" fmla="*/ 778668 w 1819275"/>
                <a:gd name="connsiteY236" fmla="*/ 129737 h 856415"/>
                <a:gd name="connsiteX237" fmla="*/ 769143 w 1819275"/>
                <a:gd name="connsiteY237" fmla="*/ 132118 h 856415"/>
                <a:gd name="connsiteX238" fmla="*/ 764381 w 1819275"/>
                <a:gd name="connsiteY238" fmla="*/ 146406 h 856415"/>
                <a:gd name="connsiteX239" fmla="*/ 759618 w 1819275"/>
                <a:gd name="connsiteY239" fmla="*/ 189268 h 856415"/>
                <a:gd name="connsiteX240" fmla="*/ 757237 w 1819275"/>
                <a:gd name="connsiteY240" fmla="*/ 215462 h 856415"/>
                <a:gd name="connsiteX241" fmla="*/ 740568 w 1819275"/>
                <a:gd name="connsiteY241" fmla="*/ 213081 h 856415"/>
                <a:gd name="connsiteX242" fmla="*/ 721518 w 1819275"/>
                <a:gd name="connsiteY242" fmla="*/ 208318 h 856415"/>
                <a:gd name="connsiteX243" fmla="*/ 719137 w 1819275"/>
                <a:gd name="connsiteY243" fmla="*/ 198793 h 856415"/>
                <a:gd name="connsiteX244" fmla="*/ 731043 w 1819275"/>
                <a:gd name="connsiteY244" fmla="*/ 177362 h 856415"/>
                <a:gd name="connsiteX245" fmla="*/ 738187 w 1819275"/>
                <a:gd name="connsiteY245" fmla="*/ 172600 h 856415"/>
                <a:gd name="connsiteX246" fmla="*/ 733425 w 1819275"/>
                <a:gd name="connsiteY246" fmla="*/ 144025 h 856415"/>
                <a:gd name="connsiteX247" fmla="*/ 728662 w 1819275"/>
                <a:gd name="connsiteY247" fmla="*/ 136881 h 856415"/>
                <a:gd name="connsiteX248" fmla="*/ 697706 w 1819275"/>
                <a:gd name="connsiteY248" fmla="*/ 141643 h 856415"/>
                <a:gd name="connsiteX249" fmla="*/ 690562 w 1819275"/>
                <a:gd name="connsiteY249" fmla="*/ 144025 h 856415"/>
                <a:gd name="connsiteX250" fmla="*/ 685800 w 1819275"/>
                <a:gd name="connsiteY250" fmla="*/ 160693 h 856415"/>
                <a:gd name="connsiteX251" fmla="*/ 683418 w 1819275"/>
                <a:gd name="connsiteY251" fmla="*/ 174981 h 856415"/>
                <a:gd name="connsiteX252" fmla="*/ 676275 w 1819275"/>
                <a:gd name="connsiteY252" fmla="*/ 191650 h 856415"/>
                <a:gd name="connsiteX253" fmla="*/ 671512 w 1819275"/>
                <a:gd name="connsiteY253" fmla="*/ 198793 h 856415"/>
                <a:gd name="connsiteX254" fmla="*/ 657225 w 1819275"/>
                <a:gd name="connsiteY254" fmla="*/ 208318 h 856415"/>
                <a:gd name="connsiteX255" fmla="*/ 642937 w 1819275"/>
                <a:gd name="connsiteY255" fmla="*/ 213081 h 856415"/>
                <a:gd name="connsiteX256" fmla="*/ 607218 w 1819275"/>
                <a:gd name="connsiteY256" fmla="*/ 208318 h 856415"/>
                <a:gd name="connsiteX257" fmla="*/ 588168 w 1819275"/>
                <a:gd name="connsiteY257" fmla="*/ 198793 h 856415"/>
                <a:gd name="connsiteX258" fmla="*/ 585787 w 1819275"/>
                <a:gd name="connsiteY258" fmla="*/ 191650 h 856415"/>
                <a:gd name="connsiteX259" fmla="*/ 581025 w 1819275"/>
                <a:gd name="connsiteY259" fmla="*/ 146406 h 856415"/>
                <a:gd name="connsiteX260" fmla="*/ 576262 w 1819275"/>
                <a:gd name="connsiteY260" fmla="*/ 139262 h 856415"/>
                <a:gd name="connsiteX261" fmla="*/ 564356 w 1819275"/>
                <a:gd name="connsiteY261" fmla="*/ 141643 h 856415"/>
                <a:gd name="connsiteX262" fmla="*/ 557212 w 1819275"/>
                <a:gd name="connsiteY262" fmla="*/ 155931 h 856415"/>
                <a:gd name="connsiteX263" fmla="*/ 554831 w 1819275"/>
                <a:gd name="connsiteY263" fmla="*/ 203556 h 856415"/>
                <a:gd name="connsiteX264" fmla="*/ 550068 w 1819275"/>
                <a:gd name="connsiteY264" fmla="*/ 213081 h 856415"/>
                <a:gd name="connsiteX265" fmla="*/ 540543 w 1819275"/>
                <a:gd name="connsiteY265" fmla="*/ 215462 h 856415"/>
                <a:gd name="connsiteX266" fmla="*/ 531018 w 1819275"/>
                <a:gd name="connsiteY266" fmla="*/ 213081 h 856415"/>
                <a:gd name="connsiteX267" fmla="*/ 523875 w 1819275"/>
                <a:gd name="connsiteY267" fmla="*/ 205937 h 856415"/>
                <a:gd name="connsiteX268" fmla="*/ 516731 w 1819275"/>
                <a:gd name="connsiteY268" fmla="*/ 189268 h 856415"/>
                <a:gd name="connsiteX269" fmla="*/ 523875 w 1819275"/>
                <a:gd name="connsiteY269" fmla="*/ 167837 h 856415"/>
                <a:gd name="connsiteX270" fmla="*/ 526256 w 1819275"/>
                <a:gd name="connsiteY270" fmla="*/ 160693 h 856415"/>
                <a:gd name="connsiteX271" fmla="*/ 528637 w 1819275"/>
                <a:gd name="connsiteY271" fmla="*/ 151168 h 856415"/>
                <a:gd name="connsiteX272" fmla="*/ 531018 w 1819275"/>
                <a:gd name="connsiteY272" fmla="*/ 129737 h 856415"/>
                <a:gd name="connsiteX273" fmla="*/ 531018 w 1819275"/>
                <a:gd name="connsiteY273" fmla="*/ 101162 h 856415"/>
                <a:gd name="connsiteX274" fmla="*/ 516731 w 1819275"/>
                <a:gd name="connsiteY274" fmla="*/ 96400 h 856415"/>
                <a:gd name="connsiteX275" fmla="*/ 492918 w 1819275"/>
                <a:gd name="connsiteY275" fmla="*/ 98781 h 856415"/>
                <a:gd name="connsiteX276" fmla="*/ 490537 w 1819275"/>
                <a:gd name="connsiteY276" fmla="*/ 108306 h 856415"/>
                <a:gd name="connsiteX277" fmla="*/ 488156 w 1819275"/>
                <a:gd name="connsiteY277" fmla="*/ 122593 h 856415"/>
                <a:gd name="connsiteX278" fmla="*/ 485775 w 1819275"/>
                <a:gd name="connsiteY278" fmla="*/ 146406 h 856415"/>
                <a:gd name="connsiteX279" fmla="*/ 478631 w 1819275"/>
                <a:gd name="connsiteY279" fmla="*/ 153550 h 856415"/>
                <a:gd name="connsiteX280" fmla="*/ 473868 w 1819275"/>
                <a:gd name="connsiteY280" fmla="*/ 160693 h 856415"/>
                <a:gd name="connsiteX281" fmla="*/ 471487 w 1819275"/>
                <a:gd name="connsiteY281" fmla="*/ 186887 h 856415"/>
                <a:gd name="connsiteX282" fmla="*/ 469106 w 1819275"/>
                <a:gd name="connsiteY282" fmla="*/ 201175 h 856415"/>
                <a:gd name="connsiteX283" fmla="*/ 454818 w 1819275"/>
                <a:gd name="connsiteY283" fmla="*/ 210700 h 856415"/>
                <a:gd name="connsiteX284" fmla="*/ 433387 w 1819275"/>
                <a:gd name="connsiteY284" fmla="*/ 201175 h 856415"/>
                <a:gd name="connsiteX285" fmla="*/ 431006 w 1819275"/>
                <a:gd name="connsiteY285" fmla="*/ 194031 h 856415"/>
                <a:gd name="connsiteX286" fmla="*/ 433387 w 1819275"/>
                <a:gd name="connsiteY286" fmla="*/ 186887 h 856415"/>
                <a:gd name="connsiteX287" fmla="*/ 440531 w 1819275"/>
                <a:gd name="connsiteY287" fmla="*/ 184506 h 856415"/>
                <a:gd name="connsiteX288" fmla="*/ 447675 w 1819275"/>
                <a:gd name="connsiteY288" fmla="*/ 177362 h 856415"/>
                <a:gd name="connsiteX289" fmla="*/ 438150 w 1819275"/>
                <a:gd name="connsiteY289" fmla="*/ 158312 h 856415"/>
                <a:gd name="connsiteX290" fmla="*/ 428625 w 1819275"/>
                <a:gd name="connsiteY290" fmla="*/ 160693 h 856415"/>
                <a:gd name="connsiteX291" fmla="*/ 421481 w 1819275"/>
                <a:gd name="connsiteY291" fmla="*/ 167837 h 856415"/>
                <a:gd name="connsiteX292" fmla="*/ 416718 w 1819275"/>
                <a:gd name="connsiteY292" fmla="*/ 184506 h 856415"/>
                <a:gd name="connsiteX293" fmla="*/ 414337 w 1819275"/>
                <a:gd name="connsiteY293" fmla="*/ 191650 h 856415"/>
                <a:gd name="connsiteX294" fmla="*/ 407193 w 1819275"/>
                <a:gd name="connsiteY294" fmla="*/ 194031 h 856415"/>
                <a:gd name="connsiteX295" fmla="*/ 402431 w 1819275"/>
                <a:gd name="connsiteY295" fmla="*/ 186887 h 856415"/>
                <a:gd name="connsiteX296" fmla="*/ 397668 w 1819275"/>
                <a:gd name="connsiteY296" fmla="*/ 170218 h 856415"/>
                <a:gd name="connsiteX297" fmla="*/ 392906 w 1819275"/>
                <a:gd name="connsiteY297" fmla="*/ 163075 h 856415"/>
                <a:gd name="connsiteX298" fmla="*/ 390525 w 1819275"/>
                <a:gd name="connsiteY298" fmla="*/ 155931 h 856415"/>
                <a:gd name="connsiteX299" fmla="*/ 378618 w 1819275"/>
                <a:gd name="connsiteY299" fmla="*/ 141643 h 856415"/>
                <a:gd name="connsiteX300" fmla="*/ 373856 w 1819275"/>
                <a:gd name="connsiteY300" fmla="*/ 132118 h 856415"/>
                <a:gd name="connsiteX301" fmla="*/ 366712 w 1819275"/>
                <a:gd name="connsiteY301" fmla="*/ 127356 h 856415"/>
                <a:gd name="connsiteX302" fmla="*/ 364331 w 1819275"/>
                <a:gd name="connsiteY302" fmla="*/ 120212 h 856415"/>
                <a:gd name="connsiteX303" fmla="*/ 350043 w 1819275"/>
                <a:gd name="connsiteY303" fmla="*/ 115450 h 856415"/>
                <a:gd name="connsiteX304" fmla="*/ 340518 w 1819275"/>
                <a:gd name="connsiteY304" fmla="*/ 110687 h 856415"/>
                <a:gd name="connsiteX305" fmla="*/ 335756 w 1819275"/>
                <a:gd name="connsiteY305" fmla="*/ 103543 h 856415"/>
                <a:gd name="connsiteX306" fmla="*/ 328612 w 1819275"/>
                <a:gd name="connsiteY306" fmla="*/ 98781 h 856415"/>
                <a:gd name="connsiteX307" fmla="*/ 319087 w 1819275"/>
                <a:gd name="connsiteY307" fmla="*/ 84493 h 856415"/>
                <a:gd name="connsiteX308" fmla="*/ 328612 w 1819275"/>
                <a:gd name="connsiteY308" fmla="*/ 55918 h 856415"/>
                <a:gd name="connsiteX309" fmla="*/ 338137 w 1819275"/>
                <a:gd name="connsiteY309" fmla="*/ 53537 h 856415"/>
                <a:gd name="connsiteX310" fmla="*/ 338137 w 1819275"/>
                <a:gd name="connsiteY310" fmla="*/ 34487 h 856415"/>
                <a:gd name="connsiteX311" fmla="*/ 335756 w 1819275"/>
                <a:gd name="connsiteY311" fmla="*/ 27343 h 856415"/>
                <a:gd name="connsiteX312" fmla="*/ 328612 w 1819275"/>
                <a:gd name="connsiteY312" fmla="*/ 22581 h 856415"/>
                <a:gd name="connsiteX313" fmla="*/ 314325 w 1819275"/>
                <a:gd name="connsiteY313" fmla="*/ 10675 h 856415"/>
                <a:gd name="connsiteX314" fmla="*/ 302418 w 1819275"/>
                <a:gd name="connsiteY314" fmla="*/ 1150 h 856415"/>
                <a:gd name="connsiteX315" fmla="*/ 295275 w 1819275"/>
                <a:gd name="connsiteY315" fmla="*/ 5912 h 856415"/>
                <a:gd name="connsiteX316" fmla="*/ 292893 w 1819275"/>
                <a:gd name="connsiteY316" fmla="*/ 24962 h 856415"/>
                <a:gd name="connsiteX317" fmla="*/ 280987 w 1819275"/>
                <a:gd name="connsiteY317" fmla="*/ 36868 h 856415"/>
                <a:gd name="connsiteX318" fmla="*/ 266700 w 1819275"/>
                <a:gd name="connsiteY318" fmla="*/ 39250 h 856415"/>
                <a:gd name="connsiteX319" fmla="*/ 261937 w 1819275"/>
                <a:gd name="connsiteY319" fmla="*/ 113068 h 856415"/>
                <a:gd name="connsiteX320" fmla="*/ 271462 w 1819275"/>
                <a:gd name="connsiteY320" fmla="*/ 120212 h 856415"/>
                <a:gd name="connsiteX321" fmla="*/ 285750 w 1819275"/>
                <a:gd name="connsiteY321" fmla="*/ 129737 h 856415"/>
                <a:gd name="connsiteX322" fmla="*/ 292893 w 1819275"/>
                <a:gd name="connsiteY322" fmla="*/ 134500 h 856415"/>
                <a:gd name="connsiteX323" fmla="*/ 297656 w 1819275"/>
                <a:gd name="connsiteY323" fmla="*/ 141643 h 856415"/>
                <a:gd name="connsiteX324" fmla="*/ 295275 w 1819275"/>
                <a:gd name="connsiteY324" fmla="*/ 148787 h 856415"/>
                <a:gd name="connsiteX325" fmla="*/ 219075 w 1819275"/>
                <a:gd name="connsiteY325" fmla="*/ 146406 h 856415"/>
                <a:gd name="connsiteX326" fmla="*/ 207168 w 1819275"/>
                <a:gd name="connsiteY326" fmla="*/ 124975 h 856415"/>
                <a:gd name="connsiteX327" fmla="*/ 200025 w 1819275"/>
                <a:gd name="connsiteY327" fmla="*/ 122593 h 856415"/>
                <a:gd name="connsiteX328" fmla="*/ 188118 w 1819275"/>
                <a:gd name="connsiteY328" fmla="*/ 177362 h 856415"/>
                <a:gd name="connsiteX329" fmla="*/ 171450 w 1819275"/>
                <a:gd name="connsiteY329" fmla="*/ 196412 h 856415"/>
                <a:gd name="connsiteX330" fmla="*/ 157162 w 1819275"/>
                <a:gd name="connsiteY330" fmla="*/ 210700 h 856415"/>
                <a:gd name="connsiteX331" fmla="*/ 147637 w 1819275"/>
                <a:gd name="connsiteY331" fmla="*/ 208318 h 856415"/>
                <a:gd name="connsiteX332" fmla="*/ 152400 w 1819275"/>
                <a:gd name="connsiteY332" fmla="*/ 165456 h 856415"/>
                <a:gd name="connsiteX333" fmla="*/ 157162 w 1819275"/>
                <a:gd name="connsiteY333" fmla="*/ 129737 h 856415"/>
                <a:gd name="connsiteX334" fmla="*/ 154781 w 1819275"/>
                <a:gd name="connsiteY334" fmla="*/ 101162 h 856415"/>
                <a:gd name="connsiteX335" fmla="*/ 147637 w 1819275"/>
                <a:gd name="connsiteY335" fmla="*/ 103543 h 856415"/>
                <a:gd name="connsiteX336" fmla="*/ 133350 w 1819275"/>
                <a:gd name="connsiteY336" fmla="*/ 115450 h 856415"/>
                <a:gd name="connsiteX337" fmla="*/ 130968 w 1819275"/>
                <a:gd name="connsiteY337" fmla="*/ 122593 h 856415"/>
                <a:gd name="connsiteX338" fmla="*/ 121443 w 1819275"/>
                <a:gd name="connsiteY338" fmla="*/ 136881 h 856415"/>
                <a:gd name="connsiteX339" fmla="*/ 116681 w 1819275"/>
                <a:gd name="connsiteY339" fmla="*/ 144025 h 856415"/>
                <a:gd name="connsiteX340" fmla="*/ 107156 w 1819275"/>
                <a:gd name="connsiteY340" fmla="*/ 158312 h 856415"/>
                <a:gd name="connsiteX341" fmla="*/ 100012 w 1819275"/>
                <a:gd name="connsiteY341" fmla="*/ 179743 h 856415"/>
                <a:gd name="connsiteX342" fmla="*/ 97631 w 1819275"/>
                <a:gd name="connsiteY342" fmla="*/ 186887 h 856415"/>
                <a:gd name="connsiteX343" fmla="*/ 95250 w 1819275"/>
                <a:gd name="connsiteY343" fmla="*/ 194031 h 856415"/>
                <a:gd name="connsiteX344" fmla="*/ 97631 w 1819275"/>
                <a:gd name="connsiteY344" fmla="*/ 236893 h 856415"/>
                <a:gd name="connsiteX345" fmla="*/ 100012 w 1819275"/>
                <a:gd name="connsiteY345" fmla="*/ 246418 h 856415"/>
                <a:gd name="connsiteX346" fmla="*/ 102393 w 1819275"/>
                <a:gd name="connsiteY346" fmla="*/ 260706 h 856415"/>
                <a:gd name="connsiteX347" fmla="*/ 100012 w 1819275"/>
                <a:gd name="connsiteY347" fmla="*/ 274993 h 856415"/>
                <a:gd name="connsiteX348" fmla="*/ 85725 w 1819275"/>
                <a:gd name="connsiteY348" fmla="*/ 289281 h 856415"/>
                <a:gd name="connsiteX349" fmla="*/ 80962 w 1819275"/>
                <a:gd name="connsiteY349" fmla="*/ 296425 h 856415"/>
                <a:gd name="connsiteX350" fmla="*/ 76200 w 1819275"/>
                <a:gd name="connsiteY350" fmla="*/ 310712 h 856415"/>
                <a:gd name="connsiteX351" fmla="*/ 69056 w 1819275"/>
                <a:gd name="connsiteY351" fmla="*/ 327381 h 856415"/>
                <a:gd name="connsiteX352" fmla="*/ 61912 w 1819275"/>
                <a:gd name="connsiteY352" fmla="*/ 332143 h 856415"/>
                <a:gd name="connsiteX353" fmla="*/ 47625 w 1819275"/>
                <a:gd name="connsiteY353" fmla="*/ 346431 h 856415"/>
                <a:gd name="connsiteX354" fmla="*/ 40481 w 1819275"/>
                <a:gd name="connsiteY354" fmla="*/ 360718 h 856415"/>
                <a:gd name="connsiteX355" fmla="*/ 26193 w 1819275"/>
                <a:gd name="connsiteY355" fmla="*/ 370243 h 856415"/>
                <a:gd name="connsiteX356" fmla="*/ 14287 w 1819275"/>
                <a:gd name="connsiteY356" fmla="*/ 375006 h 856415"/>
                <a:gd name="connsiteX357" fmla="*/ 23812 w 1819275"/>
                <a:gd name="connsiteY357" fmla="*/ 389293 h 856415"/>
                <a:gd name="connsiteX358" fmla="*/ 28575 w 1819275"/>
                <a:gd name="connsiteY358" fmla="*/ 396437 h 856415"/>
                <a:gd name="connsiteX359" fmla="*/ 21431 w 1819275"/>
                <a:gd name="connsiteY359" fmla="*/ 403581 h 856415"/>
                <a:gd name="connsiteX360" fmla="*/ 14287 w 1819275"/>
                <a:gd name="connsiteY360" fmla="*/ 408343 h 856415"/>
                <a:gd name="connsiteX361" fmla="*/ 11906 w 1819275"/>
                <a:gd name="connsiteY361" fmla="*/ 415487 h 856415"/>
                <a:gd name="connsiteX362" fmla="*/ 4762 w 1819275"/>
                <a:gd name="connsiteY362" fmla="*/ 422631 h 856415"/>
                <a:gd name="connsiteX363" fmla="*/ 0 w 1819275"/>
                <a:gd name="connsiteY363" fmla="*/ 429775 h 856415"/>
                <a:gd name="connsiteX364" fmla="*/ 4762 w 1819275"/>
                <a:gd name="connsiteY364" fmla="*/ 463112 h 856415"/>
                <a:gd name="connsiteX365" fmla="*/ 7143 w 1819275"/>
                <a:gd name="connsiteY365" fmla="*/ 477400 h 856415"/>
                <a:gd name="connsiteX366" fmla="*/ 11906 w 1819275"/>
                <a:gd name="connsiteY366" fmla="*/ 494068 h 856415"/>
                <a:gd name="connsiteX367" fmla="*/ 19050 w 1819275"/>
                <a:gd name="connsiteY367" fmla="*/ 520262 h 856415"/>
                <a:gd name="connsiteX368" fmla="*/ 23812 w 1819275"/>
                <a:gd name="connsiteY368" fmla="*/ 534550 h 856415"/>
                <a:gd name="connsiteX369" fmla="*/ 35718 w 1819275"/>
                <a:gd name="connsiteY369" fmla="*/ 548837 h 856415"/>
                <a:gd name="connsiteX370" fmla="*/ 52387 w 1819275"/>
                <a:gd name="connsiteY370" fmla="*/ 558362 h 856415"/>
                <a:gd name="connsiteX371" fmla="*/ 59531 w 1819275"/>
                <a:gd name="connsiteY371" fmla="*/ 560743 h 856415"/>
                <a:gd name="connsiteX372" fmla="*/ 69056 w 1819275"/>
                <a:gd name="connsiteY372" fmla="*/ 565506 h 856415"/>
                <a:gd name="connsiteX373" fmla="*/ 83343 w 1819275"/>
                <a:gd name="connsiteY373" fmla="*/ 575031 h 856415"/>
                <a:gd name="connsiteX374" fmla="*/ 88106 w 1819275"/>
                <a:gd name="connsiteY374" fmla="*/ 582175 h 856415"/>
                <a:gd name="connsiteX375" fmla="*/ 97631 w 1819275"/>
                <a:gd name="connsiteY375" fmla="*/ 596462 h 856415"/>
                <a:gd name="connsiteX376" fmla="*/ 104775 w 1819275"/>
                <a:gd name="connsiteY376" fmla="*/ 598843 h 856415"/>
                <a:gd name="connsiteX377" fmla="*/ 114300 w 1819275"/>
                <a:gd name="connsiteY377" fmla="*/ 603606 h 856415"/>
                <a:gd name="connsiteX378" fmla="*/ 128587 w 1819275"/>
                <a:gd name="connsiteY378" fmla="*/ 608368 h 856415"/>
                <a:gd name="connsiteX379" fmla="*/ 135731 w 1819275"/>
                <a:gd name="connsiteY379" fmla="*/ 610750 h 856415"/>
                <a:gd name="connsiteX380" fmla="*/ 145256 w 1819275"/>
                <a:gd name="connsiteY380" fmla="*/ 615512 h 856415"/>
                <a:gd name="connsiteX381" fmla="*/ 154781 w 1819275"/>
                <a:gd name="connsiteY381" fmla="*/ 622656 h 856415"/>
                <a:gd name="connsiteX382" fmla="*/ 169068 w 1819275"/>
                <a:gd name="connsiteY382" fmla="*/ 627418 h 856415"/>
                <a:gd name="connsiteX383" fmla="*/ 173831 w 1819275"/>
                <a:gd name="connsiteY383" fmla="*/ 634562 h 856415"/>
                <a:gd name="connsiteX384" fmla="*/ 180975 w 1819275"/>
                <a:gd name="connsiteY384" fmla="*/ 636943 h 856415"/>
                <a:gd name="connsiteX385" fmla="*/ 188118 w 1819275"/>
                <a:gd name="connsiteY385" fmla="*/ 641706 h 856415"/>
                <a:gd name="connsiteX386" fmla="*/ 204787 w 1819275"/>
                <a:gd name="connsiteY386" fmla="*/ 651231 h 856415"/>
                <a:gd name="connsiteX387" fmla="*/ 216693 w 1819275"/>
                <a:gd name="connsiteY387" fmla="*/ 665518 h 856415"/>
                <a:gd name="connsiteX388" fmla="*/ 235743 w 1819275"/>
                <a:gd name="connsiteY388" fmla="*/ 672662 h 856415"/>
                <a:gd name="connsiteX389" fmla="*/ 285750 w 1819275"/>
                <a:gd name="connsiteY389" fmla="*/ 672662 h 856415"/>
                <a:gd name="connsiteX390" fmla="*/ 295275 w 1819275"/>
                <a:gd name="connsiteY390" fmla="*/ 679806 h 856415"/>
                <a:gd name="connsiteX391" fmla="*/ 302418 w 1819275"/>
                <a:gd name="connsiteY391" fmla="*/ 682187 h 856415"/>
                <a:gd name="connsiteX392" fmla="*/ 330993 w 1819275"/>
                <a:gd name="connsiteY392" fmla="*/ 686950 h 856415"/>
                <a:gd name="connsiteX393" fmla="*/ 338137 w 1819275"/>
                <a:gd name="connsiteY393" fmla="*/ 694093 h 856415"/>
                <a:gd name="connsiteX394" fmla="*/ 345281 w 1819275"/>
                <a:gd name="connsiteY394" fmla="*/ 696475 h 856415"/>
                <a:gd name="connsiteX395" fmla="*/ 350043 w 1819275"/>
                <a:gd name="connsiteY395" fmla="*/ 703618 h 856415"/>
                <a:gd name="connsiteX396" fmla="*/ 352425 w 1819275"/>
                <a:gd name="connsiteY396" fmla="*/ 713143 h 856415"/>
                <a:gd name="connsiteX397" fmla="*/ 354806 w 1819275"/>
                <a:gd name="connsiteY397" fmla="*/ 720287 h 856415"/>
                <a:gd name="connsiteX398" fmla="*/ 357187 w 1819275"/>
                <a:gd name="connsiteY398" fmla="*/ 732193 h 856415"/>
                <a:gd name="connsiteX399" fmla="*/ 366712 w 1819275"/>
                <a:gd name="connsiteY399" fmla="*/ 744100 h 856415"/>
                <a:gd name="connsiteX400" fmla="*/ 421481 w 1819275"/>
                <a:gd name="connsiteY400" fmla="*/ 746481 h 856415"/>
                <a:gd name="connsiteX401" fmla="*/ 438150 w 1819275"/>
                <a:gd name="connsiteY401" fmla="*/ 753625 h 856415"/>
                <a:gd name="connsiteX402" fmla="*/ 447675 w 1819275"/>
                <a:gd name="connsiteY402" fmla="*/ 765531 h 856415"/>
                <a:gd name="connsiteX403" fmla="*/ 459581 w 1819275"/>
                <a:gd name="connsiteY403" fmla="*/ 779818 h 856415"/>
                <a:gd name="connsiteX404" fmla="*/ 469106 w 1819275"/>
                <a:gd name="connsiteY404" fmla="*/ 794106 h 856415"/>
                <a:gd name="connsiteX405" fmla="*/ 473868 w 1819275"/>
                <a:gd name="connsiteY405" fmla="*/ 801250 h 856415"/>
                <a:gd name="connsiteX406" fmla="*/ 476250 w 1819275"/>
                <a:gd name="connsiteY406" fmla="*/ 825062 h 856415"/>
                <a:gd name="connsiteX407" fmla="*/ 481012 w 1819275"/>
                <a:gd name="connsiteY407" fmla="*/ 832206 h 856415"/>
                <a:gd name="connsiteX408" fmla="*/ 488156 w 1819275"/>
                <a:gd name="connsiteY408" fmla="*/ 846493 h 856415"/>
                <a:gd name="connsiteX409" fmla="*/ 497681 w 1819275"/>
                <a:gd name="connsiteY409" fmla="*/ 856018 h 856415"/>
                <a:gd name="connsiteX410" fmla="*/ 492918 w 1819275"/>
                <a:gd name="connsiteY410" fmla="*/ 856018 h 856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</a:cxnLst>
              <a:rect l="l" t="t" r="r" b="b"/>
              <a:pathLst>
                <a:path w="1819275" h="856415">
                  <a:moveTo>
                    <a:pt x="492918" y="856018"/>
                  </a:moveTo>
                  <a:cubicBezTo>
                    <a:pt x="497284" y="855621"/>
                    <a:pt x="513605" y="854921"/>
                    <a:pt x="523875" y="853637"/>
                  </a:cubicBezTo>
                  <a:cubicBezTo>
                    <a:pt x="535361" y="852201"/>
                    <a:pt x="531409" y="846364"/>
                    <a:pt x="545306" y="841731"/>
                  </a:cubicBezTo>
                  <a:cubicBezTo>
                    <a:pt x="550068" y="840143"/>
                    <a:pt x="554670" y="837952"/>
                    <a:pt x="559593" y="836968"/>
                  </a:cubicBezTo>
                  <a:cubicBezTo>
                    <a:pt x="573961" y="834095"/>
                    <a:pt x="567660" y="835867"/>
                    <a:pt x="578643" y="832206"/>
                  </a:cubicBezTo>
                  <a:cubicBezTo>
                    <a:pt x="581024" y="830618"/>
                    <a:pt x="583227" y="828723"/>
                    <a:pt x="585787" y="827443"/>
                  </a:cubicBezTo>
                  <a:cubicBezTo>
                    <a:pt x="605513" y="817580"/>
                    <a:pt x="579592" y="833953"/>
                    <a:pt x="600075" y="820300"/>
                  </a:cubicBezTo>
                  <a:cubicBezTo>
                    <a:pt x="606839" y="800006"/>
                    <a:pt x="597067" y="831203"/>
                    <a:pt x="604837" y="784581"/>
                  </a:cubicBezTo>
                  <a:cubicBezTo>
                    <a:pt x="605662" y="779629"/>
                    <a:pt x="605423" y="773078"/>
                    <a:pt x="609600" y="770293"/>
                  </a:cubicBezTo>
                  <a:cubicBezTo>
                    <a:pt x="611981" y="768706"/>
                    <a:pt x="614258" y="766951"/>
                    <a:pt x="616743" y="765531"/>
                  </a:cubicBezTo>
                  <a:cubicBezTo>
                    <a:pt x="619825" y="763770"/>
                    <a:pt x="623314" y="762737"/>
                    <a:pt x="626268" y="760768"/>
                  </a:cubicBezTo>
                  <a:cubicBezTo>
                    <a:pt x="632872" y="756365"/>
                    <a:pt x="638968" y="751243"/>
                    <a:pt x="645318" y="746481"/>
                  </a:cubicBezTo>
                  <a:cubicBezTo>
                    <a:pt x="648493" y="744100"/>
                    <a:pt x="651541" y="741538"/>
                    <a:pt x="654843" y="739337"/>
                  </a:cubicBezTo>
                  <a:cubicBezTo>
                    <a:pt x="657224" y="737750"/>
                    <a:pt x="659788" y="736407"/>
                    <a:pt x="661987" y="734575"/>
                  </a:cubicBezTo>
                  <a:cubicBezTo>
                    <a:pt x="668863" y="728845"/>
                    <a:pt x="669211" y="727312"/>
                    <a:pt x="673893" y="720287"/>
                  </a:cubicBezTo>
                  <a:cubicBezTo>
                    <a:pt x="672434" y="702775"/>
                    <a:pt x="676466" y="695499"/>
                    <a:pt x="666750" y="684568"/>
                  </a:cubicBezTo>
                  <a:cubicBezTo>
                    <a:pt x="662275" y="679534"/>
                    <a:pt x="652462" y="670281"/>
                    <a:pt x="652462" y="670281"/>
                  </a:cubicBezTo>
                  <a:cubicBezTo>
                    <a:pt x="638961" y="671968"/>
                    <a:pt x="635122" y="671672"/>
                    <a:pt x="623887" y="675043"/>
                  </a:cubicBezTo>
                  <a:cubicBezTo>
                    <a:pt x="619079" y="676486"/>
                    <a:pt x="614362" y="678218"/>
                    <a:pt x="609600" y="679806"/>
                  </a:cubicBezTo>
                  <a:lnTo>
                    <a:pt x="602456" y="682187"/>
                  </a:lnTo>
                  <a:cubicBezTo>
                    <a:pt x="596900" y="681393"/>
                    <a:pt x="591309" y="680810"/>
                    <a:pt x="585787" y="679806"/>
                  </a:cubicBezTo>
                  <a:cubicBezTo>
                    <a:pt x="579204" y="678609"/>
                    <a:pt x="575242" y="677085"/>
                    <a:pt x="569118" y="675043"/>
                  </a:cubicBezTo>
                  <a:cubicBezTo>
                    <a:pt x="548250" y="654175"/>
                    <a:pt x="573789" y="680647"/>
                    <a:pt x="557212" y="660756"/>
                  </a:cubicBezTo>
                  <a:cubicBezTo>
                    <a:pt x="555056" y="658169"/>
                    <a:pt x="552449" y="655993"/>
                    <a:pt x="550068" y="653612"/>
                  </a:cubicBezTo>
                  <a:cubicBezTo>
                    <a:pt x="550862" y="648056"/>
                    <a:pt x="550837" y="642319"/>
                    <a:pt x="552450" y="636943"/>
                  </a:cubicBezTo>
                  <a:cubicBezTo>
                    <a:pt x="553548" y="633282"/>
                    <a:pt x="561699" y="624427"/>
                    <a:pt x="564356" y="622656"/>
                  </a:cubicBezTo>
                  <a:cubicBezTo>
                    <a:pt x="566445" y="621264"/>
                    <a:pt x="569119" y="621069"/>
                    <a:pt x="571500" y="620275"/>
                  </a:cubicBezTo>
                  <a:cubicBezTo>
                    <a:pt x="573881" y="618687"/>
                    <a:pt x="576013" y="616639"/>
                    <a:pt x="578643" y="615512"/>
                  </a:cubicBezTo>
                  <a:cubicBezTo>
                    <a:pt x="581651" y="614223"/>
                    <a:pt x="585326" y="614755"/>
                    <a:pt x="588168" y="613131"/>
                  </a:cubicBezTo>
                  <a:cubicBezTo>
                    <a:pt x="591092" y="611460"/>
                    <a:pt x="592725" y="608143"/>
                    <a:pt x="595312" y="605987"/>
                  </a:cubicBezTo>
                  <a:cubicBezTo>
                    <a:pt x="605545" y="597460"/>
                    <a:pt x="598863" y="604212"/>
                    <a:pt x="609600" y="598843"/>
                  </a:cubicBezTo>
                  <a:cubicBezTo>
                    <a:pt x="616231" y="595528"/>
                    <a:pt x="618620" y="592204"/>
                    <a:pt x="623887" y="586937"/>
                  </a:cubicBezTo>
                  <a:cubicBezTo>
                    <a:pt x="629596" y="569808"/>
                    <a:pt x="623887" y="591199"/>
                    <a:pt x="623887" y="570268"/>
                  </a:cubicBezTo>
                  <a:cubicBezTo>
                    <a:pt x="623887" y="432836"/>
                    <a:pt x="583473" y="448800"/>
                    <a:pt x="633412" y="432156"/>
                  </a:cubicBezTo>
                  <a:cubicBezTo>
                    <a:pt x="643268" y="433564"/>
                    <a:pt x="648915" y="433356"/>
                    <a:pt x="657225" y="436918"/>
                  </a:cubicBezTo>
                  <a:cubicBezTo>
                    <a:pt x="663275" y="439511"/>
                    <a:pt x="667426" y="442886"/>
                    <a:pt x="673893" y="444062"/>
                  </a:cubicBezTo>
                  <a:cubicBezTo>
                    <a:pt x="680189" y="445207"/>
                    <a:pt x="686593" y="445649"/>
                    <a:pt x="692943" y="446443"/>
                  </a:cubicBezTo>
                  <a:lnTo>
                    <a:pt x="707231" y="451206"/>
                  </a:lnTo>
                  <a:cubicBezTo>
                    <a:pt x="709612" y="452000"/>
                    <a:pt x="711940" y="452978"/>
                    <a:pt x="714375" y="453587"/>
                  </a:cubicBezTo>
                  <a:lnTo>
                    <a:pt x="723900" y="455968"/>
                  </a:lnTo>
                  <a:cubicBezTo>
                    <a:pt x="729164" y="461233"/>
                    <a:pt x="732492" y="463627"/>
                    <a:pt x="735806" y="470256"/>
                  </a:cubicBezTo>
                  <a:cubicBezTo>
                    <a:pt x="736929" y="472501"/>
                    <a:pt x="736412" y="475625"/>
                    <a:pt x="738187" y="477400"/>
                  </a:cubicBezTo>
                  <a:cubicBezTo>
                    <a:pt x="749772" y="488985"/>
                    <a:pt x="754038" y="487148"/>
                    <a:pt x="769143" y="489306"/>
                  </a:cubicBezTo>
                  <a:cubicBezTo>
                    <a:pt x="773906" y="490893"/>
                    <a:pt x="779415" y="491056"/>
                    <a:pt x="783431" y="494068"/>
                  </a:cubicBezTo>
                  <a:cubicBezTo>
                    <a:pt x="804489" y="509862"/>
                    <a:pt x="794951" y="505846"/>
                    <a:pt x="809625" y="510737"/>
                  </a:cubicBezTo>
                  <a:cubicBezTo>
                    <a:pt x="828493" y="504448"/>
                    <a:pt x="818960" y="505150"/>
                    <a:pt x="838200" y="508356"/>
                  </a:cubicBezTo>
                  <a:cubicBezTo>
                    <a:pt x="853965" y="513611"/>
                    <a:pt x="837138" y="505705"/>
                    <a:pt x="847725" y="522643"/>
                  </a:cubicBezTo>
                  <a:cubicBezTo>
                    <a:pt x="849829" y="526008"/>
                    <a:pt x="854075" y="527406"/>
                    <a:pt x="857250" y="529787"/>
                  </a:cubicBezTo>
                  <a:cubicBezTo>
                    <a:pt x="862012" y="528993"/>
                    <a:pt x="867904" y="530585"/>
                    <a:pt x="871537" y="527406"/>
                  </a:cubicBezTo>
                  <a:cubicBezTo>
                    <a:pt x="875315" y="524100"/>
                    <a:pt x="876300" y="513118"/>
                    <a:pt x="876300" y="513118"/>
                  </a:cubicBezTo>
                  <a:cubicBezTo>
                    <a:pt x="875506" y="492481"/>
                    <a:pt x="875733" y="471779"/>
                    <a:pt x="873918" y="451206"/>
                  </a:cubicBezTo>
                  <a:cubicBezTo>
                    <a:pt x="873343" y="444686"/>
                    <a:pt x="870743" y="438506"/>
                    <a:pt x="869156" y="432156"/>
                  </a:cubicBezTo>
                  <a:lnTo>
                    <a:pt x="866775" y="422631"/>
                  </a:lnTo>
                  <a:cubicBezTo>
                    <a:pt x="865981" y="419456"/>
                    <a:pt x="866208" y="415829"/>
                    <a:pt x="864393" y="413106"/>
                  </a:cubicBezTo>
                  <a:cubicBezTo>
                    <a:pt x="858239" y="403873"/>
                    <a:pt x="860536" y="408677"/>
                    <a:pt x="857250" y="398818"/>
                  </a:cubicBezTo>
                  <a:cubicBezTo>
                    <a:pt x="858044" y="385324"/>
                    <a:pt x="858350" y="371793"/>
                    <a:pt x="859631" y="358337"/>
                  </a:cubicBezTo>
                  <a:cubicBezTo>
                    <a:pt x="859941" y="355079"/>
                    <a:pt x="860723" y="351820"/>
                    <a:pt x="862012" y="348812"/>
                  </a:cubicBezTo>
                  <a:cubicBezTo>
                    <a:pt x="864609" y="342751"/>
                    <a:pt x="868146" y="339792"/>
                    <a:pt x="873918" y="336906"/>
                  </a:cubicBezTo>
                  <a:cubicBezTo>
                    <a:pt x="876163" y="335784"/>
                    <a:pt x="878755" y="335514"/>
                    <a:pt x="881062" y="334525"/>
                  </a:cubicBezTo>
                  <a:cubicBezTo>
                    <a:pt x="905604" y="324007"/>
                    <a:pt x="872332" y="335848"/>
                    <a:pt x="904875" y="325000"/>
                  </a:cubicBezTo>
                  <a:cubicBezTo>
                    <a:pt x="907256" y="324206"/>
                    <a:pt x="909518" y="322845"/>
                    <a:pt x="912018" y="322618"/>
                  </a:cubicBezTo>
                  <a:lnTo>
                    <a:pt x="938212" y="320237"/>
                  </a:lnTo>
                  <a:cubicBezTo>
                    <a:pt x="941387" y="319443"/>
                    <a:pt x="944528" y="318498"/>
                    <a:pt x="947737" y="317856"/>
                  </a:cubicBezTo>
                  <a:cubicBezTo>
                    <a:pt x="961931" y="315018"/>
                    <a:pt x="965725" y="315286"/>
                    <a:pt x="981075" y="313093"/>
                  </a:cubicBezTo>
                  <a:cubicBezTo>
                    <a:pt x="985854" y="312410"/>
                    <a:pt x="990590" y="311446"/>
                    <a:pt x="995362" y="310712"/>
                  </a:cubicBezTo>
                  <a:cubicBezTo>
                    <a:pt x="1000909" y="309859"/>
                    <a:pt x="1006495" y="309254"/>
                    <a:pt x="1012031" y="308331"/>
                  </a:cubicBezTo>
                  <a:cubicBezTo>
                    <a:pt x="1016023" y="307666"/>
                    <a:pt x="1019898" y="306211"/>
                    <a:pt x="1023937" y="305950"/>
                  </a:cubicBezTo>
                  <a:cubicBezTo>
                    <a:pt x="1044547" y="304620"/>
                    <a:pt x="1065212" y="304362"/>
                    <a:pt x="1085850" y="303568"/>
                  </a:cubicBezTo>
                  <a:cubicBezTo>
                    <a:pt x="1091406" y="302774"/>
                    <a:pt x="1097103" y="302664"/>
                    <a:pt x="1102518" y="301187"/>
                  </a:cubicBezTo>
                  <a:cubicBezTo>
                    <a:pt x="1105943" y="300253"/>
                    <a:pt x="1108529" y="296927"/>
                    <a:pt x="1112043" y="296425"/>
                  </a:cubicBezTo>
                  <a:cubicBezTo>
                    <a:pt x="1114528" y="296070"/>
                    <a:pt x="1116880" y="297817"/>
                    <a:pt x="1119187" y="298806"/>
                  </a:cubicBezTo>
                  <a:cubicBezTo>
                    <a:pt x="1125764" y="301624"/>
                    <a:pt x="1138768" y="308861"/>
                    <a:pt x="1143000" y="313093"/>
                  </a:cubicBezTo>
                  <a:cubicBezTo>
                    <a:pt x="1147486" y="317579"/>
                    <a:pt x="1151319" y="322348"/>
                    <a:pt x="1157287" y="325000"/>
                  </a:cubicBezTo>
                  <a:cubicBezTo>
                    <a:pt x="1161875" y="327039"/>
                    <a:pt x="1171575" y="329762"/>
                    <a:pt x="1171575" y="329762"/>
                  </a:cubicBezTo>
                  <a:cubicBezTo>
                    <a:pt x="1173956" y="331350"/>
                    <a:pt x="1176158" y="333245"/>
                    <a:pt x="1178718" y="334525"/>
                  </a:cubicBezTo>
                  <a:cubicBezTo>
                    <a:pt x="1180963" y="335648"/>
                    <a:pt x="1183668" y="335687"/>
                    <a:pt x="1185862" y="336906"/>
                  </a:cubicBezTo>
                  <a:cubicBezTo>
                    <a:pt x="1185864" y="336907"/>
                    <a:pt x="1203720" y="348811"/>
                    <a:pt x="1207293" y="351193"/>
                  </a:cubicBezTo>
                  <a:cubicBezTo>
                    <a:pt x="1209674" y="352781"/>
                    <a:pt x="1212413" y="353932"/>
                    <a:pt x="1214437" y="355956"/>
                  </a:cubicBezTo>
                  <a:cubicBezTo>
                    <a:pt x="1219200" y="360718"/>
                    <a:pt x="1224989" y="364639"/>
                    <a:pt x="1228725" y="370243"/>
                  </a:cubicBezTo>
                  <a:cubicBezTo>
                    <a:pt x="1230312" y="372624"/>
                    <a:pt x="1231252" y="375599"/>
                    <a:pt x="1233487" y="377387"/>
                  </a:cubicBezTo>
                  <a:cubicBezTo>
                    <a:pt x="1235447" y="378955"/>
                    <a:pt x="1238250" y="378974"/>
                    <a:pt x="1240631" y="379768"/>
                  </a:cubicBezTo>
                  <a:cubicBezTo>
                    <a:pt x="1242218" y="382149"/>
                    <a:pt x="1243012" y="385324"/>
                    <a:pt x="1245393" y="386912"/>
                  </a:cubicBezTo>
                  <a:cubicBezTo>
                    <a:pt x="1248116" y="388727"/>
                    <a:pt x="1251910" y="388004"/>
                    <a:pt x="1254918" y="389293"/>
                  </a:cubicBezTo>
                  <a:cubicBezTo>
                    <a:pt x="1257549" y="390420"/>
                    <a:pt x="1259502" y="392776"/>
                    <a:pt x="1262062" y="394056"/>
                  </a:cubicBezTo>
                  <a:cubicBezTo>
                    <a:pt x="1272432" y="399241"/>
                    <a:pt x="1267161" y="392936"/>
                    <a:pt x="1278731" y="401200"/>
                  </a:cubicBezTo>
                  <a:cubicBezTo>
                    <a:pt x="1287307" y="407325"/>
                    <a:pt x="1283576" y="409059"/>
                    <a:pt x="1293018" y="413106"/>
                  </a:cubicBezTo>
                  <a:cubicBezTo>
                    <a:pt x="1296026" y="414395"/>
                    <a:pt x="1299368" y="414693"/>
                    <a:pt x="1302543" y="415487"/>
                  </a:cubicBezTo>
                  <a:cubicBezTo>
                    <a:pt x="1304924" y="417075"/>
                    <a:pt x="1307072" y="419088"/>
                    <a:pt x="1309687" y="420250"/>
                  </a:cubicBezTo>
                  <a:cubicBezTo>
                    <a:pt x="1314275" y="422289"/>
                    <a:pt x="1319212" y="423425"/>
                    <a:pt x="1323975" y="425012"/>
                  </a:cubicBezTo>
                  <a:cubicBezTo>
                    <a:pt x="1326356" y="425806"/>
                    <a:pt x="1328642" y="426980"/>
                    <a:pt x="1331118" y="427393"/>
                  </a:cubicBezTo>
                  <a:lnTo>
                    <a:pt x="1345406" y="429775"/>
                  </a:lnTo>
                  <a:cubicBezTo>
                    <a:pt x="1350953" y="430629"/>
                    <a:pt x="1356553" y="431152"/>
                    <a:pt x="1362075" y="432156"/>
                  </a:cubicBezTo>
                  <a:cubicBezTo>
                    <a:pt x="1365295" y="432741"/>
                    <a:pt x="1368425" y="433743"/>
                    <a:pt x="1371600" y="434537"/>
                  </a:cubicBezTo>
                  <a:cubicBezTo>
                    <a:pt x="1378776" y="439322"/>
                    <a:pt x="1379806" y="440436"/>
                    <a:pt x="1388268" y="444062"/>
                  </a:cubicBezTo>
                  <a:cubicBezTo>
                    <a:pt x="1390575" y="445051"/>
                    <a:pt x="1393105" y="445454"/>
                    <a:pt x="1395412" y="446443"/>
                  </a:cubicBezTo>
                  <a:cubicBezTo>
                    <a:pt x="1398675" y="447841"/>
                    <a:pt x="1401641" y="449888"/>
                    <a:pt x="1404937" y="451206"/>
                  </a:cubicBezTo>
                  <a:cubicBezTo>
                    <a:pt x="1409598" y="453070"/>
                    <a:pt x="1414462" y="454380"/>
                    <a:pt x="1419225" y="455968"/>
                  </a:cubicBezTo>
                  <a:lnTo>
                    <a:pt x="1426368" y="458350"/>
                  </a:lnTo>
                  <a:lnTo>
                    <a:pt x="1433512" y="460731"/>
                  </a:lnTo>
                  <a:cubicBezTo>
                    <a:pt x="1439174" y="477718"/>
                    <a:pt x="1431145" y="457181"/>
                    <a:pt x="1443037" y="475018"/>
                  </a:cubicBezTo>
                  <a:cubicBezTo>
                    <a:pt x="1444429" y="477107"/>
                    <a:pt x="1443643" y="480387"/>
                    <a:pt x="1445418" y="482162"/>
                  </a:cubicBezTo>
                  <a:cubicBezTo>
                    <a:pt x="1449465" y="486209"/>
                    <a:pt x="1454943" y="488512"/>
                    <a:pt x="1459706" y="491687"/>
                  </a:cubicBezTo>
                  <a:cubicBezTo>
                    <a:pt x="1462087" y="493275"/>
                    <a:pt x="1464135" y="495545"/>
                    <a:pt x="1466850" y="496450"/>
                  </a:cubicBezTo>
                  <a:cubicBezTo>
                    <a:pt x="1483970" y="502157"/>
                    <a:pt x="1462597" y="495235"/>
                    <a:pt x="1483518" y="501212"/>
                  </a:cubicBezTo>
                  <a:cubicBezTo>
                    <a:pt x="1507472" y="508055"/>
                    <a:pt x="1470358" y="498515"/>
                    <a:pt x="1500187" y="505975"/>
                  </a:cubicBezTo>
                  <a:lnTo>
                    <a:pt x="1514475" y="515500"/>
                  </a:lnTo>
                  <a:cubicBezTo>
                    <a:pt x="1519257" y="518688"/>
                    <a:pt x="1525651" y="523378"/>
                    <a:pt x="1531143" y="525025"/>
                  </a:cubicBezTo>
                  <a:cubicBezTo>
                    <a:pt x="1535768" y="526412"/>
                    <a:pt x="1540718" y="526359"/>
                    <a:pt x="1545431" y="527406"/>
                  </a:cubicBezTo>
                  <a:cubicBezTo>
                    <a:pt x="1547881" y="527950"/>
                    <a:pt x="1550140" y="529178"/>
                    <a:pt x="1552575" y="529787"/>
                  </a:cubicBezTo>
                  <a:cubicBezTo>
                    <a:pt x="1556501" y="530769"/>
                    <a:pt x="1560512" y="531374"/>
                    <a:pt x="1564481" y="532168"/>
                  </a:cubicBezTo>
                  <a:cubicBezTo>
                    <a:pt x="1577975" y="531374"/>
                    <a:pt x="1591595" y="531792"/>
                    <a:pt x="1604962" y="529787"/>
                  </a:cubicBezTo>
                  <a:cubicBezTo>
                    <a:pt x="1607792" y="529363"/>
                    <a:pt x="1609621" y="526445"/>
                    <a:pt x="1612106" y="525025"/>
                  </a:cubicBezTo>
                  <a:cubicBezTo>
                    <a:pt x="1615188" y="523264"/>
                    <a:pt x="1618621" y="522143"/>
                    <a:pt x="1621631" y="520262"/>
                  </a:cubicBezTo>
                  <a:cubicBezTo>
                    <a:pt x="1624996" y="518158"/>
                    <a:pt x="1627710" y="515087"/>
                    <a:pt x="1631156" y="513118"/>
                  </a:cubicBezTo>
                  <a:cubicBezTo>
                    <a:pt x="1633335" y="511873"/>
                    <a:pt x="1635993" y="511726"/>
                    <a:pt x="1638300" y="510737"/>
                  </a:cubicBezTo>
                  <a:cubicBezTo>
                    <a:pt x="1641563" y="509339"/>
                    <a:pt x="1644562" y="507373"/>
                    <a:pt x="1647825" y="505975"/>
                  </a:cubicBezTo>
                  <a:cubicBezTo>
                    <a:pt x="1650132" y="504986"/>
                    <a:pt x="1652723" y="504716"/>
                    <a:pt x="1654968" y="503593"/>
                  </a:cubicBezTo>
                  <a:cubicBezTo>
                    <a:pt x="1657528" y="502313"/>
                    <a:pt x="1659481" y="499958"/>
                    <a:pt x="1662112" y="498831"/>
                  </a:cubicBezTo>
                  <a:cubicBezTo>
                    <a:pt x="1665120" y="497542"/>
                    <a:pt x="1668490" y="497349"/>
                    <a:pt x="1671637" y="496450"/>
                  </a:cubicBezTo>
                  <a:cubicBezTo>
                    <a:pt x="1674051" y="495760"/>
                    <a:pt x="1676400" y="494862"/>
                    <a:pt x="1678781" y="494068"/>
                  </a:cubicBezTo>
                  <a:cubicBezTo>
                    <a:pt x="1681162" y="491687"/>
                    <a:pt x="1683338" y="489081"/>
                    <a:pt x="1685925" y="486925"/>
                  </a:cubicBezTo>
                  <a:cubicBezTo>
                    <a:pt x="1688123" y="485093"/>
                    <a:pt x="1690739" y="483826"/>
                    <a:pt x="1693068" y="482162"/>
                  </a:cubicBezTo>
                  <a:cubicBezTo>
                    <a:pt x="1713699" y="467424"/>
                    <a:pt x="1692933" y="481457"/>
                    <a:pt x="1709737" y="470256"/>
                  </a:cubicBezTo>
                  <a:cubicBezTo>
                    <a:pt x="1711436" y="465159"/>
                    <a:pt x="1712535" y="459771"/>
                    <a:pt x="1716881" y="455968"/>
                  </a:cubicBezTo>
                  <a:cubicBezTo>
                    <a:pt x="1722300" y="451226"/>
                    <a:pt x="1733380" y="444815"/>
                    <a:pt x="1740693" y="441681"/>
                  </a:cubicBezTo>
                  <a:cubicBezTo>
                    <a:pt x="1743000" y="440692"/>
                    <a:pt x="1745456" y="440094"/>
                    <a:pt x="1747837" y="439300"/>
                  </a:cubicBezTo>
                  <a:cubicBezTo>
                    <a:pt x="1750218" y="437712"/>
                    <a:pt x="1752366" y="435699"/>
                    <a:pt x="1754981" y="434537"/>
                  </a:cubicBezTo>
                  <a:cubicBezTo>
                    <a:pt x="1762428" y="431227"/>
                    <a:pt x="1770881" y="429372"/>
                    <a:pt x="1778793" y="427393"/>
                  </a:cubicBezTo>
                  <a:cubicBezTo>
                    <a:pt x="1781968" y="424218"/>
                    <a:pt x="1784664" y="420478"/>
                    <a:pt x="1788318" y="417868"/>
                  </a:cubicBezTo>
                  <a:cubicBezTo>
                    <a:pt x="1790361" y="416409"/>
                    <a:pt x="1793373" y="416879"/>
                    <a:pt x="1795462" y="415487"/>
                  </a:cubicBezTo>
                  <a:cubicBezTo>
                    <a:pt x="1798264" y="413619"/>
                    <a:pt x="1800225" y="410724"/>
                    <a:pt x="1802606" y="408343"/>
                  </a:cubicBezTo>
                  <a:cubicBezTo>
                    <a:pt x="1803400" y="405962"/>
                    <a:pt x="1804987" y="403710"/>
                    <a:pt x="1804987" y="401200"/>
                  </a:cubicBezTo>
                  <a:cubicBezTo>
                    <a:pt x="1804987" y="360485"/>
                    <a:pt x="1805937" y="366900"/>
                    <a:pt x="1800225" y="344050"/>
                  </a:cubicBezTo>
                  <a:cubicBezTo>
                    <a:pt x="1801019" y="333731"/>
                    <a:pt x="1798666" y="322663"/>
                    <a:pt x="1802606" y="313093"/>
                  </a:cubicBezTo>
                  <a:cubicBezTo>
                    <a:pt x="1804785" y="307800"/>
                    <a:pt x="1816893" y="303568"/>
                    <a:pt x="1816893" y="303568"/>
                  </a:cubicBezTo>
                  <a:cubicBezTo>
                    <a:pt x="1817687" y="300393"/>
                    <a:pt x="1819275" y="297316"/>
                    <a:pt x="1819275" y="294043"/>
                  </a:cubicBezTo>
                  <a:cubicBezTo>
                    <a:pt x="1819275" y="293617"/>
                    <a:pt x="1815634" y="278778"/>
                    <a:pt x="1814512" y="277375"/>
                  </a:cubicBezTo>
                  <a:cubicBezTo>
                    <a:pt x="1812724" y="275140"/>
                    <a:pt x="1809697" y="274276"/>
                    <a:pt x="1807368" y="272612"/>
                  </a:cubicBezTo>
                  <a:cubicBezTo>
                    <a:pt x="1804139" y="270305"/>
                    <a:pt x="1801289" y="267437"/>
                    <a:pt x="1797843" y="265468"/>
                  </a:cubicBezTo>
                  <a:cubicBezTo>
                    <a:pt x="1795664" y="264223"/>
                    <a:pt x="1792894" y="264306"/>
                    <a:pt x="1790700" y="263087"/>
                  </a:cubicBezTo>
                  <a:cubicBezTo>
                    <a:pt x="1764622" y="248600"/>
                    <a:pt x="1786876" y="258911"/>
                    <a:pt x="1766887" y="246418"/>
                  </a:cubicBezTo>
                  <a:cubicBezTo>
                    <a:pt x="1763877" y="244537"/>
                    <a:pt x="1760444" y="243417"/>
                    <a:pt x="1757362" y="241656"/>
                  </a:cubicBezTo>
                  <a:cubicBezTo>
                    <a:pt x="1754877" y="240236"/>
                    <a:pt x="1752731" y="238264"/>
                    <a:pt x="1750218" y="236893"/>
                  </a:cubicBezTo>
                  <a:cubicBezTo>
                    <a:pt x="1743985" y="233493"/>
                    <a:pt x="1737075" y="231306"/>
                    <a:pt x="1731168" y="227368"/>
                  </a:cubicBezTo>
                  <a:cubicBezTo>
                    <a:pt x="1728787" y="225781"/>
                    <a:pt x="1726640" y="223768"/>
                    <a:pt x="1724025" y="222606"/>
                  </a:cubicBezTo>
                  <a:cubicBezTo>
                    <a:pt x="1719437" y="220567"/>
                    <a:pt x="1713914" y="220628"/>
                    <a:pt x="1709737" y="217843"/>
                  </a:cubicBezTo>
                  <a:cubicBezTo>
                    <a:pt x="1704513" y="214361"/>
                    <a:pt x="1699107" y="210331"/>
                    <a:pt x="1693068" y="208318"/>
                  </a:cubicBezTo>
                  <a:cubicBezTo>
                    <a:pt x="1689228" y="207038"/>
                    <a:pt x="1685131" y="206731"/>
                    <a:pt x="1681162" y="205937"/>
                  </a:cubicBezTo>
                  <a:cubicBezTo>
                    <a:pt x="1672571" y="200210"/>
                    <a:pt x="1666258" y="196677"/>
                    <a:pt x="1659731" y="186887"/>
                  </a:cubicBezTo>
                  <a:cubicBezTo>
                    <a:pt x="1648618" y="170219"/>
                    <a:pt x="1654968" y="175775"/>
                    <a:pt x="1643062" y="167837"/>
                  </a:cubicBezTo>
                  <a:cubicBezTo>
                    <a:pt x="1636037" y="157298"/>
                    <a:pt x="1641589" y="162156"/>
                    <a:pt x="1628775" y="158312"/>
                  </a:cubicBezTo>
                  <a:cubicBezTo>
                    <a:pt x="1623966" y="156870"/>
                    <a:pt x="1614487" y="153550"/>
                    <a:pt x="1614487" y="153550"/>
                  </a:cubicBezTo>
                  <a:cubicBezTo>
                    <a:pt x="1612080" y="157161"/>
                    <a:pt x="1607343" y="162909"/>
                    <a:pt x="1607343" y="167837"/>
                  </a:cubicBezTo>
                  <a:cubicBezTo>
                    <a:pt x="1607343" y="183784"/>
                    <a:pt x="1608381" y="185236"/>
                    <a:pt x="1612106" y="196412"/>
                  </a:cubicBezTo>
                  <a:cubicBezTo>
                    <a:pt x="1612900" y="205937"/>
                    <a:pt x="1614487" y="215429"/>
                    <a:pt x="1614487" y="224987"/>
                  </a:cubicBezTo>
                  <a:cubicBezTo>
                    <a:pt x="1614487" y="235896"/>
                    <a:pt x="1620004" y="264714"/>
                    <a:pt x="1607343" y="277375"/>
                  </a:cubicBezTo>
                  <a:cubicBezTo>
                    <a:pt x="1602727" y="281991"/>
                    <a:pt x="1598866" y="282582"/>
                    <a:pt x="1593056" y="284518"/>
                  </a:cubicBezTo>
                  <a:cubicBezTo>
                    <a:pt x="1590675" y="286106"/>
                    <a:pt x="1588648" y="288439"/>
                    <a:pt x="1585912" y="289281"/>
                  </a:cubicBezTo>
                  <a:cubicBezTo>
                    <a:pt x="1578175" y="291661"/>
                    <a:pt x="1562100" y="294043"/>
                    <a:pt x="1562100" y="294043"/>
                  </a:cubicBezTo>
                  <a:cubicBezTo>
                    <a:pt x="1556749" y="296719"/>
                    <a:pt x="1549115" y="298567"/>
                    <a:pt x="1547812" y="305950"/>
                  </a:cubicBezTo>
                  <a:cubicBezTo>
                    <a:pt x="1541252" y="343124"/>
                    <a:pt x="1556901" y="335464"/>
                    <a:pt x="1538287" y="341668"/>
                  </a:cubicBezTo>
                  <a:cubicBezTo>
                    <a:pt x="1535906" y="343256"/>
                    <a:pt x="1533988" y="346115"/>
                    <a:pt x="1531143" y="346431"/>
                  </a:cubicBezTo>
                  <a:cubicBezTo>
                    <a:pt x="1526345" y="346964"/>
                    <a:pt x="1521268" y="346011"/>
                    <a:pt x="1516856" y="344050"/>
                  </a:cubicBezTo>
                  <a:cubicBezTo>
                    <a:pt x="1513779" y="342682"/>
                    <a:pt x="1512299" y="339062"/>
                    <a:pt x="1509712" y="336906"/>
                  </a:cubicBezTo>
                  <a:cubicBezTo>
                    <a:pt x="1507513" y="335074"/>
                    <a:pt x="1505128" y="333423"/>
                    <a:pt x="1502568" y="332143"/>
                  </a:cubicBezTo>
                  <a:cubicBezTo>
                    <a:pt x="1500323" y="331021"/>
                    <a:pt x="1497838" y="330451"/>
                    <a:pt x="1495425" y="329762"/>
                  </a:cubicBezTo>
                  <a:cubicBezTo>
                    <a:pt x="1485479" y="326921"/>
                    <a:pt x="1482838" y="326871"/>
                    <a:pt x="1471612" y="325000"/>
                  </a:cubicBezTo>
                  <a:cubicBezTo>
                    <a:pt x="1469205" y="321390"/>
                    <a:pt x="1464468" y="315639"/>
                    <a:pt x="1464468" y="310712"/>
                  </a:cubicBezTo>
                  <a:cubicBezTo>
                    <a:pt x="1464468" y="305249"/>
                    <a:pt x="1467725" y="297930"/>
                    <a:pt x="1471612" y="294043"/>
                  </a:cubicBezTo>
                  <a:cubicBezTo>
                    <a:pt x="1473636" y="292019"/>
                    <a:pt x="1476196" y="290561"/>
                    <a:pt x="1478756" y="289281"/>
                  </a:cubicBezTo>
                  <a:cubicBezTo>
                    <a:pt x="1481001" y="288159"/>
                    <a:pt x="1483519" y="287694"/>
                    <a:pt x="1485900" y="286900"/>
                  </a:cubicBezTo>
                  <a:cubicBezTo>
                    <a:pt x="1501751" y="271047"/>
                    <a:pt x="1484681" y="285989"/>
                    <a:pt x="1500187" y="277375"/>
                  </a:cubicBezTo>
                  <a:cubicBezTo>
                    <a:pt x="1505191" y="274595"/>
                    <a:pt x="1509045" y="269661"/>
                    <a:pt x="1514475" y="267850"/>
                  </a:cubicBezTo>
                  <a:cubicBezTo>
                    <a:pt x="1532439" y="261860"/>
                    <a:pt x="1510287" y="269942"/>
                    <a:pt x="1528762" y="260706"/>
                  </a:cubicBezTo>
                  <a:cubicBezTo>
                    <a:pt x="1531007" y="259584"/>
                    <a:pt x="1533525" y="259119"/>
                    <a:pt x="1535906" y="258325"/>
                  </a:cubicBezTo>
                  <a:cubicBezTo>
                    <a:pt x="1537276" y="254216"/>
                    <a:pt x="1542473" y="242559"/>
                    <a:pt x="1535906" y="239275"/>
                  </a:cubicBezTo>
                  <a:cubicBezTo>
                    <a:pt x="1530886" y="236765"/>
                    <a:pt x="1524793" y="240862"/>
                    <a:pt x="1519237" y="241656"/>
                  </a:cubicBezTo>
                  <a:cubicBezTo>
                    <a:pt x="1508125" y="240862"/>
                    <a:pt x="1496985" y="240384"/>
                    <a:pt x="1485900" y="239275"/>
                  </a:cubicBezTo>
                  <a:cubicBezTo>
                    <a:pt x="1481096" y="238795"/>
                    <a:pt x="1476392" y="237576"/>
                    <a:pt x="1471612" y="236893"/>
                  </a:cubicBezTo>
                  <a:cubicBezTo>
                    <a:pt x="1460168" y="235258"/>
                    <a:pt x="1442369" y="233380"/>
                    <a:pt x="1431131" y="232131"/>
                  </a:cubicBezTo>
                  <a:cubicBezTo>
                    <a:pt x="1428750" y="231337"/>
                    <a:pt x="1426401" y="230440"/>
                    <a:pt x="1423987" y="229750"/>
                  </a:cubicBezTo>
                  <a:cubicBezTo>
                    <a:pt x="1416129" y="227505"/>
                    <a:pt x="1410754" y="226626"/>
                    <a:pt x="1402556" y="224987"/>
                  </a:cubicBezTo>
                  <a:cubicBezTo>
                    <a:pt x="1400175" y="223400"/>
                    <a:pt x="1397972" y="221505"/>
                    <a:pt x="1395412" y="220225"/>
                  </a:cubicBezTo>
                  <a:cubicBezTo>
                    <a:pt x="1388562" y="216800"/>
                    <a:pt x="1378191" y="216560"/>
                    <a:pt x="1371600" y="215462"/>
                  </a:cubicBezTo>
                  <a:cubicBezTo>
                    <a:pt x="1360104" y="213546"/>
                    <a:pt x="1361752" y="213767"/>
                    <a:pt x="1352550" y="210700"/>
                  </a:cubicBezTo>
                  <a:cubicBezTo>
                    <a:pt x="1341506" y="211704"/>
                    <a:pt x="1321758" y="213048"/>
                    <a:pt x="1309687" y="215462"/>
                  </a:cubicBezTo>
                  <a:cubicBezTo>
                    <a:pt x="1307226" y="215954"/>
                    <a:pt x="1304924" y="217049"/>
                    <a:pt x="1302543" y="217843"/>
                  </a:cubicBezTo>
                  <a:cubicBezTo>
                    <a:pt x="1300162" y="220224"/>
                    <a:pt x="1298058" y="222920"/>
                    <a:pt x="1295400" y="224987"/>
                  </a:cubicBezTo>
                  <a:cubicBezTo>
                    <a:pt x="1290882" y="228501"/>
                    <a:pt x="1281112" y="234512"/>
                    <a:pt x="1281112" y="234512"/>
                  </a:cubicBezTo>
                  <a:cubicBezTo>
                    <a:pt x="1277143" y="233718"/>
                    <a:pt x="1273157" y="233009"/>
                    <a:pt x="1269206" y="232131"/>
                  </a:cubicBezTo>
                  <a:cubicBezTo>
                    <a:pt x="1266011" y="231421"/>
                    <a:pt x="1262144" y="231905"/>
                    <a:pt x="1259681" y="229750"/>
                  </a:cubicBezTo>
                  <a:cubicBezTo>
                    <a:pt x="1255373" y="225981"/>
                    <a:pt x="1251966" y="220892"/>
                    <a:pt x="1250156" y="215462"/>
                  </a:cubicBezTo>
                  <a:cubicBezTo>
                    <a:pt x="1248797" y="211385"/>
                    <a:pt x="1246970" y="203814"/>
                    <a:pt x="1243012" y="201175"/>
                  </a:cubicBezTo>
                  <a:cubicBezTo>
                    <a:pt x="1240289" y="199360"/>
                    <a:pt x="1236662" y="199587"/>
                    <a:pt x="1233487" y="198793"/>
                  </a:cubicBezTo>
                  <a:cubicBezTo>
                    <a:pt x="1229518" y="199587"/>
                    <a:pt x="1225279" y="199531"/>
                    <a:pt x="1221581" y="201175"/>
                  </a:cubicBezTo>
                  <a:cubicBezTo>
                    <a:pt x="1205267" y="208426"/>
                    <a:pt x="1218545" y="210914"/>
                    <a:pt x="1197768" y="217843"/>
                  </a:cubicBezTo>
                  <a:cubicBezTo>
                    <a:pt x="1181003" y="223434"/>
                    <a:pt x="1201715" y="216153"/>
                    <a:pt x="1181100" y="224987"/>
                  </a:cubicBezTo>
                  <a:cubicBezTo>
                    <a:pt x="1176321" y="227035"/>
                    <a:pt x="1169259" y="228543"/>
                    <a:pt x="1164431" y="229750"/>
                  </a:cubicBezTo>
                  <a:cubicBezTo>
                    <a:pt x="1162050" y="228162"/>
                    <a:pt x="1158192" y="227702"/>
                    <a:pt x="1157287" y="224987"/>
                  </a:cubicBezTo>
                  <a:cubicBezTo>
                    <a:pt x="1156252" y="221882"/>
                    <a:pt x="1158379" y="218470"/>
                    <a:pt x="1159668" y="215462"/>
                  </a:cubicBezTo>
                  <a:cubicBezTo>
                    <a:pt x="1162843" y="208053"/>
                    <a:pt x="1165225" y="207789"/>
                    <a:pt x="1171575" y="203556"/>
                  </a:cubicBezTo>
                  <a:cubicBezTo>
                    <a:pt x="1173162" y="198793"/>
                    <a:pt x="1176791" y="194268"/>
                    <a:pt x="1176337" y="189268"/>
                  </a:cubicBezTo>
                  <a:cubicBezTo>
                    <a:pt x="1174466" y="168682"/>
                    <a:pt x="1175781" y="168270"/>
                    <a:pt x="1171575" y="153550"/>
                  </a:cubicBezTo>
                  <a:cubicBezTo>
                    <a:pt x="1170281" y="149021"/>
                    <a:pt x="1167189" y="140191"/>
                    <a:pt x="1164431" y="136881"/>
                  </a:cubicBezTo>
                  <a:cubicBezTo>
                    <a:pt x="1160880" y="132619"/>
                    <a:pt x="1155020" y="131362"/>
                    <a:pt x="1150143" y="129737"/>
                  </a:cubicBezTo>
                  <a:cubicBezTo>
                    <a:pt x="1147762" y="130531"/>
                    <a:pt x="1144960" y="130550"/>
                    <a:pt x="1143000" y="132118"/>
                  </a:cubicBezTo>
                  <a:cubicBezTo>
                    <a:pt x="1140765" y="133906"/>
                    <a:pt x="1139399" y="136647"/>
                    <a:pt x="1138237" y="139262"/>
                  </a:cubicBezTo>
                  <a:cubicBezTo>
                    <a:pt x="1133063" y="150905"/>
                    <a:pt x="1134287" y="152428"/>
                    <a:pt x="1131093" y="163075"/>
                  </a:cubicBezTo>
                  <a:cubicBezTo>
                    <a:pt x="1128929" y="170287"/>
                    <a:pt x="1126331" y="177362"/>
                    <a:pt x="1123950" y="184506"/>
                  </a:cubicBezTo>
                  <a:cubicBezTo>
                    <a:pt x="1123156" y="186887"/>
                    <a:pt x="1123343" y="189875"/>
                    <a:pt x="1121568" y="191650"/>
                  </a:cubicBezTo>
                  <a:cubicBezTo>
                    <a:pt x="1119187" y="194031"/>
                    <a:pt x="1116581" y="196206"/>
                    <a:pt x="1114425" y="198793"/>
                  </a:cubicBezTo>
                  <a:cubicBezTo>
                    <a:pt x="1108934" y="205382"/>
                    <a:pt x="1110344" y="207864"/>
                    <a:pt x="1102518" y="213081"/>
                  </a:cubicBezTo>
                  <a:cubicBezTo>
                    <a:pt x="1100468" y="214448"/>
                    <a:pt x="1087120" y="217525"/>
                    <a:pt x="1085850" y="217843"/>
                  </a:cubicBezTo>
                  <a:cubicBezTo>
                    <a:pt x="1076325" y="217049"/>
                    <a:pt x="1066510" y="217925"/>
                    <a:pt x="1057275" y="215462"/>
                  </a:cubicBezTo>
                  <a:cubicBezTo>
                    <a:pt x="1054021" y="214594"/>
                    <a:pt x="1051999" y="211120"/>
                    <a:pt x="1050131" y="208318"/>
                  </a:cubicBezTo>
                  <a:cubicBezTo>
                    <a:pt x="1044847" y="200393"/>
                    <a:pt x="1051420" y="201059"/>
                    <a:pt x="1042987" y="194031"/>
                  </a:cubicBezTo>
                  <a:cubicBezTo>
                    <a:pt x="1037649" y="189583"/>
                    <a:pt x="1030347" y="188489"/>
                    <a:pt x="1023937" y="186887"/>
                  </a:cubicBezTo>
                  <a:cubicBezTo>
                    <a:pt x="1016000" y="187681"/>
                    <a:pt x="1007749" y="186922"/>
                    <a:pt x="1000125" y="189268"/>
                  </a:cubicBezTo>
                  <a:cubicBezTo>
                    <a:pt x="989171" y="192639"/>
                    <a:pt x="995563" y="197352"/>
                    <a:pt x="990600" y="203556"/>
                  </a:cubicBezTo>
                  <a:cubicBezTo>
                    <a:pt x="988812" y="205791"/>
                    <a:pt x="986016" y="207038"/>
                    <a:pt x="983456" y="208318"/>
                  </a:cubicBezTo>
                  <a:cubicBezTo>
                    <a:pt x="972628" y="213732"/>
                    <a:pt x="948263" y="212703"/>
                    <a:pt x="942975" y="213081"/>
                  </a:cubicBezTo>
                  <a:lnTo>
                    <a:pt x="938212" y="227368"/>
                  </a:lnTo>
                  <a:cubicBezTo>
                    <a:pt x="937418" y="229749"/>
                    <a:pt x="937223" y="232424"/>
                    <a:pt x="935831" y="234512"/>
                  </a:cubicBezTo>
                  <a:lnTo>
                    <a:pt x="931068" y="241656"/>
                  </a:lnTo>
                  <a:cubicBezTo>
                    <a:pt x="920243" y="240883"/>
                    <a:pt x="888572" y="249442"/>
                    <a:pt x="900112" y="232131"/>
                  </a:cubicBezTo>
                  <a:cubicBezTo>
                    <a:pt x="901980" y="229329"/>
                    <a:pt x="904875" y="227368"/>
                    <a:pt x="907256" y="224987"/>
                  </a:cubicBezTo>
                  <a:cubicBezTo>
                    <a:pt x="911078" y="213519"/>
                    <a:pt x="910214" y="219826"/>
                    <a:pt x="907256" y="203556"/>
                  </a:cubicBezTo>
                  <a:cubicBezTo>
                    <a:pt x="906532" y="199574"/>
                    <a:pt x="907120" y="195018"/>
                    <a:pt x="904875" y="191650"/>
                  </a:cubicBezTo>
                  <a:cubicBezTo>
                    <a:pt x="903483" y="189561"/>
                    <a:pt x="900112" y="190062"/>
                    <a:pt x="897731" y="189268"/>
                  </a:cubicBezTo>
                  <a:cubicBezTo>
                    <a:pt x="880728" y="194936"/>
                    <a:pt x="887620" y="191246"/>
                    <a:pt x="876300" y="198793"/>
                  </a:cubicBezTo>
                  <a:cubicBezTo>
                    <a:pt x="874712" y="201174"/>
                    <a:pt x="873561" y="203913"/>
                    <a:pt x="871537" y="205937"/>
                  </a:cubicBezTo>
                  <a:cubicBezTo>
                    <a:pt x="866920" y="210554"/>
                    <a:pt x="863061" y="211144"/>
                    <a:pt x="857250" y="213081"/>
                  </a:cubicBezTo>
                  <a:cubicBezTo>
                    <a:pt x="846931" y="212287"/>
                    <a:pt x="836586" y="211784"/>
                    <a:pt x="826293" y="210700"/>
                  </a:cubicBezTo>
                  <a:cubicBezTo>
                    <a:pt x="816216" y="209639"/>
                    <a:pt x="811648" y="208228"/>
                    <a:pt x="802481" y="205937"/>
                  </a:cubicBezTo>
                  <a:cubicBezTo>
                    <a:pt x="800100" y="204350"/>
                    <a:pt x="796854" y="203602"/>
                    <a:pt x="795337" y="201175"/>
                  </a:cubicBezTo>
                  <a:cubicBezTo>
                    <a:pt x="792676" y="196918"/>
                    <a:pt x="790575" y="186887"/>
                    <a:pt x="790575" y="186887"/>
                  </a:cubicBezTo>
                  <a:cubicBezTo>
                    <a:pt x="789705" y="166887"/>
                    <a:pt x="805625" y="129737"/>
                    <a:pt x="778668" y="129737"/>
                  </a:cubicBezTo>
                  <a:cubicBezTo>
                    <a:pt x="775395" y="129737"/>
                    <a:pt x="772318" y="131324"/>
                    <a:pt x="769143" y="132118"/>
                  </a:cubicBezTo>
                  <a:cubicBezTo>
                    <a:pt x="767556" y="136881"/>
                    <a:pt x="764766" y="141401"/>
                    <a:pt x="764381" y="146406"/>
                  </a:cubicBezTo>
                  <a:cubicBezTo>
                    <a:pt x="761690" y="181397"/>
                    <a:pt x="764030" y="167214"/>
                    <a:pt x="759618" y="189268"/>
                  </a:cubicBezTo>
                  <a:cubicBezTo>
                    <a:pt x="758824" y="197999"/>
                    <a:pt x="760009" y="207145"/>
                    <a:pt x="757237" y="215462"/>
                  </a:cubicBezTo>
                  <a:cubicBezTo>
                    <a:pt x="754719" y="223017"/>
                    <a:pt x="741034" y="213236"/>
                    <a:pt x="740568" y="213081"/>
                  </a:cubicBezTo>
                  <a:cubicBezTo>
                    <a:pt x="734358" y="211011"/>
                    <a:pt x="721518" y="208318"/>
                    <a:pt x="721518" y="208318"/>
                  </a:cubicBezTo>
                  <a:cubicBezTo>
                    <a:pt x="720724" y="205143"/>
                    <a:pt x="718811" y="202049"/>
                    <a:pt x="719137" y="198793"/>
                  </a:cubicBezTo>
                  <a:cubicBezTo>
                    <a:pt x="720225" y="187920"/>
                    <a:pt x="723530" y="183623"/>
                    <a:pt x="731043" y="177362"/>
                  </a:cubicBezTo>
                  <a:cubicBezTo>
                    <a:pt x="733242" y="175530"/>
                    <a:pt x="735806" y="174187"/>
                    <a:pt x="738187" y="172600"/>
                  </a:cubicBezTo>
                  <a:cubicBezTo>
                    <a:pt x="737433" y="165812"/>
                    <a:pt x="737414" y="152003"/>
                    <a:pt x="733425" y="144025"/>
                  </a:cubicBezTo>
                  <a:cubicBezTo>
                    <a:pt x="732145" y="141465"/>
                    <a:pt x="730250" y="139262"/>
                    <a:pt x="728662" y="136881"/>
                  </a:cubicBezTo>
                  <a:cubicBezTo>
                    <a:pt x="723347" y="137640"/>
                    <a:pt x="703651" y="140322"/>
                    <a:pt x="697706" y="141643"/>
                  </a:cubicBezTo>
                  <a:cubicBezTo>
                    <a:pt x="695256" y="142188"/>
                    <a:pt x="692943" y="143231"/>
                    <a:pt x="690562" y="144025"/>
                  </a:cubicBezTo>
                  <a:cubicBezTo>
                    <a:pt x="688292" y="150836"/>
                    <a:pt x="687296" y="153215"/>
                    <a:pt x="685800" y="160693"/>
                  </a:cubicBezTo>
                  <a:cubicBezTo>
                    <a:pt x="684853" y="165428"/>
                    <a:pt x="684465" y="170268"/>
                    <a:pt x="683418" y="174981"/>
                  </a:cubicBezTo>
                  <a:cubicBezTo>
                    <a:pt x="682204" y="180446"/>
                    <a:pt x="678923" y="187017"/>
                    <a:pt x="676275" y="191650"/>
                  </a:cubicBezTo>
                  <a:cubicBezTo>
                    <a:pt x="674855" y="194135"/>
                    <a:pt x="673666" y="196909"/>
                    <a:pt x="671512" y="198793"/>
                  </a:cubicBezTo>
                  <a:cubicBezTo>
                    <a:pt x="667204" y="202562"/>
                    <a:pt x="662655" y="206508"/>
                    <a:pt x="657225" y="208318"/>
                  </a:cubicBezTo>
                  <a:lnTo>
                    <a:pt x="642937" y="213081"/>
                  </a:lnTo>
                  <a:cubicBezTo>
                    <a:pt x="632003" y="212170"/>
                    <a:pt x="618139" y="213282"/>
                    <a:pt x="607218" y="208318"/>
                  </a:cubicBezTo>
                  <a:cubicBezTo>
                    <a:pt x="600755" y="205380"/>
                    <a:pt x="588168" y="198793"/>
                    <a:pt x="588168" y="198793"/>
                  </a:cubicBezTo>
                  <a:cubicBezTo>
                    <a:pt x="587374" y="196412"/>
                    <a:pt x="586064" y="194144"/>
                    <a:pt x="585787" y="191650"/>
                  </a:cubicBezTo>
                  <a:cubicBezTo>
                    <a:pt x="585658" y="190493"/>
                    <a:pt x="585622" y="157133"/>
                    <a:pt x="581025" y="146406"/>
                  </a:cubicBezTo>
                  <a:cubicBezTo>
                    <a:pt x="579898" y="143775"/>
                    <a:pt x="577850" y="141643"/>
                    <a:pt x="576262" y="139262"/>
                  </a:cubicBezTo>
                  <a:cubicBezTo>
                    <a:pt x="572293" y="140056"/>
                    <a:pt x="567870" y="139635"/>
                    <a:pt x="564356" y="141643"/>
                  </a:cubicBezTo>
                  <a:cubicBezTo>
                    <a:pt x="560553" y="143816"/>
                    <a:pt x="558434" y="152263"/>
                    <a:pt x="557212" y="155931"/>
                  </a:cubicBezTo>
                  <a:cubicBezTo>
                    <a:pt x="556418" y="171806"/>
                    <a:pt x="556803" y="187784"/>
                    <a:pt x="554831" y="203556"/>
                  </a:cubicBezTo>
                  <a:cubicBezTo>
                    <a:pt x="554391" y="207078"/>
                    <a:pt x="552795" y="210809"/>
                    <a:pt x="550068" y="213081"/>
                  </a:cubicBezTo>
                  <a:cubicBezTo>
                    <a:pt x="547554" y="215176"/>
                    <a:pt x="543718" y="214668"/>
                    <a:pt x="540543" y="215462"/>
                  </a:cubicBezTo>
                  <a:cubicBezTo>
                    <a:pt x="537368" y="214668"/>
                    <a:pt x="533859" y="214705"/>
                    <a:pt x="531018" y="213081"/>
                  </a:cubicBezTo>
                  <a:cubicBezTo>
                    <a:pt x="528094" y="211410"/>
                    <a:pt x="525832" y="208677"/>
                    <a:pt x="523875" y="205937"/>
                  </a:cubicBezTo>
                  <a:cubicBezTo>
                    <a:pt x="520195" y="200785"/>
                    <a:pt x="518675" y="195100"/>
                    <a:pt x="516731" y="189268"/>
                  </a:cubicBezTo>
                  <a:lnTo>
                    <a:pt x="523875" y="167837"/>
                  </a:lnTo>
                  <a:cubicBezTo>
                    <a:pt x="524669" y="165456"/>
                    <a:pt x="525647" y="163128"/>
                    <a:pt x="526256" y="160693"/>
                  </a:cubicBezTo>
                  <a:lnTo>
                    <a:pt x="528637" y="151168"/>
                  </a:lnTo>
                  <a:cubicBezTo>
                    <a:pt x="529431" y="144024"/>
                    <a:pt x="529836" y="136827"/>
                    <a:pt x="531018" y="129737"/>
                  </a:cubicBezTo>
                  <a:cubicBezTo>
                    <a:pt x="532918" y="118340"/>
                    <a:pt x="541568" y="117740"/>
                    <a:pt x="531018" y="101162"/>
                  </a:cubicBezTo>
                  <a:cubicBezTo>
                    <a:pt x="528323" y="96927"/>
                    <a:pt x="516731" y="96400"/>
                    <a:pt x="516731" y="96400"/>
                  </a:cubicBezTo>
                  <a:cubicBezTo>
                    <a:pt x="508793" y="97194"/>
                    <a:pt x="500180" y="95480"/>
                    <a:pt x="492918" y="98781"/>
                  </a:cubicBezTo>
                  <a:cubicBezTo>
                    <a:pt x="489939" y="100135"/>
                    <a:pt x="491179" y="105097"/>
                    <a:pt x="490537" y="108306"/>
                  </a:cubicBezTo>
                  <a:cubicBezTo>
                    <a:pt x="489590" y="113040"/>
                    <a:pt x="488755" y="117802"/>
                    <a:pt x="488156" y="122593"/>
                  </a:cubicBezTo>
                  <a:cubicBezTo>
                    <a:pt x="487167" y="130509"/>
                    <a:pt x="488121" y="138781"/>
                    <a:pt x="485775" y="146406"/>
                  </a:cubicBezTo>
                  <a:cubicBezTo>
                    <a:pt x="484785" y="149625"/>
                    <a:pt x="480787" y="150963"/>
                    <a:pt x="478631" y="153550"/>
                  </a:cubicBezTo>
                  <a:cubicBezTo>
                    <a:pt x="476799" y="155748"/>
                    <a:pt x="475456" y="158312"/>
                    <a:pt x="473868" y="160693"/>
                  </a:cubicBezTo>
                  <a:cubicBezTo>
                    <a:pt x="473074" y="169424"/>
                    <a:pt x="472511" y="178180"/>
                    <a:pt x="471487" y="186887"/>
                  </a:cubicBezTo>
                  <a:cubicBezTo>
                    <a:pt x="470923" y="191682"/>
                    <a:pt x="471875" y="197219"/>
                    <a:pt x="469106" y="201175"/>
                  </a:cubicBezTo>
                  <a:cubicBezTo>
                    <a:pt x="465824" y="205864"/>
                    <a:pt x="454818" y="210700"/>
                    <a:pt x="454818" y="210700"/>
                  </a:cubicBezTo>
                  <a:cubicBezTo>
                    <a:pt x="450456" y="209246"/>
                    <a:pt x="437502" y="206319"/>
                    <a:pt x="433387" y="201175"/>
                  </a:cubicBezTo>
                  <a:cubicBezTo>
                    <a:pt x="431819" y="199215"/>
                    <a:pt x="431800" y="196412"/>
                    <a:pt x="431006" y="194031"/>
                  </a:cubicBezTo>
                  <a:cubicBezTo>
                    <a:pt x="431800" y="191650"/>
                    <a:pt x="431612" y="188662"/>
                    <a:pt x="433387" y="186887"/>
                  </a:cubicBezTo>
                  <a:cubicBezTo>
                    <a:pt x="435162" y="185112"/>
                    <a:pt x="438442" y="185898"/>
                    <a:pt x="440531" y="184506"/>
                  </a:cubicBezTo>
                  <a:cubicBezTo>
                    <a:pt x="443333" y="182638"/>
                    <a:pt x="445294" y="179743"/>
                    <a:pt x="447675" y="177362"/>
                  </a:cubicBezTo>
                  <a:cubicBezTo>
                    <a:pt x="446455" y="171265"/>
                    <a:pt x="446638" y="160738"/>
                    <a:pt x="438150" y="158312"/>
                  </a:cubicBezTo>
                  <a:cubicBezTo>
                    <a:pt x="435003" y="157413"/>
                    <a:pt x="431800" y="159899"/>
                    <a:pt x="428625" y="160693"/>
                  </a:cubicBezTo>
                  <a:cubicBezTo>
                    <a:pt x="426244" y="163074"/>
                    <a:pt x="423349" y="165035"/>
                    <a:pt x="421481" y="167837"/>
                  </a:cubicBezTo>
                  <a:cubicBezTo>
                    <a:pt x="420056" y="169975"/>
                    <a:pt x="417114" y="183121"/>
                    <a:pt x="416718" y="184506"/>
                  </a:cubicBezTo>
                  <a:cubicBezTo>
                    <a:pt x="416028" y="186920"/>
                    <a:pt x="416112" y="189875"/>
                    <a:pt x="414337" y="191650"/>
                  </a:cubicBezTo>
                  <a:cubicBezTo>
                    <a:pt x="412562" y="193425"/>
                    <a:pt x="409574" y="193237"/>
                    <a:pt x="407193" y="194031"/>
                  </a:cubicBezTo>
                  <a:cubicBezTo>
                    <a:pt x="405606" y="191650"/>
                    <a:pt x="403558" y="189518"/>
                    <a:pt x="402431" y="186887"/>
                  </a:cubicBezTo>
                  <a:cubicBezTo>
                    <a:pt x="397849" y="176195"/>
                    <a:pt x="402306" y="179494"/>
                    <a:pt x="397668" y="170218"/>
                  </a:cubicBezTo>
                  <a:cubicBezTo>
                    <a:pt x="396388" y="167659"/>
                    <a:pt x="394493" y="165456"/>
                    <a:pt x="392906" y="163075"/>
                  </a:cubicBezTo>
                  <a:cubicBezTo>
                    <a:pt x="392112" y="160694"/>
                    <a:pt x="391648" y="158176"/>
                    <a:pt x="390525" y="155931"/>
                  </a:cubicBezTo>
                  <a:cubicBezTo>
                    <a:pt x="387210" y="149301"/>
                    <a:pt x="383884" y="146909"/>
                    <a:pt x="378618" y="141643"/>
                  </a:cubicBezTo>
                  <a:cubicBezTo>
                    <a:pt x="377031" y="138468"/>
                    <a:pt x="376128" y="134845"/>
                    <a:pt x="373856" y="132118"/>
                  </a:cubicBezTo>
                  <a:cubicBezTo>
                    <a:pt x="372024" y="129919"/>
                    <a:pt x="368500" y="129591"/>
                    <a:pt x="366712" y="127356"/>
                  </a:cubicBezTo>
                  <a:cubicBezTo>
                    <a:pt x="365144" y="125396"/>
                    <a:pt x="366374" y="121671"/>
                    <a:pt x="364331" y="120212"/>
                  </a:cubicBezTo>
                  <a:cubicBezTo>
                    <a:pt x="360246" y="117294"/>
                    <a:pt x="354533" y="117695"/>
                    <a:pt x="350043" y="115450"/>
                  </a:cubicBezTo>
                  <a:lnTo>
                    <a:pt x="340518" y="110687"/>
                  </a:lnTo>
                  <a:cubicBezTo>
                    <a:pt x="338931" y="108306"/>
                    <a:pt x="337780" y="105567"/>
                    <a:pt x="335756" y="103543"/>
                  </a:cubicBezTo>
                  <a:cubicBezTo>
                    <a:pt x="333732" y="101519"/>
                    <a:pt x="330497" y="100935"/>
                    <a:pt x="328612" y="98781"/>
                  </a:cubicBezTo>
                  <a:cubicBezTo>
                    <a:pt x="324843" y="94473"/>
                    <a:pt x="319087" y="84493"/>
                    <a:pt x="319087" y="84493"/>
                  </a:cubicBezTo>
                  <a:cubicBezTo>
                    <a:pt x="320797" y="67389"/>
                    <a:pt x="315174" y="61677"/>
                    <a:pt x="328612" y="55918"/>
                  </a:cubicBezTo>
                  <a:cubicBezTo>
                    <a:pt x="331620" y="54629"/>
                    <a:pt x="334962" y="54331"/>
                    <a:pt x="338137" y="53537"/>
                  </a:cubicBezTo>
                  <a:cubicBezTo>
                    <a:pt x="341543" y="43317"/>
                    <a:pt x="341421" y="47623"/>
                    <a:pt x="338137" y="34487"/>
                  </a:cubicBezTo>
                  <a:cubicBezTo>
                    <a:pt x="337528" y="32052"/>
                    <a:pt x="337324" y="29303"/>
                    <a:pt x="335756" y="27343"/>
                  </a:cubicBezTo>
                  <a:cubicBezTo>
                    <a:pt x="333968" y="25108"/>
                    <a:pt x="330811" y="24413"/>
                    <a:pt x="328612" y="22581"/>
                  </a:cubicBezTo>
                  <a:cubicBezTo>
                    <a:pt x="310272" y="7298"/>
                    <a:pt x="332064" y="22501"/>
                    <a:pt x="314325" y="10675"/>
                  </a:cubicBezTo>
                  <a:cubicBezTo>
                    <a:pt x="311542" y="6501"/>
                    <a:pt x="309320" y="0"/>
                    <a:pt x="302418" y="1150"/>
                  </a:cubicBezTo>
                  <a:cubicBezTo>
                    <a:pt x="299595" y="1620"/>
                    <a:pt x="297656" y="4325"/>
                    <a:pt x="295275" y="5912"/>
                  </a:cubicBezTo>
                  <a:cubicBezTo>
                    <a:pt x="294481" y="12262"/>
                    <a:pt x="294577" y="18788"/>
                    <a:pt x="292893" y="24962"/>
                  </a:cubicBezTo>
                  <a:cubicBezTo>
                    <a:pt x="291623" y="29620"/>
                    <a:pt x="285433" y="35386"/>
                    <a:pt x="280987" y="36868"/>
                  </a:cubicBezTo>
                  <a:cubicBezTo>
                    <a:pt x="276407" y="38395"/>
                    <a:pt x="271462" y="38456"/>
                    <a:pt x="266700" y="39250"/>
                  </a:cubicBezTo>
                  <a:cubicBezTo>
                    <a:pt x="241377" y="56130"/>
                    <a:pt x="251526" y="46438"/>
                    <a:pt x="261937" y="113068"/>
                  </a:cubicBezTo>
                  <a:cubicBezTo>
                    <a:pt x="262550" y="116989"/>
                    <a:pt x="268211" y="117936"/>
                    <a:pt x="271462" y="120212"/>
                  </a:cubicBezTo>
                  <a:cubicBezTo>
                    <a:pt x="276151" y="123494"/>
                    <a:pt x="280987" y="126562"/>
                    <a:pt x="285750" y="129737"/>
                  </a:cubicBezTo>
                  <a:lnTo>
                    <a:pt x="292893" y="134500"/>
                  </a:lnTo>
                  <a:cubicBezTo>
                    <a:pt x="294481" y="136881"/>
                    <a:pt x="297185" y="138820"/>
                    <a:pt x="297656" y="141643"/>
                  </a:cubicBezTo>
                  <a:cubicBezTo>
                    <a:pt x="298069" y="144119"/>
                    <a:pt x="297781" y="148635"/>
                    <a:pt x="295275" y="148787"/>
                  </a:cubicBezTo>
                  <a:cubicBezTo>
                    <a:pt x="269909" y="150324"/>
                    <a:pt x="244475" y="147200"/>
                    <a:pt x="219075" y="146406"/>
                  </a:cubicBezTo>
                  <a:cubicBezTo>
                    <a:pt x="215524" y="135753"/>
                    <a:pt x="216335" y="131087"/>
                    <a:pt x="207168" y="124975"/>
                  </a:cubicBezTo>
                  <a:cubicBezTo>
                    <a:pt x="205080" y="123583"/>
                    <a:pt x="202406" y="123387"/>
                    <a:pt x="200025" y="122593"/>
                  </a:cubicBezTo>
                  <a:cubicBezTo>
                    <a:pt x="172090" y="129579"/>
                    <a:pt x="198404" y="119766"/>
                    <a:pt x="188118" y="177362"/>
                  </a:cubicBezTo>
                  <a:cubicBezTo>
                    <a:pt x="185553" y="191726"/>
                    <a:pt x="179083" y="189627"/>
                    <a:pt x="171450" y="196412"/>
                  </a:cubicBezTo>
                  <a:cubicBezTo>
                    <a:pt x="166416" y="200887"/>
                    <a:pt x="157162" y="210700"/>
                    <a:pt x="157162" y="210700"/>
                  </a:cubicBezTo>
                  <a:cubicBezTo>
                    <a:pt x="153987" y="209906"/>
                    <a:pt x="147980" y="211573"/>
                    <a:pt x="147637" y="208318"/>
                  </a:cubicBezTo>
                  <a:cubicBezTo>
                    <a:pt x="146132" y="194022"/>
                    <a:pt x="150617" y="179720"/>
                    <a:pt x="152400" y="165456"/>
                  </a:cubicBezTo>
                  <a:cubicBezTo>
                    <a:pt x="155477" y="140837"/>
                    <a:pt x="153876" y="152741"/>
                    <a:pt x="157162" y="129737"/>
                  </a:cubicBezTo>
                  <a:cubicBezTo>
                    <a:pt x="156368" y="120212"/>
                    <a:pt x="158047" y="110145"/>
                    <a:pt x="154781" y="101162"/>
                  </a:cubicBezTo>
                  <a:cubicBezTo>
                    <a:pt x="153923" y="98803"/>
                    <a:pt x="149882" y="102420"/>
                    <a:pt x="147637" y="103543"/>
                  </a:cubicBezTo>
                  <a:cubicBezTo>
                    <a:pt x="141006" y="106858"/>
                    <a:pt x="138616" y="110183"/>
                    <a:pt x="133350" y="115450"/>
                  </a:cubicBezTo>
                  <a:cubicBezTo>
                    <a:pt x="132556" y="117831"/>
                    <a:pt x="132187" y="120399"/>
                    <a:pt x="130968" y="122593"/>
                  </a:cubicBezTo>
                  <a:cubicBezTo>
                    <a:pt x="128188" y="127597"/>
                    <a:pt x="124618" y="132118"/>
                    <a:pt x="121443" y="136881"/>
                  </a:cubicBezTo>
                  <a:lnTo>
                    <a:pt x="116681" y="144025"/>
                  </a:lnTo>
                  <a:lnTo>
                    <a:pt x="107156" y="158312"/>
                  </a:lnTo>
                  <a:lnTo>
                    <a:pt x="100012" y="179743"/>
                  </a:lnTo>
                  <a:lnTo>
                    <a:pt x="97631" y="186887"/>
                  </a:lnTo>
                  <a:lnTo>
                    <a:pt x="95250" y="194031"/>
                  </a:lnTo>
                  <a:cubicBezTo>
                    <a:pt x="96044" y="208318"/>
                    <a:pt x="96336" y="222642"/>
                    <a:pt x="97631" y="236893"/>
                  </a:cubicBezTo>
                  <a:cubicBezTo>
                    <a:pt x="97927" y="240152"/>
                    <a:pt x="99370" y="243209"/>
                    <a:pt x="100012" y="246418"/>
                  </a:cubicBezTo>
                  <a:cubicBezTo>
                    <a:pt x="100959" y="251153"/>
                    <a:pt x="101599" y="255943"/>
                    <a:pt x="102393" y="260706"/>
                  </a:cubicBezTo>
                  <a:cubicBezTo>
                    <a:pt x="101599" y="265468"/>
                    <a:pt x="102445" y="270823"/>
                    <a:pt x="100012" y="274993"/>
                  </a:cubicBezTo>
                  <a:cubicBezTo>
                    <a:pt x="96618" y="280811"/>
                    <a:pt x="89461" y="283677"/>
                    <a:pt x="85725" y="289281"/>
                  </a:cubicBezTo>
                  <a:lnTo>
                    <a:pt x="80962" y="296425"/>
                  </a:lnTo>
                  <a:cubicBezTo>
                    <a:pt x="79375" y="301187"/>
                    <a:pt x="77418" y="305842"/>
                    <a:pt x="76200" y="310712"/>
                  </a:cubicBezTo>
                  <a:cubicBezTo>
                    <a:pt x="74378" y="317996"/>
                    <a:pt x="74536" y="321901"/>
                    <a:pt x="69056" y="327381"/>
                  </a:cubicBezTo>
                  <a:cubicBezTo>
                    <a:pt x="67032" y="329405"/>
                    <a:pt x="64051" y="330242"/>
                    <a:pt x="61912" y="332143"/>
                  </a:cubicBezTo>
                  <a:cubicBezTo>
                    <a:pt x="56878" y="336618"/>
                    <a:pt x="47625" y="346431"/>
                    <a:pt x="47625" y="346431"/>
                  </a:cubicBezTo>
                  <a:cubicBezTo>
                    <a:pt x="45926" y="351525"/>
                    <a:pt x="44824" y="356918"/>
                    <a:pt x="40481" y="360718"/>
                  </a:cubicBezTo>
                  <a:cubicBezTo>
                    <a:pt x="36173" y="364487"/>
                    <a:pt x="26193" y="370243"/>
                    <a:pt x="26193" y="370243"/>
                  </a:cubicBezTo>
                  <a:cubicBezTo>
                    <a:pt x="19273" y="365630"/>
                    <a:pt x="16389" y="360295"/>
                    <a:pt x="14287" y="375006"/>
                  </a:cubicBezTo>
                  <a:cubicBezTo>
                    <a:pt x="13368" y="381437"/>
                    <a:pt x="20749" y="385617"/>
                    <a:pt x="23812" y="389293"/>
                  </a:cubicBezTo>
                  <a:cubicBezTo>
                    <a:pt x="25644" y="391492"/>
                    <a:pt x="26987" y="394056"/>
                    <a:pt x="28575" y="396437"/>
                  </a:cubicBezTo>
                  <a:cubicBezTo>
                    <a:pt x="26194" y="398818"/>
                    <a:pt x="24018" y="401425"/>
                    <a:pt x="21431" y="403581"/>
                  </a:cubicBezTo>
                  <a:cubicBezTo>
                    <a:pt x="19232" y="405413"/>
                    <a:pt x="16075" y="406108"/>
                    <a:pt x="14287" y="408343"/>
                  </a:cubicBezTo>
                  <a:cubicBezTo>
                    <a:pt x="12719" y="410303"/>
                    <a:pt x="13298" y="413398"/>
                    <a:pt x="11906" y="415487"/>
                  </a:cubicBezTo>
                  <a:cubicBezTo>
                    <a:pt x="10038" y="418289"/>
                    <a:pt x="6918" y="420044"/>
                    <a:pt x="4762" y="422631"/>
                  </a:cubicBezTo>
                  <a:cubicBezTo>
                    <a:pt x="2930" y="424830"/>
                    <a:pt x="1587" y="427394"/>
                    <a:pt x="0" y="429775"/>
                  </a:cubicBezTo>
                  <a:cubicBezTo>
                    <a:pt x="3790" y="463887"/>
                    <a:pt x="430" y="439282"/>
                    <a:pt x="4762" y="463112"/>
                  </a:cubicBezTo>
                  <a:cubicBezTo>
                    <a:pt x="5626" y="467862"/>
                    <a:pt x="6095" y="472687"/>
                    <a:pt x="7143" y="477400"/>
                  </a:cubicBezTo>
                  <a:cubicBezTo>
                    <a:pt x="10922" y="494402"/>
                    <a:pt x="8445" y="473302"/>
                    <a:pt x="11906" y="494068"/>
                  </a:cubicBezTo>
                  <a:cubicBezTo>
                    <a:pt x="15858" y="517782"/>
                    <a:pt x="10193" y="506978"/>
                    <a:pt x="19050" y="520262"/>
                  </a:cubicBezTo>
                  <a:cubicBezTo>
                    <a:pt x="20637" y="525025"/>
                    <a:pt x="21027" y="530373"/>
                    <a:pt x="23812" y="534550"/>
                  </a:cubicBezTo>
                  <a:cubicBezTo>
                    <a:pt x="28494" y="541571"/>
                    <a:pt x="28845" y="543109"/>
                    <a:pt x="35718" y="548837"/>
                  </a:cubicBezTo>
                  <a:cubicBezTo>
                    <a:pt x="39939" y="552355"/>
                    <a:pt x="47590" y="556306"/>
                    <a:pt x="52387" y="558362"/>
                  </a:cubicBezTo>
                  <a:cubicBezTo>
                    <a:pt x="54694" y="559351"/>
                    <a:pt x="57224" y="559754"/>
                    <a:pt x="59531" y="560743"/>
                  </a:cubicBezTo>
                  <a:cubicBezTo>
                    <a:pt x="62794" y="562141"/>
                    <a:pt x="66012" y="563680"/>
                    <a:pt x="69056" y="565506"/>
                  </a:cubicBezTo>
                  <a:cubicBezTo>
                    <a:pt x="73964" y="568451"/>
                    <a:pt x="83343" y="575031"/>
                    <a:pt x="83343" y="575031"/>
                  </a:cubicBezTo>
                  <a:cubicBezTo>
                    <a:pt x="84931" y="577412"/>
                    <a:pt x="86826" y="579615"/>
                    <a:pt x="88106" y="582175"/>
                  </a:cubicBezTo>
                  <a:cubicBezTo>
                    <a:pt x="92475" y="590913"/>
                    <a:pt x="87474" y="589691"/>
                    <a:pt x="97631" y="596462"/>
                  </a:cubicBezTo>
                  <a:cubicBezTo>
                    <a:pt x="99720" y="597854"/>
                    <a:pt x="102468" y="597854"/>
                    <a:pt x="104775" y="598843"/>
                  </a:cubicBezTo>
                  <a:cubicBezTo>
                    <a:pt x="108038" y="600241"/>
                    <a:pt x="111004" y="602288"/>
                    <a:pt x="114300" y="603606"/>
                  </a:cubicBezTo>
                  <a:cubicBezTo>
                    <a:pt x="118961" y="605470"/>
                    <a:pt x="123825" y="606781"/>
                    <a:pt x="128587" y="608368"/>
                  </a:cubicBezTo>
                  <a:cubicBezTo>
                    <a:pt x="130968" y="609162"/>
                    <a:pt x="133486" y="609627"/>
                    <a:pt x="135731" y="610750"/>
                  </a:cubicBezTo>
                  <a:cubicBezTo>
                    <a:pt x="138906" y="612337"/>
                    <a:pt x="142246" y="613631"/>
                    <a:pt x="145256" y="615512"/>
                  </a:cubicBezTo>
                  <a:cubicBezTo>
                    <a:pt x="148622" y="617615"/>
                    <a:pt x="151231" y="620881"/>
                    <a:pt x="154781" y="622656"/>
                  </a:cubicBezTo>
                  <a:cubicBezTo>
                    <a:pt x="159271" y="624901"/>
                    <a:pt x="169068" y="627418"/>
                    <a:pt x="169068" y="627418"/>
                  </a:cubicBezTo>
                  <a:cubicBezTo>
                    <a:pt x="170656" y="629799"/>
                    <a:pt x="171596" y="632774"/>
                    <a:pt x="173831" y="634562"/>
                  </a:cubicBezTo>
                  <a:cubicBezTo>
                    <a:pt x="175791" y="636130"/>
                    <a:pt x="178730" y="635820"/>
                    <a:pt x="180975" y="636943"/>
                  </a:cubicBezTo>
                  <a:cubicBezTo>
                    <a:pt x="183535" y="638223"/>
                    <a:pt x="185633" y="640286"/>
                    <a:pt x="188118" y="641706"/>
                  </a:cubicBezTo>
                  <a:cubicBezTo>
                    <a:pt x="209275" y="653796"/>
                    <a:pt x="187375" y="639622"/>
                    <a:pt x="204787" y="651231"/>
                  </a:cubicBezTo>
                  <a:cubicBezTo>
                    <a:pt x="208584" y="656927"/>
                    <a:pt x="210860" y="661351"/>
                    <a:pt x="216693" y="665518"/>
                  </a:cubicBezTo>
                  <a:cubicBezTo>
                    <a:pt x="223399" y="670308"/>
                    <a:pt x="228071" y="670744"/>
                    <a:pt x="235743" y="672662"/>
                  </a:cubicBezTo>
                  <a:cubicBezTo>
                    <a:pt x="255338" y="669863"/>
                    <a:pt x="262897" y="667584"/>
                    <a:pt x="285750" y="672662"/>
                  </a:cubicBezTo>
                  <a:cubicBezTo>
                    <a:pt x="289624" y="673523"/>
                    <a:pt x="291829" y="677837"/>
                    <a:pt x="295275" y="679806"/>
                  </a:cubicBezTo>
                  <a:cubicBezTo>
                    <a:pt x="297454" y="681051"/>
                    <a:pt x="299983" y="681578"/>
                    <a:pt x="302418" y="682187"/>
                  </a:cubicBezTo>
                  <a:cubicBezTo>
                    <a:pt x="311697" y="684506"/>
                    <a:pt x="321594" y="685607"/>
                    <a:pt x="330993" y="686950"/>
                  </a:cubicBezTo>
                  <a:cubicBezTo>
                    <a:pt x="333374" y="689331"/>
                    <a:pt x="335335" y="692225"/>
                    <a:pt x="338137" y="694093"/>
                  </a:cubicBezTo>
                  <a:cubicBezTo>
                    <a:pt x="340226" y="695485"/>
                    <a:pt x="343321" y="694907"/>
                    <a:pt x="345281" y="696475"/>
                  </a:cubicBezTo>
                  <a:cubicBezTo>
                    <a:pt x="347516" y="698263"/>
                    <a:pt x="348456" y="701237"/>
                    <a:pt x="350043" y="703618"/>
                  </a:cubicBezTo>
                  <a:cubicBezTo>
                    <a:pt x="350837" y="706793"/>
                    <a:pt x="351526" y="709996"/>
                    <a:pt x="352425" y="713143"/>
                  </a:cubicBezTo>
                  <a:cubicBezTo>
                    <a:pt x="353115" y="715557"/>
                    <a:pt x="354197" y="717852"/>
                    <a:pt x="354806" y="720287"/>
                  </a:cubicBezTo>
                  <a:cubicBezTo>
                    <a:pt x="355788" y="724213"/>
                    <a:pt x="356205" y="728267"/>
                    <a:pt x="357187" y="732193"/>
                  </a:cubicBezTo>
                  <a:cubicBezTo>
                    <a:pt x="358478" y="737358"/>
                    <a:pt x="359754" y="743297"/>
                    <a:pt x="366712" y="744100"/>
                  </a:cubicBezTo>
                  <a:cubicBezTo>
                    <a:pt x="384865" y="746195"/>
                    <a:pt x="403225" y="745687"/>
                    <a:pt x="421481" y="746481"/>
                  </a:cubicBezTo>
                  <a:cubicBezTo>
                    <a:pt x="427202" y="747911"/>
                    <a:pt x="434038" y="748485"/>
                    <a:pt x="438150" y="753625"/>
                  </a:cubicBezTo>
                  <a:cubicBezTo>
                    <a:pt x="451296" y="770057"/>
                    <a:pt x="427199" y="751880"/>
                    <a:pt x="447675" y="765531"/>
                  </a:cubicBezTo>
                  <a:cubicBezTo>
                    <a:pt x="464685" y="791050"/>
                    <a:pt x="438199" y="752327"/>
                    <a:pt x="459581" y="779818"/>
                  </a:cubicBezTo>
                  <a:cubicBezTo>
                    <a:pt x="463095" y="784336"/>
                    <a:pt x="465931" y="789343"/>
                    <a:pt x="469106" y="794106"/>
                  </a:cubicBezTo>
                  <a:lnTo>
                    <a:pt x="473868" y="801250"/>
                  </a:lnTo>
                  <a:cubicBezTo>
                    <a:pt x="474662" y="809187"/>
                    <a:pt x="474456" y="817289"/>
                    <a:pt x="476250" y="825062"/>
                  </a:cubicBezTo>
                  <a:cubicBezTo>
                    <a:pt x="476894" y="827851"/>
                    <a:pt x="479732" y="829646"/>
                    <a:pt x="481012" y="832206"/>
                  </a:cubicBezTo>
                  <a:cubicBezTo>
                    <a:pt x="490863" y="851910"/>
                    <a:pt x="474516" y="826037"/>
                    <a:pt x="488156" y="846493"/>
                  </a:cubicBezTo>
                  <a:cubicBezTo>
                    <a:pt x="491042" y="855153"/>
                    <a:pt x="488444" y="853709"/>
                    <a:pt x="497681" y="856018"/>
                  </a:cubicBezTo>
                  <a:cubicBezTo>
                    <a:pt x="498451" y="856210"/>
                    <a:pt x="488552" y="856415"/>
                    <a:pt x="492918" y="856018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grpSp>
          <p:nvGrpSpPr>
            <p:cNvPr id="14" name="Group 166">
              <a:extLst>
                <a:ext uri="{FF2B5EF4-FFF2-40B4-BE49-F238E27FC236}">
                  <a16:creationId xmlns:a16="http://schemas.microsoft.com/office/drawing/2014/main" xmlns="" id="{F97321E8-EA8F-1248-9C5F-0C13451E3D5C}"/>
                </a:ext>
              </a:extLst>
            </p:cNvPr>
            <p:cNvGrpSpPr/>
            <p:nvPr/>
          </p:nvGrpSpPr>
          <p:grpSpPr bwMode="auto">
            <a:xfrm>
              <a:off x="4464290" y="2282934"/>
              <a:ext cx="1555029" cy="3420769"/>
              <a:chOff x="4464290" y="2665706"/>
              <a:chExt cx="1555029" cy="3420769"/>
            </a:xfrm>
            <a:grpFill/>
          </p:grpSpPr>
          <p:sp>
            <p:nvSpPr>
              <p:cNvPr id="102" name="Freeform 221">
                <a:extLst>
                  <a:ext uri="{FF2B5EF4-FFF2-40B4-BE49-F238E27FC236}">
                    <a16:creationId xmlns:a16="http://schemas.microsoft.com/office/drawing/2014/main" xmlns="" id="{63C3EB74-8E86-5F48-B6E3-05EFE9979827}"/>
                  </a:ext>
                </a:extLst>
              </p:cNvPr>
              <p:cNvSpPr/>
              <p:nvPr/>
            </p:nvSpPr>
            <p:spPr bwMode="auto">
              <a:xfrm>
                <a:off x="4464290" y="2665706"/>
                <a:ext cx="1460260" cy="1556250"/>
              </a:xfrm>
              <a:custGeom>
                <a:avLst/>
                <a:gdLst>
                  <a:gd name="connsiteX0" fmla="*/ 145810 w 1460260"/>
                  <a:gd name="connsiteY0" fmla="*/ 1549107 h 1556250"/>
                  <a:gd name="connsiteX1" fmla="*/ 143429 w 1460260"/>
                  <a:gd name="connsiteY1" fmla="*/ 1530057 h 1556250"/>
                  <a:gd name="connsiteX2" fmla="*/ 141048 w 1460260"/>
                  <a:gd name="connsiteY2" fmla="*/ 1522913 h 1556250"/>
                  <a:gd name="connsiteX3" fmla="*/ 138666 w 1460260"/>
                  <a:gd name="connsiteY3" fmla="*/ 1503863 h 1556250"/>
                  <a:gd name="connsiteX4" fmla="*/ 136285 w 1460260"/>
                  <a:gd name="connsiteY4" fmla="*/ 1463382 h 1556250"/>
                  <a:gd name="connsiteX5" fmla="*/ 131523 w 1460260"/>
                  <a:gd name="connsiteY5" fmla="*/ 1449094 h 1556250"/>
                  <a:gd name="connsiteX6" fmla="*/ 129141 w 1460260"/>
                  <a:gd name="connsiteY6" fmla="*/ 1434807 h 1556250"/>
                  <a:gd name="connsiteX7" fmla="*/ 124379 w 1460260"/>
                  <a:gd name="connsiteY7" fmla="*/ 1394325 h 1556250"/>
                  <a:gd name="connsiteX8" fmla="*/ 121998 w 1460260"/>
                  <a:gd name="connsiteY8" fmla="*/ 1384800 h 1556250"/>
                  <a:gd name="connsiteX9" fmla="*/ 117235 w 1460260"/>
                  <a:gd name="connsiteY9" fmla="*/ 1370513 h 1556250"/>
                  <a:gd name="connsiteX10" fmla="*/ 121998 w 1460260"/>
                  <a:gd name="connsiteY10" fmla="*/ 1320507 h 1556250"/>
                  <a:gd name="connsiteX11" fmla="*/ 126760 w 1460260"/>
                  <a:gd name="connsiteY11" fmla="*/ 1313363 h 1556250"/>
                  <a:gd name="connsiteX12" fmla="*/ 129141 w 1460260"/>
                  <a:gd name="connsiteY12" fmla="*/ 1303838 h 1556250"/>
                  <a:gd name="connsiteX13" fmla="*/ 136285 w 1460260"/>
                  <a:gd name="connsiteY13" fmla="*/ 1299075 h 1556250"/>
                  <a:gd name="connsiteX14" fmla="*/ 141048 w 1460260"/>
                  <a:gd name="connsiteY14" fmla="*/ 1284788 h 1556250"/>
                  <a:gd name="connsiteX15" fmla="*/ 138666 w 1460260"/>
                  <a:gd name="connsiteY15" fmla="*/ 1210969 h 1556250"/>
                  <a:gd name="connsiteX16" fmla="*/ 119616 w 1460260"/>
                  <a:gd name="connsiteY16" fmla="*/ 1187157 h 1556250"/>
                  <a:gd name="connsiteX17" fmla="*/ 112473 w 1460260"/>
                  <a:gd name="connsiteY17" fmla="*/ 1182394 h 1556250"/>
                  <a:gd name="connsiteX18" fmla="*/ 98185 w 1460260"/>
                  <a:gd name="connsiteY18" fmla="*/ 1177632 h 1556250"/>
                  <a:gd name="connsiteX19" fmla="*/ 91041 w 1460260"/>
                  <a:gd name="connsiteY19" fmla="*/ 1175250 h 1556250"/>
                  <a:gd name="connsiteX20" fmla="*/ 71991 w 1460260"/>
                  <a:gd name="connsiteY20" fmla="*/ 1172869 h 1556250"/>
                  <a:gd name="connsiteX21" fmla="*/ 62466 w 1460260"/>
                  <a:gd name="connsiteY21" fmla="*/ 1165725 h 1556250"/>
                  <a:gd name="connsiteX22" fmla="*/ 48179 w 1460260"/>
                  <a:gd name="connsiteY22" fmla="*/ 1153819 h 1556250"/>
                  <a:gd name="connsiteX23" fmla="*/ 36273 w 1460260"/>
                  <a:gd name="connsiteY23" fmla="*/ 1139532 h 1556250"/>
                  <a:gd name="connsiteX24" fmla="*/ 29129 w 1460260"/>
                  <a:gd name="connsiteY24" fmla="*/ 1134769 h 1556250"/>
                  <a:gd name="connsiteX25" fmla="*/ 17223 w 1460260"/>
                  <a:gd name="connsiteY25" fmla="*/ 1122863 h 1556250"/>
                  <a:gd name="connsiteX26" fmla="*/ 5316 w 1460260"/>
                  <a:gd name="connsiteY26" fmla="*/ 1110957 h 1556250"/>
                  <a:gd name="connsiteX27" fmla="*/ 554 w 1460260"/>
                  <a:gd name="connsiteY27" fmla="*/ 1096669 h 1556250"/>
                  <a:gd name="connsiteX28" fmla="*/ 2935 w 1460260"/>
                  <a:gd name="connsiteY28" fmla="*/ 1075238 h 1556250"/>
                  <a:gd name="connsiteX29" fmla="*/ 7698 w 1460260"/>
                  <a:gd name="connsiteY29" fmla="*/ 1068094 h 1556250"/>
                  <a:gd name="connsiteX30" fmla="*/ 21985 w 1460260"/>
                  <a:gd name="connsiteY30" fmla="*/ 1056188 h 1556250"/>
                  <a:gd name="connsiteX31" fmla="*/ 26748 w 1460260"/>
                  <a:gd name="connsiteY31" fmla="*/ 1049044 h 1556250"/>
                  <a:gd name="connsiteX32" fmla="*/ 33891 w 1460260"/>
                  <a:gd name="connsiteY32" fmla="*/ 1046663 h 1556250"/>
                  <a:gd name="connsiteX33" fmla="*/ 41035 w 1460260"/>
                  <a:gd name="connsiteY33" fmla="*/ 1041900 h 1556250"/>
                  <a:gd name="connsiteX34" fmla="*/ 50560 w 1460260"/>
                  <a:gd name="connsiteY34" fmla="*/ 1037138 h 1556250"/>
                  <a:gd name="connsiteX35" fmla="*/ 57704 w 1460260"/>
                  <a:gd name="connsiteY35" fmla="*/ 1003800 h 1556250"/>
                  <a:gd name="connsiteX36" fmla="*/ 62466 w 1460260"/>
                  <a:gd name="connsiteY36" fmla="*/ 894263 h 1556250"/>
                  <a:gd name="connsiteX37" fmla="*/ 64848 w 1460260"/>
                  <a:gd name="connsiteY37" fmla="*/ 884738 h 1556250"/>
                  <a:gd name="connsiteX38" fmla="*/ 67229 w 1460260"/>
                  <a:gd name="connsiteY38" fmla="*/ 872832 h 1556250"/>
                  <a:gd name="connsiteX39" fmla="*/ 71991 w 1460260"/>
                  <a:gd name="connsiteY39" fmla="*/ 853782 h 1556250"/>
                  <a:gd name="connsiteX40" fmla="*/ 81516 w 1460260"/>
                  <a:gd name="connsiteY40" fmla="*/ 813300 h 1556250"/>
                  <a:gd name="connsiteX41" fmla="*/ 95804 w 1460260"/>
                  <a:gd name="connsiteY41" fmla="*/ 806157 h 1556250"/>
                  <a:gd name="connsiteX42" fmla="*/ 112473 w 1460260"/>
                  <a:gd name="connsiteY42" fmla="*/ 799013 h 1556250"/>
                  <a:gd name="connsiteX43" fmla="*/ 121998 w 1460260"/>
                  <a:gd name="connsiteY43" fmla="*/ 801394 h 1556250"/>
                  <a:gd name="connsiteX44" fmla="*/ 129141 w 1460260"/>
                  <a:gd name="connsiteY44" fmla="*/ 806157 h 1556250"/>
                  <a:gd name="connsiteX45" fmla="*/ 136285 w 1460260"/>
                  <a:gd name="connsiteY45" fmla="*/ 808538 h 1556250"/>
                  <a:gd name="connsiteX46" fmla="*/ 141048 w 1460260"/>
                  <a:gd name="connsiteY46" fmla="*/ 815682 h 1556250"/>
                  <a:gd name="connsiteX47" fmla="*/ 148191 w 1460260"/>
                  <a:gd name="connsiteY47" fmla="*/ 822825 h 1556250"/>
                  <a:gd name="connsiteX48" fmla="*/ 155335 w 1460260"/>
                  <a:gd name="connsiteY48" fmla="*/ 837113 h 1556250"/>
                  <a:gd name="connsiteX49" fmla="*/ 162479 w 1460260"/>
                  <a:gd name="connsiteY49" fmla="*/ 841875 h 1556250"/>
                  <a:gd name="connsiteX50" fmla="*/ 167241 w 1460260"/>
                  <a:gd name="connsiteY50" fmla="*/ 849019 h 1556250"/>
                  <a:gd name="connsiteX51" fmla="*/ 179148 w 1460260"/>
                  <a:gd name="connsiteY51" fmla="*/ 860925 h 1556250"/>
                  <a:gd name="connsiteX52" fmla="*/ 179148 w 1460260"/>
                  <a:gd name="connsiteY52" fmla="*/ 877594 h 1556250"/>
                  <a:gd name="connsiteX53" fmla="*/ 172004 w 1460260"/>
                  <a:gd name="connsiteY53" fmla="*/ 884738 h 1556250"/>
                  <a:gd name="connsiteX54" fmla="*/ 162479 w 1460260"/>
                  <a:gd name="connsiteY54" fmla="*/ 899025 h 1556250"/>
                  <a:gd name="connsiteX55" fmla="*/ 157716 w 1460260"/>
                  <a:gd name="connsiteY55" fmla="*/ 913313 h 1556250"/>
                  <a:gd name="connsiteX56" fmla="*/ 155335 w 1460260"/>
                  <a:gd name="connsiteY56" fmla="*/ 920457 h 1556250"/>
                  <a:gd name="connsiteX57" fmla="*/ 150573 w 1460260"/>
                  <a:gd name="connsiteY57" fmla="*/ 960938 h 1556250"/>
                  <a:gd name="connsiteX58" fmla="*/ 145810 w 1460260"/>
                  <a:gd name="connsiteY58" fmla="*/ 968082 h 1556250"/>
                  <a:gd name="connsiteX59" fmla="*/ 138666 w 1460260"/>
                  <a:gd name="connsiteY59" fmla="*/ 972844 h 1556250"/>
                  <a:gd name="connsiteX60" fmla="*/ 141048 w 1460260"/>
                  <a:gd name="connsiteY60" fmla="*/ 1020469 h 1556250"/>
                  <a:gd name="connsiteX61" fmla="*/ 143429 w 1460260"/>
                  <a:gd name="connsiteY61" fmla="*/ 1027613 h 1556250"/>
                  <a:gd name="connsiteX62" fmla="*/ 148191 w 1460260"/>
                  <a:gd name="connsiteY62" fmla="*/ 1034757 h 1556250"/>
                  <a:gd name="connsiteX63" fmla="*/ 155335 w 1460260"/>
                  <a:gd name="connsiteY63" fmla="*/ 1041900 h 1556250"/>
                  <a:gd name="connsiteX64" fmla="*/ 172004 w 1460260"/>
                  <a:gd name="connsiteY64" fmla="*/ 1046663 h 1556250"/>
                  <a:gd name="connsiteX65" fmla="*/ 195816 w 1460260"/>
                  <a:gd name="connsiteY65" fmla="*/ 1041900 h 1556250"/>
                  <a:gd name="connsiteX66" fmla="*/ 202960 w 1460260"/>
                  <a:gd name="connsiteY66" fmla="*/ 1034757 h 1556250"/>
                  <a:gd name="connsiteX67" fmla="*/ 217248 w 1460260"/>
                  <a:gd name="connsiteY67" fmla="*/ 1025232 h 1556250"/>
                  <a:gd name="connsiteX68" fmla="*/ 224391 w 1460260"/>
                  <a:gd name="connsiteY68" fmla="*/ 1020469 h 1556250"/>
                  <a:gd name="connsiteX69" fmla="*/ 226773 w 1460260"/>
                  <a:gd name="connsiteY69" fmla="*/ 1013325 h 1556250"/>
                  <a:gd name="connsiteX70" fmla="*/ 214866 w 1460260"/>
                  <a:gd name="connsiteY70" fmla="*/ 999038 h 1556250"/>
                  <a:gd name="connsiteX71" fmla="*/ 214866 w 1460260"/>
                  <a:gd name="connsiteY71" fmla="*/ 944269 h 1556250"/>
                  <a:gd name="connsiteX72" fmla="*/ 212485 w 1460260"/>
                  <a:gd name="connsiteY72" fmla="*/ 937125 h 1556250"/>
                  <a:gd name="connsiteX73" fmla="*/ 205341 w 1460260"/>
                  <a:gd name="connsiteY73" fmla="*/ 932363 h 1556250"/>
                  <a:gd name="connsiteX74" fmla="*/ 200579 w 1460260"/>
                  <a:gd name="connsiteY74" fmla="*/ 925219 h 1556250"/>
                  <a:gd name="connsiteX75" fmla="*/ 202960 w 1460260"/>
                  <a:gd name="connsiteY75" fmla="*/ 894263 h 1556250"/>
                  <a:gd name="connsiteX76" fmla="*/ 207723 w 1460260"/>
                  <a:gd name="connsiteY76" fmla="*/ 887119 h 1556250"/>
                  <a:gd name="connsiteX77" fmla="*/ 222010 w 1460260"/>
                  <a:gd name="connsiteY77" fmla="*/ 875213 h 1556250"/>
                  <a:gd name="connsiteX78" fmla="*/ 233916 w 1460260"/>
                  <a:gd name="connsiteY78" fmla="*/ 860925 h 1556250"/>
                  <a:gd name="connsiteX79" fmla="*/ 236298 w 1460260"/>
                  <a:gd name="connsiteY79" fmla="*/ 853782 h 1556250"/>
                  <a:gd name="connsiteX80" fmla="*/ 219629 w 1460260"/>
                  <a:gd name="connsiteY80" fmla="*/ 846638 h 1556250"/>
                  <a:gd name="connsiteX81" fmla="*/ 212485 w 1460260"/>
                  <a:gd name="connsiteY81" fmla="*/ 841875 h 1556250"/>
                  <a:gd name="connsiteX82" fmla="*/ 207723 w 1460260"/>
                  <a:gd name="connsiteY82" fmla="*/ 822825 h 1556250"/>
                  <a:gd name="connsiteX83" fmla="*/ 205341 w 1460260"/>
                  <a:gd name="connsiteY83" fmla="*/ 768057 h 1556250"/>
                  <a:gd name="connsiteX84" fmla="*/ 191054 w 1460260"/>
                  <a:gd name="connsiteY84" fmla="*/ 763294 h 1556250"/>
                  <a:gd name="connsiteX85" fmla="*/ 181529 w 1460260"/>
                  <a:gd name="connsiteY85" fmla="*/ 760913 h 1556250"/>
                  <a:gd name="connsiteX86" fmla="*/ 150573 w 1460260"/>
                  <a:gd name="connsiteY86" fmla="*/ 756150 h 1556250"/>
                  <a:gd name="connsiteX87" fmla="*/ 131523 w 1460260"/>
                  <a:gd name="connsiteY87" fmla="*/ 751388 h 1556250"/>
                  <a:gd name="connsiteX88" fmla="*/ 129141 w 1460260"/>
                  <a:gd name="connsiteY88" fmla="*/ 741863 h 1556250"/>
                  <a:gd name="connsiteX89" fmla="*/ 133904 w 1460260"/>
                  <a:gd name="connsiteY89" fmla="*/ 713288 h 1556250"/>
                  <a:gd name="connsiteX90" fmla="*/ 141048 w 1460260"/>
                  <a:gd name="connsiteY90" fmla="*/ 699000 h 1556250"/>
                  <a:gd name="connsiteX91" fmla="*/ 138666 w 1460260"/>
                  <a:gd name="connsiteY91" fmla="*/ 668044 h 1556250"/>
                  <a:gd name="connsiteX92" fmla="*/ 131523 w 1460260"/>
                  <a:gd name="connsiteY92" fmla="*/ 665663 h 1556250"/>
                  <a:gd name="connsiteX93" fmla="*/ 124379 w 1460260"/>
                  <a:gd name="connsiteY93" fmla="*/ 658519 h 1556250"/>
                  <a:gd name="connsiteX94" fmla="*/ 117235 w 1460260"/>
                  <a:gd name="connsiteY94" fmla="*/ 653757 h 1556250"/>
                  <a:gd name="connsiteX95" fmla="*/ 110091 w 1460260"/>
                  <a:gd name="connsiteY95" fmla="*/ 629944 h 1556250"/>
                  <a:gd name="connsiteX96" fmla="*/ 112473 w 1460260"/>
                  <a:gd name="connsiteY96" fmla="*/ 608513 h 1556250"/>
                  <a:gd name="connsiteX97" fmla="*/ 119616 w 1460260"/>
                  <a:gd name="connsiteY97" fmla="*/ 603750 h 1556250"/>
                  <a:gd name="connsiteX98" fmla="*/ 138666 w 1460260"/>
                  <a:gd name="connsiteY98" fmla="*/ 601369 h 1556250"/>
                  <a:gd name="connsiteX99" fmla="*/ 162479 w 1460260"/>
                  <a:gd name="connsiteY99" fmla="*/ 584700 h 1556250"/>
                  <a:gd name="connsiteX100" fmla="*/ 176766 w 1460260"/>
                  <a:gd name="connsiteY100" fmla="*/ 579938 h 1556250"/>
                  <a:gd name="connsiteX101" fmla="*/ 229154 w 1460260"/>
                  <a:gd name="connsiteY101" fmla="*/ 582319 h 1556250"/>
                  <a:gd name="connsiteX102" fmla="*/ 241060 w 1460260"/>
                  <a:gd name="connsiteY102" fmla="*/ 584700 h 1556250"/>
                  <a:gd name="connsiteX103" fmla="*/ 383935 w 1460260"/>
                  <a:gd name="connsiteY103" fmla="*/ 582319 h 1556250"/>
                  <a:gd name="connsiteX104" fmla="*/ 395841 w 1460260"/>
                  <a:gd name="connsiteY104" fmla="*/ 560888 h 1556250"/>
                  <a:gd name="connsiteX105" fmla="*/ 391079 w 1460260"/>
                  <a:gd name="connsiteY105" fmla="*/ 537075 h 1556250"/>
                  <a:gd name="connsiteX106" fmla="*/ 386316 w 1460260"/>
                  <a:gd name="connsiteY106" fmla="*/ 529932 h 1556250"/>
                  <a:gd name="connsiteX107" fmla="*/ 374410 w 1460260"/>
                  <a:gd name="connsiteY107" fmla="*/ 513263 h 1556250"/>
                  <a:gd name="connsiteX108" fmla="*/ 364885 w 1460260"/>
                  <a:gd name="connsiteY108" fmla="*/ 496594 h 1556250"/>
                  <a:gd name="connsiteX109" fmla="*/ 362504 w 1460260"/>
                  <a:gd name="connsiteY109" fmla="*/ 489450 h 1556250"/>
                  <a:gd name="connsiteX110" fmla="*/ 357741 w 1460260"/>
                  <a:gd name="connsiteY110" fmla="*/ 482307 h 1556250"/>
                  <a:gd name="connsiteX111" fmla="*/ 352979 w 1460260"/>
                  <a:gd name="connsiteY111" fmla="*/ 468019 h 1556250"/>
                  <a:gd name="connsiteX112" fmla="*/ 364885 w 1460260"/>
                  <a:gd name="connsiteY112" fmla="*/ 441825 h 1556250"/>
                  <a:gd name="connsiteX113" fmla="*/ 372029 w 1460260"/>
                  <a:gd name="connsiteY113" fmla="*/ 437063 h 1556250"/>
                  <a:gd name="connsiteX114" fmla="*/ 393460 w 1460260"/>
                  <a:gd name="connsiteY114" fmla="*/ 418013 h 1556250"/>
                  <a:gd name="connsiteX115" fmla="*/ 407748 w 1460260"/>
                  <a:gd name="connsiteY115" fmla="*/ 413250 h 1556250"/>
                  <a:gd name="connsiteX116" fmla="*/ 414891 w 1460260"/>
                  <a:gd name="connsiteY116" fmla="*/ 410869 h 1556250"/>
                  <a:gd name="connsiteX117" fmla="*/ 429179 w 1460260"/>
                  <a:gd name="connsiteY117" fmla="*/ 401344 h 1556250"/>
                  <a:gd name="connsiteX118" fmla="*/ 436323 w 1460260"/>
                  <a:gd name="connsiteY118" fmla="*/ 396582 h 1556250"/>
                  <a:gd name="connsiteX119" fmla="*/ 445848 w 1460260"/>
                  <a:gd name="connsiteY119" fmla="*/ 389438 h 1556250"/>
                  <a:gd name="connsiteX120" fmla="*/ 455373 w 1460260"/>
                  <a:gd name="connsiteY120" fmla="*/ 384675 h 1556250"/>
                  <a:gd name="connsiteX121" fmla="*/ 469660 w 1460260"/>
                  <a:gd name="connsiteY121" fmla="*/ 375150 h 1556250"/>
                  <a:gd name="connsiteX122" fmla="*/ 486329 w 1460260"/>
                  <a:gd name="connsiteY122" fmla="*/ 363244 h 1556250"/>
                  <a:gd name="connsiteX123" fmla="*/ 500616 w 1460260"/>
                  <a:gd name="connsiteY123" fmla="*/ 351338 h 1556250"/>
                  <a:gd name="connsiteX124" fmla="*/ 522048 w 1460260"/>
                  <a:gd name="connsiteY124" fmla="*/ 334669 h 1556250"/>
                  <a:gd name="connsiteX125" fmla="*/ 543479 w 1460260"/>
                  <a:gd name="connsiteY125" fmla="*/ 327525 h 1556250"/>
                  <a:gd name="connsiteX126" fmla="*/ 550623 w 1460260"/>
                  <a:gd name="connsiteY126" fmla="*/ 325144 h 1556250"/>
                  <a:gd name="connsiteX127" fmla="*/ 560148 w 1460260"/>
                  <a:gd name="connsiteY127" fmla="*/ 322763 h 1556250"/>
                  <a:gd name="connsiteX128" fmla="*/ 567291 w 1460260"/>
                  <a:gd name="connsiteY128" fmla="*/ 320382 h 1556250"/>
                  <a:gd name="connsiteX129" fmla="*/ 583960 w 1460260"/>
                  <a:gd name="connsiteY129" fmla="*/ 318000 h 1556250"/>
                  <a:gd name="connsiteX130" fmla="*/ 593485 w 1460260"/>
                  <a:gd name="connsiteY130" fmla="*/ 310857 h 1556250"/>
                  <a:gd name="connsiteX131" fmla="*/ 600629 w 1460260"/>
                  <a:gd name="connsiteY131" fmla="*/ 306094 h 1556250"/>
                  <a:gd name="connsiteX132" fmla="*/ 610154 w 1460260"/>
                  <a:gd name="connsiteY132" fmla="*/ 291807 h 1556250"/>
                  <a:gd name="connsiteX133" fmla="*/ 612535 w 1460260"/>
                  <a:gd name="connsiteY133" fmla="*/ 277519 h 1556250"/>
                  <a:gd name="connsiteX134" fmla="*/ 614916 w 1460260"/>
                  <a:gd name="connsiteY134" fmla="*/ 265613 h 1556250"/>
                  <a:gd name="connsiteX135" fmla="*/ 617298 w 1460260"/>
                  <a:gd name="connsiteY135" fmla="*/ 258469 h 1556250"/>
                  <a:gd name="connsiteX136" fmla="*/ 626823 w 1460260"/>
                  <a:gd name="connsiteY136" fmla="*/ 256088 h 1556250"/>
                  <a:gd name="connsiteX137" fmla="*/ 672066 w 1460260"/>
                  <a:gd name="connsiteY137" fmla="*/ 253707 h 1556250"/>
                  <a:gd name="connsiteX138" fmla="*/ 679210 w 1460260"/>
                  <a:gd name="connsiteY138" fmla="*/ 251325 h 1556250"/>
                  <a:gd name="connsiteX139" fmla="*/ 686354 w 1460260"/>
                  <a:gd name="connsiteY139" fmla="*/ 244182 h 1556250"/>
                  <a:gd name="connsiteX140" fmla="*/ 693498 w 1460260"/>
                  <a:gd name="connsiteY140" fmla="*/ 239419 h 1556250"/>
                  <a:gd name="connsiteX141" fmla="*/ 710166 w 1460260"/>
                  <a:gd name="connsiteY141" fmla="*/ 241800 h 1556250"/>
                  <a:gd name="connsiteX142" fmla="*/ 714929 w 1460260"/>
                  <a:gd name="connsiteY142" fmla="*/ 248944 h 1556250"/>
                  <a:gd name="connsiteX143" fmla="*/ 717310 w 1460260"/>
                  <a:gd name="connsiteY143" fmla="*/ 275138 h 1556250"/>
                  <a:gd name="connsiteX144" fmla="*/ 724454 w 1460260"/>
                  <a:gd name="connsiteY144" fmla="*/ 277519 h 1556250"/>
                  <a:gd name="connsiteX145" fmla="*/ 731598 w 1460260"/>
                  <a:gd name="connsiteY145" fmla="*/ 275138 h 1556250"/>
                  <a:gd name="connsiteX146" fmla="*/ 748266 w 1460260"/>
                  <a:gd name="connsiteY146" fmla="*/ 260850 h 1556250"/>
                  <a:gd name="connsiteX147" fmla="*/ 753029 w 1460260"/>
                  <a:gd name="connsiteY147" fmla="*/ 253707 h 1556250"/>
                  <a:gd name="connsiteX148" fmla="*/ 760173 w 1460260"/>
                  <a:gd name="connsiteY148" fmla="*/ 248944 h 1556250"/>
                  <a:gd name="connsiteX149" fmla="*/ 767316 w 1460260"/>
                  <a:gd name="connsiteY149" fmla="*/ 241800 h 1556250"/>
                  <a:gd name="connsiteX150" fmla="*/ 781604 w 1460260"/>
                  <a:gd name="connsiteY150" fmla="*/ 244182 h 1556250"/>
                  <a:gd name="connsiteX151" fmla="*/ 788748 w 1460260"/>
                  <a:gd name="connsiteY151" fmla="*/ 246563 h 1556250"/>
                  <a:gd name="connsiteX152" fmla="*/ 829229 w 1460260"/>
                  <a:gd name="connsiteY152" fmla="*/ 244182 h 1556250"/>
                  <a:gd name="connsiteX153" fmla="*/ 826848 w 1460260"/>
                  <a:gd name="connsiteY153" fmla="*/ 237038 h 1556250"/>
                  <a:gd name="connsiteX154" fmla="*/ 814941 w 1460260"/>
                  <a:gd name="connsiteY154" fmla="*/ 222750 h 1556250"/>
                  <a:gd name="connsiteX155" fmla="*/ 800654 w 1460260"/>
                  <a:gd name="connsiteY155" fmla="*/ 213225 h 1556250"/>
                  <a:gd name="connsiteX156" fmla="*/ 810179 w 1460260"/>
                  <a:gd name="connsiteY156" fmla="*/ 194175 h 1556250"/>
                  <a:gd name="connsiteX157" fmla="*/ 817323 w 1460260"/>
                  <a:gd name="connsiteY157" fmla="*/ 189413 h 1556250"/>
                  <a:gd name="connsiteX158" fmla="*/ 824466 w 1460260"/>
                  <a:gd name="connsiteY158" fmla="*/ 187032 h 1556250"/>
                  <a:gd name="connsiteX159" fmla="*/ 836373 w 1460260"/>
                  <a:gd name="connsiteY159" fmla="*/ 184650 h 1556250"/>
                  <a:gd name="connsiteX160" fmla="*/ 850660 w 1460260"/>
                  <a:gd name="connsiteY160" fmla="*/ 179888 h 1556250"/>
                  <a:gd name="connsiteX161" fmla="*/ 860185 w 1460260"/>
                  <a:gd name="connsiteY161" fmla="*/ 165600 h 1556250"/>
                  <a:gd name="connsiteX162" fmla="*/ 862566 w 1460260"/>
                  <a:gd name="connsiteY162" fmla="*/ 89400 h 1556250"/>
                  <a:gd name="connsiteX163" fmla="*/ 864948 w 1460260"/>
                  <a:gd name="connsiteY163" fmla="*/ 79875 h 1556250"/>
                  <a:gd name="connsiteX164" fmla="*/ 893523 w 1460260"/>
                  <a:gd name="connsiteY164" fmla="*/ 67969 h 1556250"/>
                  <a:gd name="connsiteX165" fmla="*/ 898285 w 1460260"/>
                  <a:gd name="connsiteY165" fmla="*/ 41775 h 1556250"/>
                  <a:gd name="connsiteX166" fmla="*/ 900666 w 1460260"/>
                  <a:gd name="connsiteY166" fmla="*/ 34632 h 1556250"/>
                  <a:gd name="connsiteX167" fmla="*/ 914954 w 1460260"/>
                  <a:gd name="connsiteY167" fmla="*/ 20344 h 1556250"/>
                  <a:gd name="connsiteX168" fmla="*/ 929241 w 1460260"/>
                  <a:gd name="connsiteY168" fmla="*/ 13200 h 1556250"/>
                  <a:gd name="connsiteX169" fmla="*/ 936385 w 1460260"/>
                  <a:gd name="connsiteY169" fmla="*/ 8438 h 1556250"/>
                  <a:gd name="connsiteX170" fmla="*/ 950673 w 1460260"/>
                  <a:gd name="connsiteY170" fmla="*/ 3675 h 1556250"/>
                  <a:gd name="connsiteX171" fmla="*/ 993535 w 1460260"/>
                  <a:gd name="connsiteY171" fmla="*/ 10819 h 1556250"/>
                  <a:gd name="connsiteX172" fmla="*/ 995916 w 1460260"/>
                  <a:gd name="connsiteY172" fmla="*/ 17963 h 1556250"/>
                  <a:gd name="connsiteX173" fmla="*/ 986391 w 1460260"/>
                  <a:gd name="connsiteY173" fmla="*/ 29869 h 1556250"/>
                  <a:gd name="connsiteX174" fmla="*/ 984010 w 1460260"/>
                  <a:gd name="connsiteY174" fmla="*/ 37013 h 1556250"/>
                  <a:gd name="connsiteX175" fmla="*/ 976866 w 1460260"/>
                  <a:gd name="connsiteY175" fmla="*/ 51300 h 1556250"/>
                  <a:gd name="connsiteX176" fmla="*/ 1026873 w 1460260"/>
                  <a:gd name="connsiteY176" fmla="*/ 65588 h 1556250"/>
                  <a:gd name="connsiteX177" fmla="*/ 1031635 w 1460260"/>
                  <a:gd name="connsiteY177" fmla="*/ 72732 h 1556250"/>
                  <a:gd name="connsiteX178" fmla="*/ 1038779 w 1460260"/>
                  <a:gd name="connsiteY178" fmla="*/ 87019 h 1556250"/>
                  <a:gd name="connsiteX179" fmla="*/ 1041160 w 1460260"/>
                  <a:gd name="connsiteY179" fmla="*/ 94163 h 1556250"/>
                  <a:gd name="connsiteX180" fmla="*/ 1043541 w 1460260"/>
                  <a:gd name="connsiteY180" fmla="*/ 125119 h 1556250"/>
                  <a:gd name="connsiteX181" fmla="*/ 1053066 w 1460260"/>
                  <a:gd name="connsiteY181" fmla="*/ 127500 h 1556250"/>
                  <a:gd name="connsiteX182" fmla="*/ 1079260 w 1460260"/>
                  <a:gd name="connsiteY182" fmla="*/ 120357 h 1556250"/>
                  <a:gd name="connsiteX183" fmla="*/ 1081641 w 1460260"/>
                  <a:gd name="connsiteY183" fmla="*/ 113213 h 1556250"/>
                  <a:gd name="connsiteX184" fmla="*/ 1084023 w 1460260"/>
                  <a:gd name="connsiteY184" fmla="*/ 91782 h 1556250"/>
                  <a:gd name="connsiteX185" fmla="*/ 1091166 w 1460260"/>
                  <a:gd name="connsiteY185" fmla="*/ 89400 h 1556250"/>
                  <a:gd name="connsiteX186" fmla="*/ 1129266 w 1460260"/>
                  <a:gd name="connsiteY186" fmla="*/ 87019 h 1556250"/>
                  <a:gd name="connsiteX187" fmla="*/ 1134029 w 1460260"/>
                  <a:gd name="connsiteY187" fmla="*/ 77494 h 1556250"/>
                  <a:gd name="connsiteX188" fmla="*/ 1143554 w 1460260"/>
                  <a:gd name="connsiteY188" fmla="*/ 75113 h 1556250"/>
                  <a:gd name="connsiteX189" fmla="*/ 1188798 w 1460260"/>
                  <a:gd name="connsiteY189" fmla="*/ 77494 h 1556250"/>
                  <a:gd name="connsiteX190" fmla="*/ 1193560 w 1460260"/>
                  <a:gd name="connsiteY190" fmla="*/ 91782 h 1556250"/>
                  <a:gd name="connsiteX191" fmla="*/ 1200704 w 1460260"/>
                  <a:gd name="connsiteY191" fmla="*/ 96544 h 1556250"/>
                  <a:gd name="connsiteX192" fmla="*/ 1224516 w 1460260"/>
                  <a:gd name="connsiteY192" fmla="*/ 106069 h 1556250"/>
                  <a:gd name="connsiteX193" fmla="*/ 1238804 w 1460260"/>
                  <a:gd name="connsiteY193" fmla="*/ 117975 h 1556250"/>
                  <a:gd name="connsiteX194" fmla="*/ 1253091 w 1460260"/>
                  <a:gd name="connsiteY194" fmla="*/ 127500 h 1556250"/>
                  <a:gd name="connsiteX195" fmla="*/ 1260235 w 1460260"/>
                  <a:gd name="connsiteY195" fmla="*/ 132263 h 1556250"/>
                  <a:gd name="connsiteX196" fmla="*/ 1274523 w 1460260"/>
                  <a:gd name="connsiteY196" fmla="*/ 137025 h 1556250"/>
                  <a:gd name="connsiteX197" fmla="*/ 1281666 w 1460260"/>
                  <a:gd name="connsiteY197" fmla="*/ 141788 h 1556250"/>
                  <a:gd name="connsiteX198" fmla="*/ 1279285 w 1460260"/>
                  <a:gd name="connsiteY198" fmla="*/ 189413 h 1556250"/>
                  <a:gd name="connsiteX199" fmla="*/ 1274523 w 1460260"/>
                  <a:gd name="connsiteY199" fmla="*/ 210844 h 1556250"/>
                  <a:gd name="connsiteX200" fmla="*/ 1269760 w 1460260"/>
                  <a:gd name="connsiteY200" fmla="*/ 217988 h 1556250"/>
                  <a:gd name="connsiteX201" fmla="*/ 1264998 w 1460260"/>
                  <a:gd name="connsiteY201" fmla="*/ 232275 h 1556250"/>
                  <a:gd name="connsiteX202" fmla="*/ 1260235 w 1460260"/>
                  <a:gd name="connsiteY202" fmla="*/ 251325 h 1556250"/>
                  <a:gd name="connsiteX203" fmla="*/ 1257854 w 1460260"/>
                  <a:gd name="connsiteY203" fmla="*/ 263232 h 1556250"/>
                  <a:gd name="connsiteX204" fmla="*/ 1248329 w 1460260"/>
                  <a:gd name="connsiteY204" fmla="*/ 296569 h 1556250"/>
                  <a:gd name="connsiteX205" fmla="*/ 1231660 w 1460260"/>
                  <a:gd name="connsiteY205" fmla="*/ 320382 h 1556250"/>
                  <a:gd name="connsiteX206" fmla="*/ 1226898 w 1460260"/>
                  <a:gd name="connsiteY206" fmla="*/ 327525 h 1556250"/>
                  <a:gd name="connsiteX207" fmla="*/ 1222135 w 1460260"/>
                  <a:gd name="connsiteY207" fmla="*/ 334669 h 1556250"/>
                  <a:gd name="connsiteX208" fmla="*/ 1212610 w 1460260"/>
                  <a:gd name="connsiteY208" fmla="*/ 356100 h 1556250"/>
                  <a:gd name="connsiteX209" fmla="*/ 1203085 w 1460260"/>
                  <a:gd name="connsiteY209" fmla="*/ 377532 h 1556250"/>
                  <a:gd name="connsiteX210" fmla="*/ 1195941 w 1460260"/>
                  <a:gd name="connsiteY210" fmla="*/ 391819 h 1556250"/>
                  <a:gd name="connsiteX211" fmla="*/ 1186416 w 1460260"/>
                  <a:gd name="connsiteY211" fmla="*/ 408488 h 1556250"/>
                  <a:gd name="connsiteX212" fmla="*/ 1176891 w 1460260"/>
                  <a:gd name="connsiteY212" fmla="*/ 427538 h 1556250"/>
                  <a:gd name="connsiteX213" fmla="*/ 1169748 w 1460260"/>
                  <a:gd name="connsiteY213" fmla="*/ 444207 h 1556250"/>
                  <a:gd name="connsiteX214" fmla="*/ 1164985 w 1460260"/>
                  <a:gd name="connsiteY214" fmla="*/ 451350 h 1556250"/>
                  <a:gd name="connsiteX215" fmla="*/ 1153079 w 1460260"/>
                  <a:gd name="connsiteY215" fmla="*/ 468019 h 1556250"/>
                  <a:gd name="connsiteX216" fmla="*/ 1148316 w 1460260"/>
                  <a:gd name="connsiteY216" fmla="*/ 482307 h 1556250"/>
                  <a:gd name="connsiteX217" fmla="*/ 1138791 w 1460260"/>
                  <a:gd name="connsiteY217" fmla="*/ 498975 h 1556250"/>
                  <a:gd name="connsiteX218" fmla="*/ 1131648 w 1460260"/>
                  <a:gd name="connsiteY218" fmla="*/ 520407 h 1556250"/>
                  <a:gd name="connsiteX219" fmla="*/ 1129266 w 1460260"/>
                  <a:gd name="connsiteY219" fmla="*/ 527550 h 1556250"/>
                  <a:gd name="connsiteX220" fmla="*/ 1119741 w 1460260"/>
                  <a:gd name="connsiteY220" fmla="*/ 541838 h 1556250"/>
                  <a:gd name="connsiteX221" fmla="*/ 1117360 w 1460260"/>
                  <a:gd name="connsiteY221" fmla="*/ 548982 h 1556250"/>
                  <a:gd name="connsiteX222" fmla="*/ 1107835 w 1460260"/>
                  <a:gd name="connsiteY222" fmla="*/ 563269 h 1556250"/>
                  <a:gd name="connsiteX223" fmla="*/ 1098310 w 1460260"/>
                  <a:gd name="connsiteY223" fmla="*/ 584700 h 1556250"/>
                  <a:gd name="connsiteX224" fmla="*/ 1093548 w 1460260"/>
                  <a:gd name="connsiteY224" fmla="*/ 598988 h 1556250"/>
                  <a:gd name="connsiteX225" fmla="*/ 1091166 w 1460260"/>
                  <a:gd name="connsiteY225" fmla="*/ 606132 h 1556250"/>
                  <a:gd name="connsiteX226" fmla="*/ 1093548 w 1460260"/>
                  <a:gd name="connsiteY226" fmla="*/ 615657 h 1556250"/>
                  <a:gd name="connsiteX227" fmla="*/ 1107835 w 1460260"/>
                  <a:gd name="connsiteY227" fmla="*/ 620419 h 1556250"/>
                  <a:gd name="connsiteX228" fmla="*/ 1114979 w 1460260"/>
                  <a:gd name="connsiteY228" fmla="*/ 625182 h 1556250"/>
                  <a:gd name="connsiteX229" fmla="*/ 1124504 w 1460260"/>
                  <a:gd name="connsiteY229" fmla="*/ 639469 h 1556250"/>
                  <a:gd name="connsiteX230" fmla="*/ 1141173 w 1460260"/>
                  <a:gd name="connsiteY230" fmla="*/ 637088 h 1556250"/>
                  <a:gd name="connsiteX231" fmla="*/ 1148316 w 1460260"/>
                  <a:gd name="connsiteY231" fmla="*/ 634707 h 1556250"/>
                  <a:gd name="connsiteX232" fmla="*/ 1153079 w 1460260"/>
                  <a:gd name="connsiteY232" fmla="*/ 627563 h 1556250"/>
                  <a:gd name="connsiteX233" fmla="*/ 1160223 w 1460260"/>
                  <a:gd name="connsiteY233" fmla="*/ 622800 h 1556250"/>
                  <a:gd name="connsiteX234" fmla="*/ 1164985 w 1460260"/>
                  <a:gd name="connsiteY234" fmla="*/ 615657 h 1556250"/>
                  <a:gd name="connsiteX235" fmla="*/ 1179273 w 1460260"/>
                  <a:gd name="connsiteY235" fmla="*/ 606132 h 1556250"/>
                  <a:gd name="connsiteX236" fmla="*/ 1193560 w 1460260"/>
                  <a:gd name="connsiteY236" fmla="*/ 598988 h 1556250"/>
                  <a:gd name="connsiteX237" fmla="*/ 1200704 w 1460260"/>
                  <a:gd name="connsiteY237" fmla="*/ 594225 h 1556250"/>
                  <a:gd name="connsiteX238" fmla="*/ 1224516 w 1460260"/>
                  <a:gd name="connsiteY238" fmla="*/ 572794 h 1556250"/>
                  <a:gd name="connsiteX239" fmla="*/ 1234041 w 1460260"/>
                  <a:gd name="connsiteY239" fmla="*/ 558507 h 1556250"/>
                  <a:gd name="connsiteX240" fmla="*/ 1243566 w 1460260"/>
                  <a:gd name="connsiteY240" fmla="*/ 548982 h 1556250"/>
                  <a:gd name="connsiteX241" fmla="*/ 1255473 w 1460260"/>
                  <a:gd name="connsiteY241" fmla="*/ 534694 h 1556250"/>
                  <a:gd name="connsiteX242" fmla="*/ 1269760 w 1460260"/>
                  <a:gd name="connsiteY242" fmla="*/ 525169 h 1556250"/>
                  <a:gd name="connsiteX243" fmla="*/ 1284048 w 1460260"/>
                  <a:gd name="connsiteY243" fmla="*/ 510882 h 1556250"/>
                  <a:gd name="connsiteX244" fmla="*/ 1291191 w 1460260"/>
                  <a:gd name="connsiteY244" fmla="*/ 503738 h 1556250"/>
                  <a:gd name="connsiteX245" fmla="*/ 1298335 w 1460260"/>
                  <a:gd name="connsiteY245" fmla="*/ 496594 h 1556250"/>
                  <a:gd name="connsiteX246" fmla="*/ 1310241 w 1460260"/>
                  <a:gd name="connsiteY246" fmla="*/ 498975 h 1556250"/>
                  <a:gd name="connsiteX247" fmla="*/ 1322148 w 1460260"/>
                  <a:gd name="connsiteY247" fmla="*/ 515644 h 1556250"/>
                  <a:gd name="connsiteX248" fmla="*/ 1326910 w 1460260"/>
                  <a:gd name="connsiteY248" fmla="*/ 537075 h 1556250"/>
                  <a:gd name="connsiteX249" fmla="*/ 1334054 w 1460260"/>
                  <a:gd name="connsiteY249" fmla="*/ 577557 h 1556250"/>
                  <a:gd name="connsiteX250" fmla="*/ 1341198 w 1460260"/>
                  <a:gd name="connsiteY250" fmla="*/ 591844 h 1556250"/>
                  <a:gd name="connsiteX251" fmla="*/ 1350723 w 1460260"/>
                  <a:gd name="connsiteY251" fmla="*/ 606132 h 1556250"/>
                  <a:gd name="connsiteX252" fmla="*/ 1353104 w 1460260"/>
                  <a:gd name="connsiteY252" fmla="*/ 613275 h 1556250"/>
                  <a:gd name="connsiteX253" fmla="*/ 1357866 w 1460260"/>
                  <a:gd name="connsiteY253" fmla="*/ 620419 h 1556250"/>
                  <a:gd name="connsiteX254" fmla="*/ 1372154 w 1460260"/>
                  <a:gd name="connsiteY254" fmla="*/ 639469 h 1556250"/>
                  <a:gd name="connsiteX255" fmla="*/ 1376916 w 1460260"/>
                  <a:gd name="connsiteY255" fmla="*/ 646613 h 1556250"/>
                  <a:gd name="connsiteX256" fmla="*/ 1386441 w 1460260"/>
                  <a:gd name="connsiteY256" fmla="*/ 651375 h 1556250"/>
                  <a:gd name="connsiteX257" fmla="*/ 1400729 w 1460260"/>
                  <a:gd name="connsiteY257" fmla="*/ 660900 h 1556250"/>
                  <a:gd name="connsiteX258" fmla="*/ 1407873 w 1460260"/>
                  <a:gd name="connsiteY258" fmla="*/ 668044 h 1556250"/>
                  <a:gd name="connsiteX259" fmla="*/ 1429304 w 1460260"/>
                  <a:gd name="connsiteY259" fmla="*/ 684713 h 1556250"/>
                  <a:gd name="connsiteX260" fmla="*/ 1434066 w 1460260"/>
                  <a:gd name="connsiteY260" fmla="*/ 694238 h 1556250"/>
                  <a:gd name="connsiteX261" fmla="*/ 1441210 w 1460260"/>
                  <a:gd name="connsiteY261" fmla="*/ 701382 h 1556250"/>
                  <a:gd name="connsiteX262" fmla="*/ 1450735 w 1460260"/>
                  <a:gd name="connsiteY262" fmla="*/ 713288 h 1556250"/>
                  <a:gd name="connsiteX263" fmla="*/ 1453116 w 1460260"/>
                  <a:gd name="connsiteY263" fmla="*/ 720432 h 1556250"/>
                  <a:gd name="connsiteX264" fmla="*/ 1460260 w 1460260"/>
                  <a:gd name="connsiteY264" fmla="*/ 751388 h 1556250"/>
                  <a:gd name="connsiteX265" fmla="*/ 1457879 w 1460260"/>
                  <a:gd name="connsiteY265" fmla="*/ 799013 h 1556250"/>
                  <a:gd name="connsiteX266" fmla="*/ 1445973 w 1460260"/>
                  <a:gd name="connsiteY266" fmla="*/ 813300 h 1556250"/>
                  <a:gd name="connsiteX267" fmla="*/ 1431685 w 1460260"/>
                  <a:gd name="connsiteY267" fmla="*/ 829969 h 1556250"/>
                  <a:gd name="connsiteX268" fmla="*/ 1429304 w 1460260"/>
                  <a:gd name="connsiteY268" fmla="*/ 837113 h 1556250"/>
                  <a:gd name="connsiteX269" fmla="*/ 1419779 w 1460260"/>
                  <a:gd name="connsiteY269" fmla="*/ 851400 h 1556250"/>
                  <a:gd name="connsiteX270" fmla="*/ 1412635 w 1460260"/>
                  <a:gd name="connsiteY270" fmla="*/ 870450 h 1556250"/>
                  <a:gd name="connsiteX271" fmla="*/ 1405491 w 1460260"/>
                  <a:gd name="connsiteY271" fmla="*/ 894263 h 1556250"/>
                  <a:gd name="connsiteX272" fmla="*/ 1403110 w 1460260"/>
                  <a:gd name="connsiteY272" fmla="*/ 918075 h 1556250"/>
                  <a:gd name="connsiteX273" fmla="*/ 1398348 w 1460260"/>
                  <a:gd name="connsiteY273" fmla="*/ 968082 h 1556250"/>
                  <a:gd name="connsiteX274" fmla="*/ 1395966 w 1460260"/>
                  <a:gd name="connsiteY274" fmla="*/ 975225 h 1556250"/>
                  <a:gd name="connsiteX275" fmla="*/ 1386441 w 1460260"/>
                  <a:gd name="connsiteY275" fmla="*/ 989513 h 1556250"/>
                  <a:gd name="connsiteX276" fmla="*/ 1372154 w 1460260"/>
                  <a:gd name="connsiteY276" fmla="*/ 999038 h 1556250"/>
                  <a:gd name="connsiteX277" fmla="*/ 1365010 w 1460260"/>
                  <a:gd name="connsiteY277" fmla="*/ 1003800 h 1556250"/>
                  <a:gd name="connsiteX278" fmla="*/ 1350723 w 1460260"/>
                  <a:gd name="connsiteY278" fmla="*/ 1008563 h 1556250"/>
                  <a:gd name="connsiteX279" fmla="*/ 1343579 w 1460260"/>
                  <a:gd name="connsiteY279" fmla="*/ 1010944 h 1556250"/>
                  <a:gd name="connsiteX280" fmla="*/ 1336435 w 1460260"/>
                  <a:gd name="connsiteY280" fmla="*/ 1013325 h 1556250"/>
                  <a:gd name="connsiteX281" fmla="*/ 1319766 w 1460260"/>
                  <a:gd name="connsiteY281" fmla="*/ 1029994 h 1556250"/>
                  <a:gd name="connsiteX282" fmla="*/ 1312623 w 1460260"/>
                  <a:gd name="connsiteY282" fmla="*/ 1037138 h 1556250"/>
                  <a:gd name="connsiteX283" fmla="*/ 1307860 w 1460260"/>
                  <a:gd name="connsiteY283" fmla="*/ 1044282 h 1556250"/>
                  <a:gd name="connsiteX284" fmla="*/ 1300716 w 1460260"/>
                  <a:gd name="connsiteY284" fmla="*/ 1051425 h 1556250"/>
                  <a:gd name="connsiteX285" fmla="*/ 1295954 w 1460260"/>
                  <a:gd name="connsiteY285" fmla="*/ 1058569 h 1556250"/>
                  <a:gd name="connsiteX286" fmla="*/ 1291191 w 1460260"/>
                  <a:gd name="connsiteY286" fmla="*/ 1072857 h 1556250"/>
                  <a:gd name="connsiteX287" fmla="*/ 1293573 w 1460260"/>
                  <a:gd name="connsiteY287" fmla="*/ 1132388 h 1556250"/>
                  <a:gd name="connsiteX288" fmla="*/ 1298335 w 1460260"/>
                  <a:gd name="connsiteY288" fmla="*/ 1139532 h 1556250"/>
                  <a:gd name="connsiteX289" fmla="*/ 1312623 w 1460260"/>
                  <a:gd name="connsiteY289" fmla="*/ 1153819 h 1556250"/>
                  <a:gd name="connsiteX290" fmla="*/ 1319766 w 1460260"/>
                  <a:gd name="connsiteY290" fmla="*/ 1168107 h 1556250"/>
                  <a:gd name="connsiteX291" fmla="*/ 1324529 w 1460260"/>
                  <a:gd name="connsiteY291" fmla="*/ 1182394 h 1556250"/>
                  <a:gd name="connsiteX292" fmla="*/ 1326910 w 1460260"/>
                  <a:gd name="connsiteY292" fmla="*/ 1189538 h 1556250"/>
                  <a:gd name="connsiteX293" fmla="*/ 1329291 w 1460260"/>
                  <a:gd name="connsiteY293" fmla="*/ 1196682 h 1556250"/>
                  <a:gd name="connsiteX294" fmla="*/ 1331673 w 1460260"/>
                  <a:gd name="connsiteY294" fmla="*/ 1206207 h 1556250"/>
                  <a:gd name="connsiteX295" fmla="*/ 1331673 w 1460260"/>
                  <a:gd name="connsiteY295" fmla="*/ 1389563 h 1556250"/>
                  <a:gd name="connsiteX296" fmla="*/ 1338816 w 1460260"/>
                  <a:gd name="connsiteY296" fmla="*/ 1422900 h 1556250"/>
                  <a:gd name="connsiteX297" fmla="*/ 1345960 w 1460260"/>
                  <a:gd name="connsiteY297" fmla="*/ 1427663 h 1556250"/>
                  <a:gd name="connsiteX298" fmla="*/ 1355485 w 1460260"/>
                  <a:gd name="connsiteY298" fmla="*/ 1441950 h 1556250"/>
                  <a:gd name="connsiteX299" fmla="*/ 1360248 w 1460260"/>
                  <a:gd name="connsiteY299" fmla="*/ 1449094 h 1556250"/>
                  <a:gd name="connsiteX300" fmla="*/ 1362629 w 1460260"/>
                  <a:gd name="connsiteY300" fmla="*/ 1458619 h 1556250"/>
                  <a:gd name="connsiteX301" fmla="*/ 1365010 w 1460260"/>
                  <a:gd name="connsiteY301" fmla="*/ 1472907 h 1556250"/>
                  <a:gd name="connsiteX302" fmla="*/ 1369773 w 1460260"/>
                  <a:gd name="connsiteY302" fmla="*/ 1487194 h 1556250"/>
                  <a:gd name="connsiteX303" fmla="*/ 1372154 w 1460260"/>
                  <a:gd name="connsiteY303" fmla="*/ 1494338 h 1556250"/>
                  <a:gd name="connsiteX304" fmla="*/ 1376916 w 1460260"/>
                  <a:gd name="connsiteY304" fmla="*/ 1501482 h 1556250"/>
                  <a:gd name="connsiteX305" fmla="*/ 1391204 w 1460260"/>
                  <a:gd name="connsiteY305" fmla="*/ 1525294 h 1556250"/>
                  <a:gd name="connsiteX306" fmla="*/ 1407873 w 1460260"/>
                  <a:gd name="connsiteY306" fmla="*/ 1546725 h 1556250"/>
                  <a:gd name="connsiteX307" fmla="*/ 1412635 w 1460260"/>
                  <a:gd name="connsiteY307" fmla="*/ 1556250 h 1556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</a:cxnLst>
                <a:rect l="l" t="t" r="r" b="b"/>
                <a:pathLst>
                  <a:path w="1460260" h="1556250">
                    <a:moveTo>
                      <a:pt x="145810" y="1549107"/>
                    </a:moveTo>
                    <a:cubicBezTo>
                      <a:pt x="145016" y="1542757"/>
                      <a:pt x="144574" y="1536353"/>
                      <a:pt x="143429" y="1530057"/>
                    </a:cubicBezTo>
                    <a:cubicBezTo>
                      <a:pt x="142980" y="1527587"/>
                      <a:pt x="141497" y="1525383"/>
                      <a:pt x="141048" y="1522913"/>
                    </a:cubicBezTo>
                    <a:cubicBezTo>
                      <a:pt x="139903" y="1516617"/>
                      <a:pt x="139460" y="1510213"/>
                      <a:pt x="138666" y="1503863"/>
                    </a:cubicBezTo>
                    <a:cubicBezTo>
                      <a:pt x="137872" y="1490369"/>
                      <a:pt x="138033" y="1476785"/>
                      <a:pt x="136285" y="1463382"/>
                    </a:cubicBezTo>
                    <a:cubicBezTo>
                      <a:pt x="135636" y="1458404"/>
                      <a:pt x="132349" y="1454046"/>
                      <a:pt x="131523" y="1449094"/>
                    </a:cubicBezTo>
                    <a:lnTo>
                      <a:pt x="129141" y="1434807"/>
                    </a:lnTo>
                    <a:cubicBezTo>
                      <a:pt x="125334" y="1381497"/>
                      <a:pt x="130564" y="1415974"/>
                      <a:pt x="124379" y="1394325"/>
                    </a:cubicBezTo>
                    <a:cubicBezTo>
                      <a:pt x="123480" y="1391178"/>
                      <a:pt x="122938" y="1387935"/>
                      <a:pt x="121998" y="1384800"/>
                    </a:cubicBezTo>
                    <a:cubicBezTo>
                      <a:pt x="120555" y="1379992"/>
                      <a:pt x="117235" y="1370513"/>
                      <a:pt x="117235" y="1370513"/>
                    </a:cubicBezTo>
                    <a:cubicBezTo>
                      <a:pt x="117296" y="1369406"/>
                      <a:pt x="115520" y="1333461"/>
                      <a:pt x="121998" y="1320507"/>
                    </a:cubicBezTo>
                    <a:cubicBezTo>
                      <a:pt x="123278" y="1317947"/>
                      <a:pt x="125173" y="1315744"/>
                      <a:pt x="126760" y="1313363"/>
                    </a:cubicBezTo>
                    <a:cubicBezTo>
                      <a:pt x="127554" y="1310188"/>
                      <a:pt x="127326" y="1306561"/>
                      <a:pt x="129141" y="1303838"/>
                    </a:cubicBezTo>
                    <a:cubicBezTo>
                      <a:pt x="130729" y="1301457"/>
                      <a:pt x="134768" y="1301502"/>
                      <a:pt x="136285" y="1299075"/>
                    </a:cubicBezTo>
                    <a:cubicBezTo>
                      <a:pt x="138946" y="1294818"/>
                      <a:pt x="141048" y="1284788"/>
                      <a:pt x="141048" y="1284788"/>
                    </a:cubicBezTo>
                    <a:cubicBezTo>
                      <a:pt x="140254" y="1260182"/>
                      <a:pt x="140656" y="1235508"/>
                      <a:pt x="138666" y="1210969"/>
                    </a:cubicBezTo>
                    <a:cubicBezTo>
                      <a:pt x="137351" y="1194756"/>
                      <a:pt x="132086" y="1195471"/>
                      <a:pt x="119616" y="1187157"/>
                    </a:cubicBezTo>
                    <a:cubicBezTo>
                      <a:pt x="117235" y="1185570"/>
                      <a:pt x="115188" y="1183299"/>
                      <a:pt x="112473" y="1182394"/>
                    </a:cubicBezTo>
                    <a:lnTo>
                      <a:pt x="98185" y="1177632"/>
                    </a:lnTo>
                    <a:cubicBezTo>
                      <a:pt x="95804" y="1176838"/>
                      <a:pt x="93532" y="1175561"/>
                      <a:pt x="91041" y="1175250"/>
                    </a:cubicBezTo>
                    <a:lnTo>
                      <a:pt x="71991" y="1172869"/>
                    </a:lnTo>
                    <a:cubicBezTo>
                      <a:pt x="68816" y="1170488"/>
                      <a:pt x="65479" y="1168308"/>
                      <a:pt x="62466" y="1165725"/>
                    </a:cubicBezTo>
                    <a:cubicBezTo>
                      <a:pt x="46423" y="1151974"/>
                      <a:pt x="63969" y="1164346"/>
                      <a:pt x="48179" y="1153819"/>
                    </a:cubicBezTo>
                    <a:cubicBezTo>
                      <a:pt x="43496" y="1146795"/>
                      <a:pt x="43148" y="1145261"/>
                      <a:pt x="36273" y="1139532"/>
                    </a:cubicBezTo>
                    <a:cubicBezTo>
                      <a:pt x="34074" y="1137700"/>
                      <a:pt x="31510" y="1136357"/>
                      <a:pt x="29129" y="1134769"/>
                    </a:cubicBezTo>
                    <a:cubicBezTo>
                      <a:pt x="16427" y="1115717"/>
                      <a:pt x="33098" y="1138738"/>
                      <a:pt x="17223" y="1122863"/>
                    </a:cubicBezTo>
                    <a:cubicBezTo>
                      <a:pt x="1351" y="1106991"/>
                      <a:pt x="24362" y="1123653"/>
                      <a:pt x="5316" y="1110957"/>
                    </a:cubicBezTo>
                    <a:cubicBezTo>
                      <a:pt x="3729" y="1106194"/>
                      <a:pt x="0" y="1101659"/>
                      <a:pt x="554" y="1096669"/>
                    </a:cubicBezTo>
                    <a:cubicBezTo>
                      <a:pt x="1348" y="1089525"/>
                      <a:pt x="1192" y="1082211"/>
                      <a:pt x="2935" y="1075238"/>
                    </a:cubicBezTo>
                    <a:cubicBezTo>
                      <a:pt x="3629" y="1072461"/>
                      <a:pt x="5866" y="1070293"/>
                      <a:pt x="7698" y="1068094"/>
                    </a:cubicBezTo>
                    <a:cubicBezTo>
                      <a:pt x="13429" y="1061216"/>
                      <a:pt x="14958" y="1060872"/>
                      <a:pt x="21985" y="1056188"/>
                    </a:cubicBezTo>
                    <a:cubicBezTo>
                      <a:pt x="23573" y="1053807"/>
                      <a:pt x="24513" y="1050832"/>
                      <a:pt x="26748" y="1049044"/>
                    </a:cubicBezTo>
                    <a:cubicBezTo>
                      <a:pt x="28708" y="1047476"/>
                      <a:pt x="31646" y="1047785"/>
                      <a:pt x="33891" y="1046663"/>
                    </a:cubicBezTo>
                    <a:cubicBezTo>
                      <a:pt x="36451" y="1045383"/>
                      <a:pt x="38550" y="1043320"/>
                      <a:pt x="41035" y="1041900"/>
                    </a:cubicBezTo>
                    <a:cubicBezTo>
                      <a:pt x="44117" y="1040139"/>
                      <a:pt x="47385" y="1038725"/>
                      <a:pt x="50560" y="1037138"/>
                    </a:cubicBezTo>
                    <a:cubicBezTo>
                      <a:pt x="63635" y="1017525"/>
                      <a:pt x="60795" y="1028530"/>
                      <a:pt x="57704" y="1003800"/>
                    </a:cubicBezTo>
                    <a:cubicBezTo>
                      <a:pt x="58394" y="978282"/>
                      <a:pt x="57302" y="927824"/>
                      <a:pt x="62466" y="894263"/>
                    </a:cubicBezTo>
                    <a:cubicBezTo>
                      <a:pt x="62964" y="891028"/>
                      <a:pt x="64138" y="887933"/>
                      <a:pt x="64848" y="884738"/>
                    </a:cubicBezTo>
                    <a:cubicBezTo>
                      <a:pt x="65726" y="880787"/>
                      <a:pt x="66319" y="876776"/>
                      <a:pt x="67229" y="872832"/>
                    </a:cubicBezTo>
                    <a:cubicBezTo>
                      <a:pt x="68701" y="866454"/>
                      <a:pt x="71991" y="853782"/>
                      <a:pt x="71991" y="853782"/>
                    </a:cubicBezTo>
                    <a:cubicBezTo>
                      <a:pt x="73039" y="842258"/>
                      <a:pt x="71581" y="823235"/>
                      <a:pt x="81516" y="813300"/>
                    </a:cubicBezTo>
                    <a:cubicBezTo>
                      <a:pt x="86131" y="808685"/>
                      <a:pt x="89995" y="808093"/>
                      <a:pt x="95804" y="806157"/>
                    </a:cubicBezTo>
                    <a:cubicBezTo>
                      <a:pt x="101637" y="802268"/>
                      <a:pt x="104784" y="799013"/>
                      <a:pt x="112473" y="799013"/>
                    </a:cubicBezTo>
                    <a:cubicBezTo>
                      <a:pt x="115746" y="799013"/>
                      <a:pt x="118823" y="800600"/>
                      <a:pt x="121998" y="801394"/>
                    </a:cubicBezTo>
                    <a:cubicBezTo>
                      <a:pt x="124379" y="802982"/>
                      <a:pt x="126581" y="804877"/>
                      <a:pt x="129141" y="806157"/>
                    </a:cubicBezTo>
                    <a:cubicBezTo>
                      <a:pt x="131386" y="807280"/>
                      <a:pt x="134325" y="806970"/>
                      <a:pt x="136285" y="808538"/>
                    </a:cubicBezTo>
                    <a:cubicBezTo>
                      <a:pt x="138520" y="810326"/>
                      <a:pt x="139216" y="813483"/>
                      <a:pt x="141048" y="815682"/>
                    </a:cubicBezTo>
                    <a:cubicBezTo>
                      <a:pt x="143204" y="818269"/>
                      <a:pt x="145810" y="820444"/>
                      <a:pt x="148191" y="822825"/>
                    </a:cubicBezTo>
                    <a:cubicBezTo>
                      <a:pt x="150128" y="828633"/>
                      <a:pt x="150721" y="832499"/>
                      <a:pt x="155335" y="837113"/>
                    </a:cubicBezTo>
                    <a:cubicBezTo>
                      <a:pt x="157359" y="839137"/>
                      <a:pt x="160098" y="840288"/>
                      <a:pt x="162479" y="841875"/>
                    </a:cubicBezTo>
                    <a:cubicBezTo>
                      <a:pt x="164066" y="844256"/>
                      <a:pt x="165217" y="846995"/>
                      <a:pt x="167241" y="849019"/>
                    </a:cubicBezTo>
                    <a:cubicBezTo>
                      <a:pt x="183122" y="864901"/>
                      <a:pt x="166442" y="841870"/>
                      <a:pt x="179148" y="860925"/>
                    </a:cubicBezTo>
                    <a:cubicBezTo>
                      <a:pt x="181478" y="867914"/>
                      <a:pt x="183554" y="869883"/>
                      <a:pt x="179148" y="877594"/>
                    </a:cubicBezTo>
                    <a:cubicBezTo>
                      <a:pt x="177477" y="880518"/>
                      <a:pt x="174072" y="882080"/>
                      <a:pt x="172004" y="884738"/>
                    </a:cubicBezTo>
                    <a:cubicBezTo>
                      <a:pt x="168490" y="889256"/>
                      <a:pt x="162479" y="899025"/>
                      <a:pt x="162479" y="899025"/>
                    </a:cubicBezTo>
                    <a:lnTo>
                      <a:pt x="157716" y="913313"/>
                    </a:lnTo>
                    <a:lnTo>
                      <a:pt x="155335" y="920457"/>
                    </a:lnTo>
                    <a:cubicBezTo>
                      <a:pt x="154959" y="925717"/>
                      <a:pt x="155984" y="950115"/>
                      <a:pt x="150573" y="960938"/>
                    </a:cubicBezTo>
                    <a:cubicBezTo>
                      <a:pt x="149293" y="963498"/>
                      <a:pt x="147834" y="966058"/>
                      <a:pt x="145810" y="968082"/>
                    </a:cubicBezTo>
                    <a:cubicBezTo>
                      <a:pt x="143786" y="970106"/>
                      <a:pt x="141047" y="971257"/>
                      <a:pt x="138666" y="972844"/>
                    </a:cubicBezTo>
                    <a:cubicBezTo>
                      <a:pt x="139460" y="988719"/>
                      <a:pt x="139671" y="1004634"/>
                      <a:pt x="141048" y="1020469"/>
                    </a:cubicBezTo>
                    <a:cubicBezTo>
                      <a:pt x="141265" y="1022970"/>
                      <a:pt x="142307" y="1025368"/>
                      <a:pt x="143429" y="1027613"/>
                    </a:cubicBezTo>
                    <a:cubicBezTo>
                      <a:pt x="144709" y="1030173"/>
                      <a:pt x="146359" y="1032558"/>
                      <a:pt x="148191" y="1034757"/>
                    </a:cubicBezTo>
                    <a:cubicBezTo>
                      <a:pt x="150347" y="1037344"/>
                      <a:pt x="152533" y="1040032"/>
                      <a:pt x="155335" y="1041900"/>
                    </a:cubicBezTo>
                    <a:cubicBezTo>
                      <a:pt x="157388" y="1043268"/>
                      <a:pt x="170729" y="1046344"/>
                      <a:pt x="172004" y="1046663"/>
                    </a:cubicBezTo>
                    <a:cubicBezTo>
                      <a:pt x="173423" y="1046460"/>
                      <a:pt x="191279" y="1044925"/>
                      <a:pt x="195816" y="1041900"/>
                    </a:cubicBezTo>
                    <a:cubicBezTo>
                      <a:pt x="198618" y="1040032"/>
                      <a:pt x="200302" y="1036824"/>
                      <a:pt x="202960" y="1034757"/>
                    </a:cubicBezTo>
                    <a:cubicBezTo>
                      <a:pt x="207478" y="1031243"/>
                      <a:pt x="212485" y="1028407"/>
                      <a:pt x="217248" y="1025232"/>
                    </a:cubicBezTo>
                    <a:lnTo>
                      <a:pt x="224391" y="1020469"/>
                    </a:lnTo>
                    <a:cubicBezTo>
                      <a:pt x="225185" y="1018088"/>
                      <a:pt x="227186" y="1015801"/>
                      <a:pt x="226773" y="1013325"/>
                    </a:cubicBezTo>
                    <a:cubicBezTo>
                      <a:pt x="226110" y="1009349"/>
                      <a:pt x="217010" y="1001182"/>
                      <a:pt x="214866" y="999038"/>
                    </a:cubicBezTo>
                    <a:cubicBezTo>
                      <a:pt x="218574" y="973093"/>
                      <a:pt x="218674" y="980442"/>
                      <a:pt x="214866" y="944269"/>
                    </a:cubicBezTo>
                    <a:cubicBezTo>
                      <a:pt x="214603" y="941773"/>
                      <a:pt x="214053" y="939085"/>
                      <a:pt x="212485" y="937125"/>
                    </a:cubicBezTo>
                    <a:cubicBezTo>
                      <a:pt x="210697" y="934890"/>
                      <a:pt x="207722" y="933950"/>
                      <a:pt x="205341" y="932363"/>
                    </a:cubicBezTo>
                    <a:cubicBezTo>
                      <a:pt x="203754" y="929982"/>
                      <a:pt x="200758" y="928075"/>
                      <a:pt x="200579" y="925219"/>
                    </a:cubicBezTo>
                    <a:cubicBezTo>
                      <a:pt x="199934" y="914890"/>
                      <a:pt x="201053" y="904435"/>
                      <a:pt x="202960" y="894263"/>
                    </a:cubicBezTo>
                    <a:cubicBezTo>
                      <a:pt x="203487" y="891450"/>
                      <a:pt x="205891" y="889318"/>
                      <a:pt x="207723" y="887119"/>
                    </a:cubicBezTo>
                    <a:cubicBezTo>
                      <a:pt x="217212" y="875731"/>
                      <a:pt x="211790" y="883730"/>
                      <a:pt x="222010" y="875213"/>
                    </a:cubicBezTo>
                    <a:cubicBezTo>
                      <a:pt x="226526" y="871450"/>
                      <a:pt x="231239" y="866278"/>
                      <a:pt x="233916" y="860925"/>
                    </a:cubicBezTo>
                    <a:cubicBezTo>
                      <a:pt x="235039" y="858680"/>
                      <a:pt x="235504" y="856163"/>
                      <a:pt x="236298" y="853782"/>
                    </a:cubicBezTo>
                    <a:cubicBezTo>
                      <a:pt x="218362" y="841824"/>
                      <a:pt x="241157" y="855865"/>
                      <a:pt x="219629" y="846638"/>
                    </a:cubicBezTo>
                    <a:cubicBezTo>
                      <a:pt x="216998" y="845511"/>
                      <a:pt x="214866" y="843463"/>
                      <a:pt x="212485" y="841875"/>
                    </a:cubicBezTo>
                    <a:cubicBezTo>
                      <a:pt x="210898" y="835525"/>
                      <a:pt x="208007" y="829364"/>
                      <a:pt x="207723" y="822825"/>
                    </a:cubicBezTo>
                    <a:cubicBezTo>
                      <a:pt x="206929" y="804569"/>
                      <a:pt x="210268" y="785653"/>
                      <a:pt x="205341" y="768057"/>
                    </a:cubicBezTo>
                    <a:cubicBezTo>
                      <a:pt x="203987" y="763223"/>
                      <a:pt x="195924" y="764511"/>
                      <a:pt x="191054" y="763294"/>
                    </a:cubicBezTo>
                    <a:cubicBezTo>
                      <a:pt x="187879" y="762500"/>
                      <a:pt x="184749" y="761498"/>
                      <a:pt x="181529" y="760913"/>
                    </a:cubicBezTo>
                    <a:cubicBezTo>
                      <a:pt x="168102" y="758472"/>
                      <a:pt x="163496" y="758919"/>
                      <a:pt x="150573" y="756150"/>
                    </a:cubicBezTo>
                    <a:cubicBezTo>
                      <a:pt x="144173" y="754778"/>
                      <a:pt x="131523" y="751388"/>
                      <a:pt x="131523" y="751388"/>
                    </a:cubicBezTo>
                    <a:cubicBezTo>
                      <a:pt x="130729" y="748213"/>
                      <a:pt x="129141" y="745136"/>
                      <a:pt x="129141" y="741863"/>
                    </a:cubicBezTo>
                    <a:cubicBezTo>
                      <a:pt x="129141" y="736584"/>
                      <a:pt x="130179" y="720739"/>
                      <a:pt x="133904" y="713288"/>
                    </a:cubicBezTo>
                    <a:cubicBezTo>
                      <a:pt x="143139" y="694815"/>
                      <a:pt x="135058" y="716964"/>
                      <a:pt x="141048" y="699000"/>
                    </a:cubicBezTo>
                    <a:cubicBezTo>
                      <a:pt x="140254" y="688681"/>
                      <a:pt x="141509" y="677995"/>
                      <a:pt x="138666" y="668044"/>
                    </a:cubicBezTo>
                    <a:cubicBezTo>
                      <a:pt x="137976" y="665631"/>
                      <a:pt x="133611" y="667055"/>
                      <a:pt x="131523" y="665663"/>
                    </a:cubicBezTo>
                    <a:cubicBezTo>
                      <a:pt x="128721" y="663795"/>
                      <a:pt x="126966" y="660675"/>
                      <a:pt x="124379" y="658519"/>
                    </a:cubicBezTo>
                    <a:cubicBezTo>
                      <a:pt x="122180" y="656687"/>
                      <a:pt x="119616" y="655344"/>
                      <a:pt x="117235" y="653757"/>
                    </a:cubicBezTo>
                    <a:cubicBezTo>
                      <a:pt x="111438" y="636364"/>
                      <a:pt x="113691" y="644339"/>
                      <a:pt x="110091" y="629944"/>
                    </a:cubicBezTo>
                    <a:cubicBezTo>
                      <a:pt x="110885" y="622800"/>
                      <a:pt x="110017" y="615268"/>
                      <a:pt x="112473" y="608513"/>
                    </a:cubicBezTo>
                    <a:cubicBezTo>
                      <a:pt x="113451" y="605824"/>
                      <a:pt x="116855" y="604503"/>
                      <a:pt x="119616" y="603750"/>
                    </a:cubicBezTo>
                    <a:cubicBezTo>
                      <a:pt x="125790" y="602066"/>
                      <a:pt x="132316" y="602163"/>
                      <a:pt x="138666" y="601369"/>
                    </a:cubicBezTo>
                    <a:cubicBezTo>
                      <a:pt x="157626" y="582410"/>
                      <a:pt x="145274" y="589862"/>
                      <a:pt x="162479" y="584700"/>
                    </a:cubicBezTo>
                    <a:cubicBezTo>
                      <a:pt x="167287" y="583257"/>
                      <a:pt x="176766" y="579938"/>
                      <a:pt x="176766" y="579938"/>
                    </a:cubicBezTo>
                    <a:cubicBezTo>
                      <a:pt x="194229" y="580732"/>
                      <a:pt x="211721" y="581028"/>
                      <a:pt x="229154" y="582319"/>
                    </a:cubicBezTo>
                    <a:cubicBezTo>
                      <a:pt x="233190" y="582618"/>
                      <a:pt x="237013" y="584700"/>
                      <a:pt x="241060" y="584700"/>
                    </a:cubicBezTo>
                    <a:cubicBezTo>
                      <a:pt x="288692" y="584700"/>
                      <a:pt x="336310" y="583113"/>
                      <a:pt x="383935" y="582319"/>
                    </a:cubicBezTo>
                    <a:cubicBezTo>
                      <a:pt x="394852" y="565943"/>
                      <a:pt x="391650" y="573462"/>
                      <a:pt x="395841" y="560888"/>
                    </a:cubicBezTo>
                    <a:cubicBezTo>
                      <a:pt x="394964" y="554750"/>
                      <a:pt x="394403" y="543723"/>
                      <a:pt x="391079" y="537075"/>
                    </a:cubicBezTo>
                    <a:cubicBezTo>
                      <a:pt x="389799" y="534515"/>
                      <a:pt x="387979" y="532261"/>
                      <a:pt x="386316" y="529932"/>
                    </a:cubicBezTo>
                    <a:cubicBezTo>
                      <a:pt x="371560" y="509275"/>
                      <a:pt x="385626" y="530086"/>
                      <a:pt x="374410" y="513263"/>
                    </a:cubicBezTo>
                    <a:cubicBezTo>
                      <a:pt x="369374" y="493117"/>
                      <a:pt x="376235" y="513619"/>
                      <a:pt x="364885" y="496594"/>
                    </a:cubicBezTo>
                    <a:cubicBezTo>
                      <a:pt x="363493" y="494505"/>
                      <a:pt x="363627" y="491695"/>
                      <a:pt x="362504" y="489450"/>
                    </a:cubicBezTo>
                    <a:cubicBezTo>
                      <a:pt x="361224" y="486890"/>
                      <a:pt x="359329" y="484688"/>
                      <a:pt x="357741" y="482307"/>
                    </a:cubicBezTo>
                    <a:cubicBezTo>
                      <a:pt x="356154" y="477544"/>
                      <a:pt x="351995" y="472942"/>
                      <a:pt x="352979" y="468019"/>
                    </a:cubicBezTo>
                    <a:cubicBezTo>
                      <a:pt x="354882" y="458503"/>
                      <a:pt x="355379" y="448162"/>
                      <a:pt x="364885" y="441825"/>
                    </a:cubicBezTo>
                    <a:cubicBezTo>
                      <a:pt x="367266" y="440238"/>
                      <a:pt x="369890" y="438964"/>
                      <a:pt x="372029" y="437063"/>
                    </a:cubicBezTo>
                    <a:cubicBezTo>
                      <a:pt x="377424" y="432267"/>
                      <a:pt x="385350" y="421617"/>
                      <a:pt x="393460" y="418013"/>
                    </a:cubicBezTo>
                    <a:cubicBezTo>
                      <a:pt x="398048" y="415974"/>
                      <a:pt x="402985" y="414838"/>
                      <a:pt x="407748" y="413250"/>
                    </a:cubicBezTo>
                    <a:cubicBezTo>
                      <a:pt x="410129" y="412456"/>
                      <a:pt x="412803" y="412261"/>
                      <a:pt x="414891" y="410869"/>
                    </a:cubicBezTo>
                    <a:lnTo>
                      <a:pt x="429179" y="401344"/>
                    </a:lnTo>
                    <a:cubicBezTo>
                      <a:pt x="431560" y="399757"/>
                      <a:pt x="434034" y="398299"/>
                      <a:pt x="436323" y="396582"/>
                    </a:cubicBezTo>
                    <a:cubicBezTo>
                      <a:pt x="439498" y="394201"/>
                      <a:pt x="442483" y="391542"/>
                      <a:pt x="445848" y="389438"/>
                    </a:cubicBezTo>
                    <a:cubicBezTo>
                      <a:pt x="448858" y="387557"/>
                      <a:pt x="452329" y="386501"/>
                      <a:pt x="455373" y="384675"/>
                    </a:cubicBezTo>
                    <a:cubicBezTo>
                      <a:pt x="460281" y="381730"/>
                      <a:pt x="465613" y="379197"/>
                      <a:pt x="469660" y="375150"/>
                    </a:cubicBezTo>
                    <a:cubicBezTo>
                      <a:pt x="480960" y="363850"/>
                      <a:pt x="474925" y="367045"/>
                      <a:pt x="486329" y="363244"/>
                    </a:cubicBezTo>
                    <a:cubicBezTo>
                      <a:pt x="507202" y="342371"/>
                      <a:pt x="480724" y="367915"/>
                      <a:pt x="500616" y="351338"/>
                    </a:cubicBezTo>
                    <a:cubicBezTo>
                      <a:pt x="508834" y="344489"/>
                      <a:pt x="510011" y="338681"/>
                      <a:pt x="522048" y="334669"/>
                    </a:cubicBezTo>
                    <a:lnTo>
                      <a:pt x="543479" y="327525"/>
                    </a:lnTo>
                    <a:cubicBezTo>
                      <a:pt x="545860" y="326731"/>
                      <a:pt x="548188" y="325753"/>
                      <a:pt x="550623" y="325144"/>
                    </a:cubicBezTo>
                    <a:cubicBezTo>
                      <a:pt x="553798" y="324350"/>
                      <a:pt x="557001" y="323662"/>
                      <a:pt x="560148" y="322763"/>
                    </a:cubicBezTo>
                    <a:cubicBezTo>
                      <a:pt x="562561" y="322074"/>
                      <a:pt x="564830" y="320874"/>
                      <a:pt x="567291" y="320382"/>
                    </a:cubicBezTo>
                    <a:cubicBezTo>
                      <a:pt x="572795" y="319281"/>
                      <a:pt x="578404" y="318794"/>
                      <a:pt x="583960" y="318000"/>
                    </a:cubicBezTo>
                    <a:cubicBezTo>
                      <a:pt x="587135" y="315619"/>
                      <a:pt x="590256" y="313164"/>
                      <a:pt x="593485" y="310857"/>
                    </a:cubicBezTo>
                    <a:cubicBezTo>
                      <a:pt x="595814" y="309193"/>
                      <a:pt x="598744" y="308248"/>
                      <a:pt x="600629" y="306094"/>
                    </a:cubicBezTo>
                    <a:cubicBezTo>
                      <a:pt x="604398" y="301787"/>
                      <a:pt x="610154" y="291807"/>
                      <a:pt x="610154" y="291807"/>
                    </a:cubicBezTo>
                    <a:cubicBezTo>
                      <a:pt x="610948" y="287044"/>
                      <a:pt x="611671" y="282269"/>
                      <a:pt x="612535" y="277519"/>
                    </a:cubicBezTo>
                    <a:cubicBezTo>
                      <a:pt x="613259" y="273537"/>
                      <a:pt x="613934" y="269539"/>
                      <a:pt x="614916" y="265613"/>
                    </a:cubicBezTo>
                    <a:cubicBezTo>
                      <a:pt x="615525" y="263178"/>
                      <a:pt x="615338" y="260037"/>
                      <a:pt x="617298" y="258469"/>
                    </a:cubicBezTo>
                    <a:cubicBezTo>
                      <a:pt x="619854" y="256425"/>
                      <a:pt x="623563" y="256371"/>
                      <a:pt x="626823" y="256088"/>
                    </a:cubicBezTo>
                    <a:cubicBezTo>
                      <a:pt x="641868" y="254780"/>
                      <a:pt x="656985" y="254501"/>
                      <a:pt x="672066" y="253707"/>
                    </a:cubicBezTo>
                    <a:cubicBezTo>
                      <a:pt x="674447" y="252913"/>
                      <a:pt x="677121" y="252717"/>
                      <a:pt x="679210" y="251325"/>
                    </a:cubicBezTo>
                    <a:cubicBezTo>
                      <a:pt x="682012" y="249457"/>
                      <a:pt x="683767" y="246338"/>
                      <a:pt x="686354" y="244182"/>
                    </a:cubicBezTo>
                    <a:cubicBezTo>
                      <a:pt x="688553" y="242350"/>
                      <a:pt x="691117" y="241007"/>
                      <a:pt x="693498" y="239419"/>
                    </a:cubicBezTo>
                    <a:cubicBezTo>
                      <a:pt x="699054" y="240213"/>
                      <a:pt x="705037" y="239521"/>
                      <a:pt x="710166" y="241800"/>
                    </a:cubicBezTo>
                    <a:cubicBezTo>
                      <a:pt x="712781" y="242962"/>
                      <a:pt x="714329" y="246145"/>
                      <a:pt x="714929" y="248944"/>
                    </a:cubicBezTo>
                    <a:cubicBezTo>
                      <a:pt x="716766" y="257517"/>
                      <a:pt x="714538" y="266821"/>
                      <a:pt x="717310" y="275138"/>
                    </a:cubicBezTo>
                    <a:cubicBezTo>
                      <a:pt x="718104" y="277519"/>
                      <a:pt x="722073" y="276725"/>
                      <a:pt x="724454" y="277519"/>
                    </a:cubicBezTo>
                    <a:cubicBezTo>
                      <a:pt x="726835" y="276725"/>
                      <a:pt x="729419" y="276383"/>
                      <a:pt x="731598" y="275138"/>
                    </a:cubicBezTo>
                    <a:cubicBezTo>
                      <a:pt x="736617" y="272270"/>
                      <a:pt x="744426" y="265458"/>
                      <a:pt x="748266" y="260850"/>
                    </a:cubicBezTo>
                    <a:cubicBezTo>
                      <a:pt x="750098" y="258652"/>
                      <a:pt x="751005" y="255731"/>
                      <a:pt x="753029" y="253707"/>
                    </a:cubicBezTo>
                    <a:cubicBezTo>
                      <a:pt x="755053" y="251683"/>
                      <a:pt x="757974" y="250776"/>
                      <a:pt x="760173" y="248944"/>
                    </a:cubicBezTo>
                    <a:cubicBezTo>
                      <a:pt x="762760" y="246788"/>
                      <a:pt x="764935" y="244181"/>
                      <a:pt x="767316" y="241800"/>
                    </a:cubicBezTo>
                    <a:cubicBezTo>
                      <a:pt x="772079" y="242594"/>
                      <a:pt x="776891" y="243135"/>
                      <a:pt x="781604" y="244182"/>
                    </a:cubicBezTo>
                    <a:cubicBezTo>
                      <a:pt x="784054" y="244727"/>
                      <a:pt x="786238" y="246563"/>
                      <a:pt x="788748" y="246563"/>
                    </a:cubicBezTo>
                    <a:cubicBezTo>
                      <a:pt x="802265" y="246563"/>
                      <a:pt x="815735" y="244976"/>
                      <a:pt x="829229" y="244182"/>
                    </a:cubicBezTo>
                    <a:cubicBezTo>
                      <a:pt x="828435" y="241801"/>
                      <a:pt x="827971" y="239283"/>
                      <a:pt x="826848" y="237038"/>
                    </a:cubicBezTo>
                    <a:cubicBezTo>
                      <a:pt x="824347" y="232035"/>
                      <a:pt x="819249" y="226101"/>
                      <a:pt x="814941" y="222750"/>
                    </a:cubicBezTo>
                    <a:cubicBezTo>
                      <a:pt x="810423" y="219236"/>
                      <a:pt x="800654" y="213225"/>
                      <a:pt x="800654" y="213225"/>
                    </a:cubicBezTo>
                    <a:cubicBezTo>
                      <a:pt x="802928" y="207539"/>
                      <a:pt x="805422" y="198931"/>
                      <a:pt x="810179" y="194175"/>
                    </a:cubicBezTo>
                    <a:cubicBezTo>
                      <a:pt x="812203" y="192151"/>
                      <a:pt x="814763" y="190693"/>
                      <a:pt x="817323" y="189413"/>
                    </a:cubicBezTo>
                    <a:cubicBezTo>
                      <a:pt x="819568" y="188291"/>
                      <a:pt x="822031" y="187641"/>
                      <a:pt x="824466" y="187032"/>
                    </a:cubicBezTo>
                    <a:cubicBezTo>
                      <a:pt x="828393" y="186050"/>
                      <a:pt x="832468" y="185715"/>
                      <a:pt x="836373" y="184650"/>
                    </a:cubicBezTo>
                    <a:cubicBezTo>
                      <a:pt x="841216" y="183329"/>
                      <a:pt x="850660" y="179888"/>
                      <a:pt x="850660" y="179888"/>
                    </a:cubicBezTo>
                    <a:cubicBezTo>
                      <a:pt x="853835" y="175125"/>
                      <a:pt x="860006" y="171321"/>
                      <a:pt x="860185" y="165600"/>
                    </a:cubicBezTo>
                    <a:cubicBezTo>
                      <a:pt x="860979" y="140200"/>
                      <a:pt x="861156" y="114773"/>
                      <a:pt x="862566" y="89400"/>
                    </a:cubicBezTo>
                    <a:cubicBezTo>
                      <a:pt x="862748" y="86132"/>
                      <a:pt x="862793" y="82338"/>
                      <a:pt x="864948" y="79875"/>
                    </a:cubicBezTo>
                    <a:cubicBezTo>
                      <a:pt x="874324" y="69159"/>
                      <a:pt x="881121" y="70036"/>
                      <a:pt x="893523" y="67969"/>
                    </a:cubicBezTo>
                    <a:cubicBezTo>
                      <a:pt x="898984" y="51585"/>
                      <a:pt x="892900" y="71395"/>
                      <a:pt x="898285" y="41775"/>
                    </a:cubicBezTo>
                    <a:cubicBezTo>
                      <a:pt x="898734" y="39306"/>
                      <a:pt x="899125" y="36613"/>
                      <a:pt x="900666" y="34632"/>
                    </a:cubicBezTo>
                    <a:cubicBezTo>
                      <a:pt x="904801" y="29315"/>
                      <a:pt x="909350" y="24080"/>
                      <a:pt x="914954" y="20344"/>
                    </a:cubicBezTo>
                    <a:cubicBezTo>
                      <a:pt x="935428" y="6696"/>
                      <a:pt x="909524" y="23059"/>
                      <a:pt x="929241" y="13200"/>
                    </a:cubicBezTo>
                    <a:cubicBezTo>
                      <a:pt x="931801" y="11920"/>
                      <a:pt x="933770" y="9600"/>
                      <a:pt x="936385" y="8438"/>
                    </a:cubicBezTo>
                    <a:cubicBezTo>
                      <a:pt x="940973" y="6399"/>
                      <a:pt x="950673" y="3675"/>
                      <a:pt x="950673" y="3675"/>
                    </a:cubicBezTo>
                    <a:cubicBezTo>
                      <a:pt x="954150" y="3907"/>
                      <a:pt x="984880" y="0"/>
                      <a:pt x="993535" y="10819"/>
                    </a:cubicBezTo>
                    <a:cubicBezTo>
                      <a:pt x="995103" y="12779"/>
                      <a:pt x="995122" y="15582"/>
                      <a:pt x="995916" y="17963"/>
                    </a:cubicBezTo>
                    <a:cubicBezTo>
                      <a:pt x="989931" y="35920"/>
                      <a:pt x="998701" y="14482"/>
                      <a:pt x="986391" y="29869"/>
                    </a:cubicBezTo>
                    <a:cubicBezTo>
                      <a:pt x="984823" y="31829"/>
                      <a:pt x="985132" y="34768"/>
                      <a:pt x="984010" y="37013"/>
                    </a:cubicBezTo>
                    <a:cubicBezTo>
                      <a:pt x="974774" y="55488"/>
                      <a:pt x="982856" y="33336"/>
                      <a:pt x="976866" y="51300"/>
                    </a:cubicBezTo>
                    <a:cubicBezTo>
                      <a:pt x="982726" y="80593"/>
                      <a:pt x="973791" y="55937"/>
                      <a:pt x="1026873" y="65588"/>
                    </a:cubicBezTo>
                    <a:cubicBezTo>
                      <a:pt x="1029689" y="66100"/>
                      <a:pt x="1030355" y="70172"/>
                      <a:pt x="1031635" y="72732"/>
                    </a:cubicBezTo>
                    <a:cubicBezTo>
                      <a:pt x="1041489" y="92441"/>
                      <a:pt x="1025134" y="66553"/>
                      <a:pt x="1038779" y="87019"/>
                    </a:cubicBezTo>
                    <a:cubicBezTo>
                      <a:pt x="1039573" y="89400"/>
                      <a:pt x="1040849" y="91672"/>
                      <a:pt x="1041160" y="94163"/>
                    </a:cubicBezTo>
                    <a:cubicBezTo>
                      <a:pt x="1042444" y="104432"/>
                      <a:pt x="1040060" y="115373"/>
                      <a:pt x="1043541" y="125119"/>
                    </a:cubicBezTo>
                    <a:cubicBezTo>
                      <a:pt x="1044642" y="128201"/>
                      <a:pt x="1049891" y="126706"/>
                      <a:pt x="1053066" y="127500"/>
                    </a:cubicBezTo>
                    <a:cubicBezTo>
                      <a:pt x="1060497" y="126571"/>
                      <a:pt x="1073257" y="127860"/>
                      <a:pt x="1079260" y="120357"/>
                    </a:cubicBezTo>
                    <a:cubicBezTo>
                      <a:pt x="1080828" y="118397"/>
                      <a:pt x="1080847" y="115594"/>
                      <a:pt x="1081641" y="113213"/>
                    </a:cubicBezTo>
                    <a:cubicBezTo>
                      <a:pt x="1082435" y="106069"/>
                      <a:pt x="1081354" y="98456"/>
                      <a:pt x="1084023" y="91782"/>
                    </a:cubicBezTo>
                    <a:cubicBezTo>
                      <a:pt x="1084955" y="89452"/>
                      <a:pt x="1088670" y="89663"/>
                      <a:pt x="1091166" y="89400"/>
                    </a:cubicBezTo>
                    <a:cubicBezTo>
                      <a:pt x="1103821" y="88068"/>
                      <a:pt x="1116566" y="87813"/>
                      <a:pt x="1129266" y="87019"/>
                    </a:cubicBezTo>
                    <a:cubicBezTo>
                      <a:pt x="1130854" y="83844"/>
                      <a:pt x="1131302" y="79766"/>
                      <a:pt x="1134029" y="77494"/>
                    </a:cubicBezTo>
                    <a:cubicBezTo>
                      <a:pt x="1136543" y="75399"/>
                      <a:pt x="1140281" y="75113"/>
                      <a:pt x="1143554" y="75113"/>
                    </a:cubicBezTo>
                    <a:cubicBezTo>
                      <a:pt x="1158656" y="75113"/>
                      <a:pt x="1173717" y="76700"/>
                      <a:pt x="1188798" y="77494"/>
                    </a:cubicBezTo>
                    <a:cubicBezTo>
                      <a:pt x="1190385" y="82257"/>
                      <a:pt x="1189383" y="88998"/>
                      <a:pt x="1193560" y="91782"/>
                    </a:cubicBezTo>
                    <a:cubicBezTo>
                      <a:pt x="1195941" y="93369"/>
                      <a:pt x="1198089" y="95382"/>
                      <a:pt x="1200704" y="96544"/>
                    </a:cubicBezTo>
                    <a:cubicBezTo>
                      <a:pt x="1222645" y="106296"/>
                      <a:pt x="1207470" y="96328"/>
                      <a:pt x="1224516" y="106069"/>
                    </a:cubicBezTo>
                    <a:cubicBezTo>
                      <a:pt x="1238256" y="113920"/>
                      <a:pt x="1225172" y="107372"/>
                      <a:pt x="1238804" y="117975"/>
                    </a:cubicBezTo>
                    <a:cubicBezTo>
                      <a:pt x="1243322" y="121489"/>
                      <a:pt x="1248329" y="124325"/>
                      <a:pt x="1253091" y="127500"/>
                    </a:cubicBezTo>
                    <a:cubicBezTo>
                      <a:pt x="1255472" y="129088"/>
                      <a:pt x="1257520" y="131358"/>
                      <a:pt x="1260235" y="132263"/>
                    </a:cubicBezTo>
                    <a:lnTo>
                      <a:pt x="1274523" y="137025"/>
                    </a:lnTo>
                    <a:cubicBezTo>
                      <a:pt x="1276904" y="138613"/>
                      <a:pt x="1281407" y="138938"/>
                      <a:pt x="1281666" y="141788"/>
                    </a:cubicBezTo>
                    <a:cubicBezTo>
                      <a:pt x="1283105" y="157618"/>
                      <a:pt x="1280504" y="173565"/>
                      <a:pt x="1279285" y="189413"/>
                    </a:cubicBezTo>
                    <a:cubicBezTo>
                      <a:pt x="1278953" y="193734"/>
                      <a:pt x="1277151" y="205588"/>
                      <a:pt x="1274523" y="210844"/>
                    </a:cubicBezTo>
                    <a:cubicBezTo>
                      <a:pt x="1273243" y="213404"/>
                      <a:pt x="1271348" y="215607"/>
                      <a:pt x="1269760" y="217988"/>
                    </a:cubicBezTo>
                    <a:cubicBezTo>
                      <a:pt x="1268173" y="222750"/>
                      <a:pt x="1266216" y="227405"/>
                      <a:pt x="1264998" y="232275"/>
                    </a:cubicBezTo>
                    <a:lnTo>
                      <a:pt x="1260235" y="251325"/>
                    </a:lnTo>
                    <a:cubicBezTo>
                      <a:pt x="1259253" y="255252"/>
                      <a:pt x="1258764" y="259288"/>
                      <a:pt x="1257854" y="263232"/>
                    </a:cubicBezTo>
                    <a:cubicBezTo>
                      <a:pt x="1257488" y="264817"/>
                      <a:pt x="1250855" y="293202"/>
                      <a:pt x="1248329" y="296569"/>
                    </a:cubicBezTo>
                    <a:cubicBezTo>
                      <a:pt x="1237750" y="310674"/>
                      <a:pt x="1243388" y="302790"/>
                      <a:pt x="1231660" y="320382"/>
                    </a:cubicBezTo>
                    <a:lnTo>
                      <a:pt x="1226898" y="327525"/>
                    </a:lnTo>
                    <a:lnTo>
                      <a:pt x="1222135" y="334669"/>
                    </a:lnTo>
                    <a:cubicBezTo>
                      <a:pt x="1216468" y="351672"/>
                      <a:pt x="1220158" y="344780"/>
                      <a:pt x="1212610" y="356100"/>
                    </a:cubicBezTo>
                    <a:cubicBezTo>
                      <a:pt x="1206943" y="373103"/>
                      <a:pt x="1210633" y="366211"/>
                      <a:pt x="1203085" y="377532"/>
                    </a:cubicBezTo>
                    <a:cubicBezTo>
                      <a:pt x="1197100" y="395488"/>
                      <a:pt x="1205175" y="373352"/>
                      <a:pt x="1195941" y="391819"/>
                    </a:cubicBezTo>
                    <a:cubicBezTo>
                      <a:pt x="1186849" y="410002"/>
                      <a:pt x="1203692" y="385454"/>
                      <a:pt x="1186416" y="408488"/>
                    </a:cubicBezTo>
                    <a:cubicBezTo>
                      <a:pt x="1182238" y="425202"/>
                      <a:pt x="1187011" y="411346"/>
                      <a:pt x="1176891" y="427538"/>
                    </a:cubicBezTo>
                    <a:cubicBezTo>
                      <a:pt x="1164498" y="447367"/>
                      <a:pt x="1177854" y="427997"/>
                      <a:pt x="1169748" y="444207"/>
                    </a:cubicBezTo>
                    <a:cubicBezTo>
                      <a:pt x="1168468" y="446767"/>
                      <a:pt x="1166649" y="449021"/>
                      <a:pt x="1164985" y="451350"/>
                    </a:cubicBezTo>
                    <a:cubicBezTo>
                      <a:pt x="1163947" y="452803"/>
                      <a:pt x="1154401" y="465044"/>
                      <a:pt x="1153079" y="468019"/>
                    </a:cubicBezTo>
                    <a:cubicBezTo>
                      <a:pt x="1151040" y="472607"/>
                      <a:pt x="1150561" y="477817"/>
                      <a:pt x="1148316" y="482307"/>
                    </a:cubicBezTo>
                    <a:cubicBezTo>
                      <a:pt x="1142274" y="494392"/>
                      <a:pt x="1145523" y="488879"/>
                      <a:pt x="1138791" y="498975"/>
                    </a:cubicBezTo>
                    <a:lnTo>
                      <a:pt x="1131648" y="520407"/>
                    </a:lnTo>
                    <a:cubicBezTo>
                      <a:pt x="1130854" y="522788"/>
                      <a:pt x="1130658" y="525462"/>
                      <a:pt x="1129266" y="527550"/>
                    </a:cubicBezTo>
                    <a:lnTo>
                      <a:pt x="1119741" y="541838"/>
                    </a:lnTo>
                    <a:cubicBezTo>
                      <a:pt x="1118947" y="544219"/>
                      <a:pt x="1118579" y="546788"/>
                      <a:pt x="1117360" y="548982"/>
                    </a:cubicBezTo>
                    <a:cubicBezTo>
                      <a:pt x="1114580" y="553985"/>
                      <a:pt x="1107835" y="563269"/>
                      <a:pt x="1107835" y="563269"/>
                    </a:cubicBezTo>
                    <a:cubicBezTo>
                      <a:pt x="1102168" y="580272"/>
                      <a:pt x="1105858" y="573380"/>
                      <a:pt x="1098310" y="584700"/>
                    </a:cubicBezTo>
                    <a:lnTo>
                      <a:pt x="1093548" y="598988"/>
                    </a:lnTo>
                    <a:lnTo>
                      <a:pt x="1091166" y="606132"/>
                    </a:lnTo>
                    <a:cubicBezTo>
                      <a:pt x="1091960" y="609307"/>
                      <a:pt x="1091063" y="613527"/>
                      <a:pt x="1093548" y="615657"/>
                    </a:cubicBezTo>
                    <a:cubicBezTo>
                      <a:pt x="1097359" y="618924"/>
                      <a:pt x="1107835" y="620419"/>
                      <a:pt x="1107835" y="620419"/>
                    </a:cubicBezTo>
                    <a:cubicBezTo>
                      <a:pt x="1110216" y="622007"/>
                      <a:pt x="1113559" y="622697"/>
                      <a:pt x="1114979" y="625182"/>
                    </a:cubicBezTo>
                    <a:cubicBezTo>
                      <a:pt x="1124444" y="641746"/>
                      <a:pt x="1109432" y="634446"/>
                      <a:pt x="1124504" y="639469"/>
                    </a:cubicBezTo>
                    <a:cubicBezTo>
                      <a:pt x="1130060" y="638675"/>
                      <a:pt x="1135669" y="638189"/>
                      <a:pt x="1141173" y="637088"/>
                    </a:cubicBezTo>
                    <a:cubicBezTo>
                      <a:pt x="1143634" y="636596"/>
                      <a:pt x="1146356" y="636275"/>
                      <a:pt x="1148316" y="634707"/>
                    </a:cubicBezTo>
                    <a:cubicBezTo>
                      <a:pt x="1150551" y="632919"/>
                      <a:pt x="1151055" y="629587"/>
                      <a:pt x="1153079" y="627563"/>
                    </a:cubicBezTo>
                    <a:cubicBezTo>
                      <a:pt x="1155103" y="625539"/>
                      <a:pt x="1157842" y="624388"/>
                      <a:pt x="1160223" y="622800"/>
                    </a:cubicBezTo>
                    <a:cubicBezTo>
                      <a:pt x="1161810" y="620419"/>
                      <a:pt x="1162831" y="617541"/>
                      <a:pt x="1164985" y="615657"/>
                    </a:cubicBezTo>
                    <a:cubicBezTo>
                      <a:pt x="1169293" y="611888"/>
                      <a:pt x="1174510" y="609307"/>
                      <a:pt x="1179273" y="606132"/>
                    </a:cubicBezTo>
                    <a:cubicBezTo>
                      <a:pt x="1188507" y="599975"/>
                      <a:pt x="1183698" y="602275"/>
                      <a:pt x="1193560" y="598988"/>
                    </a:cubicBezTo>
                    <a:cubicBezTo>
                      <a:pt x="1195941" y="597400"/>
                      <a:pt x="1198577" y="596140"/>
                      <a:pt x="1200704" y="594225"/>
                    </a:cubicBezTo>
                    <a:cubicBezTo>
                      <a:pt x="1227411" y="570189"/>
                      <a:pt x="1207917" y="583863"/>
                      <a:pt x="1224516" y="572794"/>
                    </a:cubicBezTo>
                    <a:cubicBezTo>
                      <a:pt x="1230180" y="555807"/>
                      <a:pt x="1222149" y="576344"/>
                      <a:pt x="1234041" y="558507"/>
                    </a:cubicBezTo>
                    <a:cubicBezTo>
                      <a:pt x="1241298" y="547622"/>
                      <a:pt x="1229961" y="553517"/>
                      <a:pt x="1243566" y="548982"/>
                    </a:cubicBezTo>
                    <a:cubicBezTo>
                      <a:pt x="1247800" y="542632"/>
                      <a:pt x="1249126" y="539630"/>
                      <a:pt x="1255473" y="534694"/>
                    </a:cubicBezTo>
                    <a:cubicBezTo>
                      <a:pt x="1259991" y="531180"/>
                      <a:pt x="1265713" y="529216"/>
                      <a:pt x="1269760" y="525169"/>
                    </a:cubicBezTo>
                    <a:lnTo>
                      <a:pt x="1284048" y="510882"/>
                    </a:lnTo>
                    <a:lnTo>
                      <a:pt x="1291191" y="503738"/>
                    </a:lnTo>
                    <a:lnTo>
                      <a:pt x="1298335" y="496594"/>
                    </a:lnTo>
                    <a:cubicBezTo>
                      <a:pt x="1302304" y="497388"/>
                      <a:pt x="1306809" y="496830"/>
                      <a:pt x="1310241" y="498975"/>
                    </a:cubicBezTo>
                    <a:cubicBezTo>
                      <a:pt x="1311928" y="500030"/>
                      <a:pt x="1320357" y="512957"/>
                      <a:pt x="1322148" y="515644"/>
                    </a:cubicBezTo>
                    <a:cubicBezTo>
                      <a:pt x="1325395" y="525387"/>
                      <a:pt x="1325386" y="524122"/>
                      <a:pt x="1326910" y="537075"/>
                    </a:cubicBezTo>
                    <a:cubicBezTo>
                      <a:pt x="1327939" y="545822"/>
                      <a:pt x="1327553" y="567805"/>
                      <a:pt x="1334054" y="577557"/>
                    </a:cubicBezTo>
                    <a:cubicBezTo>
                      <a:pt x="1355190" y="609261"/>
                      <a:pt x="1324769" y="562272"/>
                      <a:pt x="1341198" y="591844"/>
                    </a:cubicBezTo>
                    <a:cubicBezTo>
                      <a:pt x="1343978" y="596848"/>
                      <a:pt x="1350723" y="606132"/>
                      <a:pt x="1350723" y="606132"/>
                    </a:cubicBezTo>
                    <a:cubicBezTo>
                      <a:pt x="1351517" y="608513"/>
                      <a:pt x="1351982" y="611030"/>
                      <a:pt x="1353104" y="613275"/>
                    </a:cubicBezTo>
                    <a:cubicBezTo>
                      <a:pt x="1354384" y="615835"/>
                      <a:pt x="1356183" y="618104"/>
                      <a:pt x="1357866" y="620419"/>
                    </a:cubicBezTo>
                    <a:cubicBezTo>
                      <a:pt x="1362535" y="626838"/>
                      <a:pt x="1367751" y="632864"/>
                      <a:pt x="1372154" y="639469"/>
                    </a:cubicBezTo>
                    <a:cubicBezTo>
                      <a:pt x="1373741" y="641850"/>
                      <a:pt x="1374717" y="644781"/>
                      <a:pt x="1376916" y="646613"/>
                    </a:cubicBezTo>
                    <a:cubicBezTo>
                      <a:pt x="1379643" y="648885"/>
                      <a:pt x="1383266" y="649788"/>
                      <a:pt x="1386441" y="651375"/>
                    </a:cubicBezTo>
                    <a:cubicBezTo>
                      <a:pt x="1409231" y="674165"/>
                      <a:pt x="1380051" y="647115"/>
                      <a:pt x="1400729" y="660900"/>
                    </a:cubicBezTo>
                    <a:cubicBezTo>
                      <a:pt x="1403531" y="662768"/>
                      <a:pt x="1405215" y="665976"/>
                      <a:pt x="1407873" y="668044"/>
                    </a:cubicBezTo>
                    <a:cubicBezTo>
                      <a:pt x="1433507" y="687982"/>
                      <a:pt x="1413085" y="668494"/>
                      <a:pt x="1429304" y="684713"/>
                    </a:cubicBezTo>
                    <a:cubicBezTo>
                      <a:pt x="1430891" y="687888"/>
                      <a:pt x="1432003" y="691349"/>
                      <a:pt x="1434066" y="694238"/>
                    </a:cubicBezTo>
                    <a:cubicBezTo>
                      <a:pt x="1436023" y="696978"/>
                      <a:pt x="1439342" y="698580"/>
                      <a:pt x="1441210" y="701382"/>
                    </a:cubicBezTo>
                    <a:cubicBezTo>
                      <a:pt x="1450412" y="715184"/>
                      <a:pt x="1434757" y="702635"/>
                      <a:pt x="1450735" y="713288"/>
                    </a:cubicBezTo>
                    <a:cubicBezTo>
                      <a:pt x="1451529" y="715669"/>
                      <a:pt x="1452456" y="718010"/>
                      <a:pt x="1453116" y="720432"/>
                    </a:cubicBezTo>
                    <a:cubicBezTo>
                      <a:pt x="1457426" y="736237"/>
                      <a:pt x="1457482" y="737498"/>
                      <a:pt x="1460260" y="751388"/>
                    </a:cubicBezTo>
                    <a:cubicBezTo>
                      <a:pt x="1459466" y="767263"/>
                      <a:pt x="1459935" y="783252"/>
                      <a:pt x="1457879" y="799013"/>
                    </a:cubicBezTo>
                    <a:cubicBezTo>
                      <a:pt x="1457339" y="803151"/>
                      <a:pt x="1447973" y="810966"/>
                      <a:pt x="1445973" y="813300"/>
                    </a:cubicBezTo>
                    <a:cubicBezTo>
                      <a:pt x="1427645" y="834683"/>
                      <a:pt x="1449411" y="812243"/>
                      <a:pt x="1431685" y="829969"/>
                    </a:cubicBezTo>
                    <a:cubicBezTo>
                      <a:pt x="1430891" y="832350"/>
                      <a:pt x="1430523" y="834919"/>
                      <a:pt x="1429304" y="837113"/>
                    </a:cubicBezTo>
                    <a:cubicBezTo>
                      <a:pt x="1426524" y="842116"/>
                      <a:pt x="1419779" y="851400"/>
                      <a:pt x="1419779" y="851400"/>
                    </a:cubicBezTo>
                    <a:cubicBezTo>
                      <a:pt x="1414623" y="872026"/>
                      <a:pt x="1420938" y="849692"/>
                      <a:pt x="1412635" y="870450"/>
                    </a:cubicBezTo>
                    <a:cubicBezTo>
                      <a:pt x="1408774" y="880104"/>
                      <a:pt x="1407829" y="884913"/>
                      <a:pt x="1405491" y="894263"/>
                    </a:cubicBezTo>
                    <a:cubicBezTo>
                      <a:pt x="1404697" y="902200"/>
                      <a:pt x="1403722" y="910122"/>
                      <a:pt x="1403110" y="918075"/>
                    </a:cubicBezTo>
                    <a:cubicBezTo>
                      <a:pt x="1401304" y="941557"/>
                      <a:pt x="1402961" y="949632"/>
                      <a:pt x="1398348" y="968082"/>
                    </a:cubicBezTo>
                    <a:cubicBezTo>
                      <a:pt x="1397739" y="970517"/>
                      <a:pt x="1397185" y="973031"/>
                      <a:pt x="1395966" y="975225"/>
                    </a:cubicBezTo>
                    <a:cubicBezTo>
                      <a:pt x="1393186" y="980229"/>
                      <a:pt x="1391204" y="986338"/>
                      <a:pt x="1386441" y="989513"/>
                    </a:cubicBezTo>
                    <a:lnTo>
                      <a:pt x="1372154" y="999038"/>
                    </a:lnTo>
                    <a:cubicBezTo>
                      <a:pt x="1369773" y="1000625"/>
                      <a:pt x="1367725" y="1002895"/>
                      <a:pt x="1365010" y="1003800"/>
                    </a:cubicBezTo>
                    <a:lnTo>
                      <a:pt x="1350723" y="1008563"/>
                    </a:lnTo>
                    <a:lnTo>
                      <a:pt x="1343579" y="1010944"/>
                    </a:lnTo>
                    <a:lnTo>
                      <a:pt x="1336435" y="1013325"/>
                    </a:lnTo>
                    <a:cubicBezTo>
                      <a:pt x="1323630" y="1021862"/>
                      <a:pt x="1333622" y="1014157"/>
                      <a:pt x="1319766" y="1029994"/>
                    </a:cubicBezTo>
                    <a:cubicBezTo>
                      <a:pt x="1317549" y="1032528"/>
                      <a:pt x="1314779" y="1034551"/>
                      <a:pt x="1312623" y="1037138"/>
                    </a:cubicBezTo>
                    <a:cubicBezTo>
                      <a:pt x="1310791" y="1039337"/>
                      <a:pt x="1309692" y="1042083"/>
                      <a:pt x="1307860" y="1044282"/>
                    </a:cubicBezTo>
                    <a:cubicBezTo>
                      <a:pt x="1305704" y="1046869"/>
                      <a:pt x="1302872" y="1048838"/>
                      <a:pt x="1300716" y="1051425"/>
                    </a:cubicBezTo>
                    <a:cubicBezTo>
                      <a:pt x="1298884" y="1053624"/>
                      <a:pt x="1297116" y="1055954"/>
                      <a:pt x="1295954" y="1058569"/>
                    </a:cubicBezTo>
                    <a:cubicBezTo>
                      <a:pt x="1293915" y="1063157"/>
                      <a:pt x="1291191" y="1072857"/>
                      <a:pt x="1291191" y="1072857"/>
                    </a:cubicBezTo>
                    <a:cubicBezTo>
                      <a:pt x="1291985" y="1092701"/>
                      <a:pt x="1291457" y="1112641"/>
                      <a:pt x="1293573" y="1132388"/>
                    </a:cubicBezTo>
                    <a:cubicBezTo>
                      <a:pt x="1293878" y="1135234"/>
                      <a:pt x="1296434" y="1137393"/>
                      <a:pt x="1298335" y="1139532"/>
                    </a:cubicBezTo>
                    <a:cubicBezTo>
                      <a:pt x="1302810" y="1144566"/>
                      <a:pt x="1312623" y="1153819"/>
                      <a:pt x="1312623" y="1153819"/>
                    </a:cubicBezTo>
                    <a:cubicBezTo>
                      <a:pt x="1321302" y="1179859"/>
                      <a:pt x="1307463" y="1140426"/>
                      <a:pt x="1319766" y="1168107"/>
                    </a:cubicBezTo>
                    <a:cubicBezTo>
                      <a:pt x="1321805" y="1172694"/>
                      <a:pt x="1322941" y="1177632"/>
                      <a:pt x="1324529" y="1182394"/>
                    </a:cubicBezTo>
                    <a:lnTo>
                      <a:pt x="1326910" y="1189538"/>
                    </a:lnTo>
                    <a:cubicBezTo>
                      <a:pt x="1327704" y="1191919"/>
                      <a:pt x="1328682" y="1194247"/>
                      <a:pt x="1329291" y="1196682"/>
                    </a:cubicBezTo>
                    <a:lnTo>
                      <a:pt x="1331673" y="1206207"/>
                    </a:lnTo>
                    <a:cubicBezTo>
                      <a:pt x="1338107" y="1457152"/>
                      <a:pt x="1331673" y="1143482"/>
                      <a:pt x="1331673" y="1389563"/>
                    </a:cubicBezTo>
                    <a:cubicBezTo>
                      <a:pt x="1331673" y="1401222"/>
                      <a:pt x="1330052" y="1414136"/>
                      <a:pt x="1338816" y="1422900"/>
                    </a:cubicBezTo>
                    <a:cubicBezTo>
                      <a:pt x="1340840" y="1424924"/>
                      <a:pt x="1343579" y="1426075"/>
                      <a:pt x="1345960" y="1427663"/>
                    </a:cubicBezTo>
                    <a:lnTo>
                      <a:pt x="1355485" y="1441950"/>
                    </a:lnTo>
                    <a:lnTo>
                      <a:pt x="1360248" y="1449094"/>
                    </a:lnTo>
                    <a:cubicBezTo>
                      <a:pt x="1361042" y="1452269"/>
                      <a:pt x="1361987" y="1455410"/>
                      <a:pt x="1362629" y="1458619"/>
                    </a:cubicBezTo>
                    <a:cubicBezTo>
                      <a:pt x="1363576" y="1463354"/>
                      <a:pt x="1363839" y="1468223"/>
                      <a:pt x="1365010" y="1472907"/>
                    </a:cubicBezTo>
                    <a:cubicBezTo>
                      <a:pt x="1366228" y="1477777"/>
                      <a:pt x="1368185" y="1482432"/>
                      <a:pt x="1369773" y="1487194"/>
                    </a:cubicBezTo>
                    <a:cubicBezTo>
                      <a:pt x="1370567" y="1489575"/>
                      <a:pt x="1370762" y="1492249"/>
                      <a:pt x="1372154" y="1494338"/>
                    </a:cubicBezTo>
                    <a:cubicBezTo>
                      <a:pt x="1373741" y="1496719"/>
                      <a:pt x="1375496" y="1498997"/>
                      <a:pt x="1376916" y="1501482"/>
                    </a:cubicBezTo>
                    <a:cubicBezTo>
                      <a:pt x="1381926" y="1510249"/>
                      <a:pt x="1383440" y="1517530"/>
                      <a:pt x="1391204" y="1525294"/>
                    </a:cubicBezTo>
                    <a:cubicBezTo>
                      <a:pt x="1402394" y="1536484"/>
                      <a:pt x="1396482" y="1529638"/>
                      <a:pt x="1407873" y="1546725"/>
                    </a:cubicBezTo>
                    <a:cubicBezTo>
                      <a:pt x="1413075" y="1554528"/>
                      <a:pt x="1412635" y="1551007"/>
                      <a:pt x="1412635" y="1556250"/>
                    </a:cubicBezTo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sz="1799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3" name="Freeform 223">
                <a:extLst>
                  <a:ext uri="{FF2B5EF4-FFF2-40B4-BE49-F238E27FC236}">
                    <a16:creationId xmlns:a16="http://schemas.microsoft.com/office/drawing/2014/main" xmlns="" id="{D7851CE5-D5FF-1F43-BC34-AA9F800B574E}"/>
                  </a:ext>
                </a:extLst>
              </p:cNvPr>
              <p:cNvSpPr/>
              <p:nvPr/>
            </p:nvSpPr>
            <p:spPr bwMode="auto">
              <a:xfrm>
                <a:off x="4606925" y="4076700"/>
                <a:ext cx="1412394" cy="2009775"/>
              </a:xfrm>
              <a:custGeom>
                <a:avLst/>
                <a:gdLst>
                  <a:gd name="connsiteX0" fmla="*/ 0 w 1412394"/>
                  <a:gd name="connsiteY0" fmla="*/ 114300 h 2009775"/>
                  <a:gd name="connsiteX1" fmla="*/ 6350 w 1412394"/>
                  <a:gd name="connsiteY1" fmla="*/ 165100 h 2009775"/>
                  <a:gd name="connsiteX2" fmla="*/ 9525 w 1412394"/>
                  <a:gd name="connsiteY2" fmla="*/ 180975 h 2009775"/>
                  <a:gd name="connsiteX3" fmla="*/ 15875 w 1412394"/>
                  <a:gd name="connsiteY3" fmla="*/ 200025 h 2009775"/>
                  <a:gd name="connsiteX4" fmla="*/ 25400 w 1412394"/>
                  <a:gd name="connsiteY4" fmla="*/ 241300 h 2009775"/>
                  <a:gd name="connsiteX5" fmla="*/ 34925 w 1412394"/>
                  <a:gd name="connsiteY5" fmla="*/ 247650 h 2009775"/>
                  <a:gd name="connsiteX6" fmla="*/ 47625 w 1412394"/>
                  <a:gd name="connsiteY6" fmla="*/ 266700 h 2009775"/>
                  <a:gd name="connsiteX7" fmla="*/ 63500 w 1412394"/>
                  <a:gd name="connsiteY7" fmla="*/ 295275 h 2009775"/>
                  <a:gd name="connsiteX8" fmla="*/ 69850 w 1412394"/>
                  <a:gd name="connsiteY8" fmla="*/ 304800 h 2009775"/>
                  <a:gd name="connsiteX9" fmla="*/ 88900 w 1412394"/>
                  <a:gd name="connsiteY9" fmla="*/ 323850 h 2009775"/>
                  <a:gd name="connsiteX10" fmla="*/ 95250 w 1412394"/>
                  <a:gd name="connsiteY10" fmla="*/ 333375 h 2009775"/>
                  <a:gd name="connsiteX11" fmla="*/ 127000 w 1412394"/>
                  <a:gd name="connsiteY11" fmla="*/ 346075 h 2009775"/>
                  <a:gd name="connsiteX12" fmla="*/ 146050 w 1412394"/>
                  <a:gd name="connsiteY12" fmla="*/ 355600 h 2009775"/>
                  <a:gd name="connsiteX13" fmla="*/ 146050 w 1412394"/>
                  <a:gd name="connsiteY13" fmla="*/ 422275 h 2009775"/>
                  <a:gd name="connsiteX14" fmla="*/ 136525 w 1412394"/>
                  <a:gd name="connsiteY14" fmla="*/ 431800 h 2009775"/>
                  <a:gd name="connsiteX15" fmla="*/ 123825 w 1412394"/>
                  <a:gd name="connsiteY15" fmla="*/ 450850 h 2009775"/>
                  <a:gd name="connsiteX16" fmla="*/ 111125 w 1412394"/>
                  <a:gd name="connsiteY16" fmla="*/ 466725 h 2009775"/>
                  <a:gd name="connsiteX17" fmla="*/ 95250 w 1412394"/>
                  <a:gd name="connsiteY17" fmla="*/ 584200 h 2009775"/>
                  <a:gd name="connsiteX18" fmla="*/ 92075 w 1412394"/>
                  <a:gd name="connsiteY18" fmla="*/ 593725 h 2009775"/>
                  <a:gd name="connsiteX19" fmla="*/ 73025 w 1412394"/>
                  <a:gd name="connsiteY19" fmla="*/ 612775 h 2009775"/>
                  <a:gd name="connsiteX20" fmla="*/ 63500 w 1412394"/>
                  <a:gd name="connsiteY20" fmla="*/ 641350 h 2009775"/>
                  <a:gd name="connsiteX21" fmla="*/ 60325 w 1412394"/>
                  <a:gd name="connsiteY21" fmla="*/ 650875 h 2009775"/>
                  <a:gd name="connsiteX22" fmla="*/ 63500 w 1412394"/>
                  <a:gd name="connsiteY22" fmla="*/ 736600 h 2009775"/>
                  <a:gd name="connsiteX23" fmla="*/ 66675 w 1412394"/>
                  <a:gd name="connsiteY23" fmla="*/ 749300 h 2009775"/>
                  <a:gd name="connsiteX24" fmla="*/ 85725 w 1412394"/>
                  <a:gd name="connsiteY24" fmla="*/ 762000 h 2009775"/>
                  <a:gd name="connsiteX25" fmla="*/ 120650 w 1412394"/>
                  <a:gd name="connsiteY25" fmla="*/ 765175 h 2009775"/>
                  <a:gd name="connsiteX26" fmla="*/ 117475 w 1412394"/>
                  <a:gd name="connsiteY26" fmla="*/ 793750 h 2009775"/>
                  <a:gd name="connsiteX27" fmla="*/ 101600 w 1412394"/>
                  <a:gd name="connsiteY27" fmla="*/ 809625 h 2009775"/>
                  <a:gd name="connsiteX28" fmla="*/ 92075 w 1412394"/>
                  <a:gd name="connsiteY28" fmla="*/ 812800 h 2009775"/>
                  <a:gd name="connsiteX29" fmla="*/ 63500 w 1412394"/>
                  <a:gd name="connsiteY29" fmla="*/ 828675 h 2009775"/>
                  <a:gd name="connsiteX30" fmla="*/ 53975 w 1412394"/>
                  <a:gd name="connsiteY30" fmla="*/ 838200 h 2009775"/>
                  <a:gd name="connsiteX31" fmla="*/ 19050 w 1412394"/>
                  <a:gd name="connsiteY31" fmla="*/ 844550 h 2009775"/>
                  <a:gd name="connsiteX32" fmla="*/ 9525 w 1412394"/>
                  <a:gd name="connsiteY32" fmla="*/ 847725 h 2009775"/>
                  <a:gd name="connsiteX33" fmla="*/ 9525 w 1412394"/>
                  <a:gd name="connsiteY33" fmla="*/ 866775 h 2009775"/>
                  <a:gd name="connsiteX34" fmla="*/ 12700 w 1412394"/>
                  <a:gd name="connsiteY34" fmla="*/ 898525 h 2009775"/>
                  <a:gd name="connsiteX35" fmla="*/ 19050 w 1412394"/>
                  <a:gd name="connsiteY35" fmla="*/ 908050 h 2009775"/>
                  <a:gd name="connsiteX36" fmla="*/ 22225 w 1412394"/>
                  <a:gd name="connsiteY36" fmla="*/ 917575 h 2009775"/>
                  <a:gd name="connsiteX37" fmla="*/ 25400 w 1412394"/>
                  <a:gd name="connsiteY37" fmla="*/ 955675 h 2009775"/>
                  <a:gd name="connsiteX38" fmla="*/ 28575 w 1412394"/>
                  <a:gd name="connsiteY38" fmla="*/ 971550 h 2009775"/>
                  <a:gd name="connsiteX39" fmla="*/ 38100 w 1412394"/>
                  <a:gd name="connsiteY39" fmla="*/ 977900 h 2009775"/>
                  <a:gd name="connsiteX40" fmla="*/ 53975 w 1412394"/>
                  <a:gd name="connsiteY40" fmla="*/ 974725 h 2009775"/>
                  <a:gd name="connsiteX41" fmla="*/ 73025 w 1412394"/>
                  <a:gd name="connsiteY41" fmla="*/ 968375 h 2009775"/>
                  <a:gd name="connsiteX42" fmla="*/ 98425 w 1412394"/>
                  <a:gd name="connsiteY42" fmla="*/ 971550 h 2009775"/>
                  <a:gd name="connsiteX43" fmla="*/ 111125 w 1412394"/>
                  <a:gd name="connsiteY43" fmla="*/ 974725 h 2009775"/>
                  <a:gd name="connsiteX44" fmla="*/ 149225 w 1412394"/>
                  <a:gd name="connsiteY44" fmla="*/ 977900 h 2009775"/>
                  <a:gd name="connsiteX45" fmla="*/ 168275 w 1412394"/>
                  <a:gd name="connsiteY45" fmla="*/ 984250 h 2009775"/>
                  <a:gd name="connsiteX46" fmla="*/ 184150 w 1412394"/>
                  <a:gd name="connsiteY46" fmla="*/ 1000125 h 2009775"/>
                  <a:gd name="connsiteX47" fmla="*/ 190500 w 1412394"/>
                  <a:gd name="connsiteY47" fmla="*/ 1009650 h 2009775"/>
                  <a:gd name="connsiteX48" fmla="*/ 206375 w 1412394"/>
                  <a:gd name="connsiteY48" fmla="*/ 1038225 h 2009775"/>
                  <a:gd name="connsiteX49" fmla="*/ 215900 w 1412394"/>
                  <a:gd name="connsiteY49" fmla="*/ 1041400 h 2009775"/>
                  <a:gd name="connsiteX50" fmla="*/ 228600 w 1412394"/>
                  <a:gd name="connsiteY50" fmla="*/ 1050925 h 2009775"/>
                  <a:gd name="connsiteX51" fmla="*/ 238125 w 1412394"/>
                  <a:gd name="connsiteY51" fmla="*/ 1060450 h 2009775"/>
                  <a:gd name="connsiteX52" fmla="*/ 257175 w 1412394"/>
                  <a:gd name="connsiteY52" fmla="*/ 1073150 h 2009775"/>
                  <a:gd name="connsiteX53" fmla="*/ 266700 w 1412394"/>
                  <a:gd name="connsiteY53" fmla="*/ 1079500 h 2009775"/>
                  <a:gd name="connsiteX54" fmla="*/ 273050 w 1412394"/>
                  <a:gd name="connsiteY54" fmla="*/ 1089025 h 2009775"/>
                  <a:gd name="connsiteX55" fmla="*/ 266700 w 1412394"/>
                  <a:gd name="connsiteY55" fmla="*/ 1108075 h 2009775"/>
                  <a:gd name="connsiteX56" fmla="*/ 263525 w 1412394"/>
                  <a:gd name="connsiteY56" fmla="*/ 1152525 h 2009775"/>
                  <a:gd name="connsiteX57" fmla="*/ 254000 w 1412394"/>
                  <a:gd name="connsiteY57" fmla="*/ 1162050 h 2009775"/>
                  <a:gd name="connsiteX58" fmla="*/ 238125 w 1412394"/>
                  <a:gd name="connsiteY58" fmla="*/ 1190625 h 2009775"/>
                  <a:gd name="connsiteX59" fmla="*/ 241300 w 1412394"/>
                  <a:gd name="connsiteY59" fmla="*/ 1216025 h 2009775"/>
                  <a:gd name="connsiteX60" fmla="*/ 254000 w 1412394"/>
                  <a:gd name="connsiteY60" fmla="*/ 1238250 h 2009775"/>
                  <a:gd name="connsiteX61" fmla="*/ 266700 w 1412394"/>
                  <a:gd name="connsiteY61" fmla="*/ 1235075 h 2009775"/>
                  <a:gd name="connsiteX62" fmla="*/ 276225 w 1412394"/>
                  <a:gd name="connsiteY62" fmla="*/ 1228725 h 2009775"/>
                  <a:gd name="connsiteX63" fmla="*/ 301625 w 1412394"/>
                  <a:gd name="connsiteY63" fmla="*/ 1231900 h 2009775"/>
                  <a:gd name="connsiteX64" fmla="*/ 311150 w 1412394"/>
                  <a:gd name="connsiteY64" fmla="*/ 1235075 h 2009775"/>
                  <a:gd name="connsiteX65" fmla="*/ 314325 w 1412394"/>
                  <a:gd name="connsiteY65" fmla="*/ 1276350 h 2009775"/>
                  <a:gd name="connsiteX66" fmla="*/ 304800 w 1412394"/>
                  <a:gd name="connsiteY66" fmla="*/ 1282700 h 2009775"/>
                  <a:gd name="connsiteX67" fmla="*/ 292100 w 1412394"/>
                  <a:gd name="connsiteY67" fmla="*/ 1301750 h 2009775"/>
                  <a:gd name="connsiteX68" fmla="*/ 285750 w 1412394"/>
                  <a:gd name="connsiteY68" fmla="*/ 1311275 h 2009775"/>
                  <a:gd name="connsiteX69" fmla="*/ 282575 w 1412394"/>
                  <a:gd name="connsiteY69" fmla="*/ 1320800 h 2009775"/>
                  <a:gd name="connsiteX70" fmla="*/ 279400 w 1412394"/>
                  <a:gd name="connsiteY70" fmla="*/ 1365250 h 2009775"/>
                  <a:gd name="connsiteX71" fmla="*/ 254000 w 1412394"/>
                  <a:gd name="connsiteY71" fmla="*/ 1390650 h 2009775"/>
                  <a:gd name="connsiteX72" fmla="*/ 244475 w 1412394"/>
                  <a:gd name="connsiteY72" fmla="*/ 1397000 h 2009775"/>
                  <a:gd name="connsiteX73" fmla="*/ 254000 w 1412394"/>
                  <a:gd name="connsiteY73" fmla="*/ 1403350 h 2009775"/>
                  <a:gd name="connsiteX74" fmla="*/ 285750 w 1412394"/>
                  <a:gd name="connsiteY74" fmla="*/ 1406525 h 2009775"/>
                  <a:gd name="connsiteX75" fmla="*/ 295275 w 1412394"/>
                  <a:gd name="connsiteY75" fmla="*/ 1409700 h 2009775"/>
                  <a:gd name="connsiteX76" fmla="*/ 301625 w 1412394"/>
                  <a:gd name="connsiteY76" fmla="*/ 1447800 h 2009775"/>
                  <a:gd name="connsiteX77" fmla="*/ 304800 w 1412394"/>
                  <a:gd name="connsiteY77" fmla="*/ 1460500 h 2009775"/>
                  <a:gd name="connsiteX78" fmla="*/ 307975 w 1412394"/>
                  <a:gd name="connsiteY78" fmla="*/ 1489075 h 2009775"/>
                  <a:gd name="connsiteX79" fmla="*/ 311150 w 1412394"/>
                  <a:gd name="connsiteY79" fmla="*/ 1498600 h 2009775"/>
                  <a:gd name="connsiteX80" fmla="*/ 301625 w 1412394"/>
                  <a:gd name="connsiteY80" fmla="*/ 1536700 h 2009775"/>
                  <a:gd name="connsiteX81" fmla="*/ 292100 w 1412394"/>
                  <a:gd name="connsiteY81" fmla="*/ 1543050 h 2009775"/>
                  <a:gd name="connsiteX82" fmla="*/ 288925 w 1412394"/>
                  <a:gd name="connsiteY82" fmla="*/ 1552575 h 2009775"/>
                  <a:gd name="connsiteX83" fmla="*/ 301625 w 1412394"/>
                  <a:gd name="connsiteY83" fmla="*/ 1581150 h 2009775"/>
                  <a:gd name="connsiteX84" fmla="*/ 304800 w 1412394"/>
                  <a:gd name="connsiteY84" fmla="*/ 1590675 h 2009775"/>
                  <a:gd name="connsiteX85" fmla="*/ 393700 w 1412394"/>
                  <a:gd name="connsiteY85" fmla="*/ 1616075 h 2009775"/>
                  <a:gd name="connsiteX86" fmla="*/ 403225 w 1412394"/>
                  <a:gd name="connsiteY86" fmla="*/ 1622425 h 2009775"/>
                  <a:gd name="connsiteX87" fmla="*/ 409575 w 1412394"/>
                  <a:gd name="connsiteY87" fmla="*/ 1631950 h 2009775"/>
                  <a:gd name="connsiteX88" fmla="*/ 438150 w 1412394"/>
                  <a:gd name="connsiteY88" fmla="*/ 1647825 h 2009775"/>
                  <a:gd name="connsiteX89" fmla="*/ 447675 w 1412394"/>
                  <a:gd name="connsiteY89" fmla="*/ 1660525 h 2009775"/>
                  <a:gd name="connsiteX90" fmla="*/ 460375 w 1412394"/>
                  <a:gd name="connsiteY90" fmla="*/ 1676400 h 2009775"/>
                  <a:gd name="connsiteX91" fmla="*/ 466725 w 1412394"/>
                  <a:gd name="connsiteY91" fmla="*/ 1730375 h 2009775"/>
                  <a:gd name="connsiteX92" fmla="*/ 476250 w 1412394"/>
                  <a:gd name="connsiteY92" fmla="*/ 1749425 h 2009775"/>
                  <a:gd name="connsiteX93" fmla="*/ 495300 w 1412394"/>
                  <a:gd name="connsiteY93" fmla="*/ 1758950 h 2009775"/>
                  <a:gd name="connsiteX94" fmla="*/ 501650 w 1412394"/>
                  <a:gd name="connsiteY94" fmla="*/ 1768475 h 2009775"/>
                  <a:gd name="connsiteX95" fmla="*/ 501650 w 1412394"/>
                  <a:gd name="connsiteY95" fmla="*/ 1844675 h 2009775"/>
                  <a:gd name="connsiteX96" fmla="*/ 492125 w 1412394"/>
                  <a:gd name="connsiteY96" fmla="*/ 1879600 h 2009775"/>
                  <a:gd name="connsiteX97" fmla="*/ 488950 w 1412394"/>
                  <a:gd name="connsiteY97" fmla="*/ 1889125 h 2009775"/>
                  <a:gd name="connsiteX98" fmla="*/ 476250 w 1412394"/>
                  <a:gd name="connsiteY98" fmla="*/ 1908175 h 2009775"/>
                  <a:gd name="connsiteX99" fmla="*/ 469900 w 1412394"/>
                  <a:gd name="connsiteY99" fmla="*/ 1917700 h 2009775"/>
                  <a:gd name="connsiteX100" fmla="*/ 460375 w 1412394"/>
                  <a:gd name="connsiteY100" fmla="*/ 1924050 h 2009775"/>
                  <a:gd name="connsiteX101" fmla="*/ 441325 w 1412394"/>
                  <a:gd name="connsiteY101" fmla="*/ 1943100 h 2009775"/>
                  <a:gd name="connsiteX102" fmla="*/ 434975 w 1412394"/>
                  <a:gd name="connsiteY102" fmla="*/ 1952625 h 2009775"/>
                  <a:gd name="connsiteX103" fmla="*/ 425450 w 1412394"/>
                  <a:gd name="connsiteY103" fmla="*/ 1958975 h 2009775"/>
                  <a:gd name="connsiteX104" fmla="*/ 422275 w 1412394"/>
                  <a:gd name="connsiteY104" fmla="*/ 1987550 h 2009775"/>
                  <a:gd name="connsiteX105" fmla="*/ 444500 w 1412394"/>
                  <a:gd name="connsiteY105" fmla="*/ 1993900 h 2009775"/>
                  <a:gd name="connsiteX106" fmla="*/ 460375 w 1412394"/>
                  <a:gd name="connsiteY106" fmla="*/ 1997075 h 2009775"/>
                  <a:gd name="connsiteX107" fmla="*/ 479425 w 1412394"/>
                  <a:gd name="connsiteY107" fmla="*/ 2003425 h 2009775"/>
                  <a:gd name="connsiteX108" fmla="*/ 514350 w 1412394"/>
                  <a:gd name="connsiteY108" fmla="*/ 2009775 h 2009775"/>
                  <a:gd name="connsiteX109" fmla="*/ 619125 w 1412394"/>
                  <a:gd name="connsiteY109" fmla="*/ 2006600 h 2009775"/>
                  <a:gd name="connsiteX110" fmla="*/ 631825 w 1412394"/>
                  <a:gd name="connsiteY110" fmla="*/ 2003425 h 2009775"/>
                  <a:gd name="connsiteX111" fmla="*/ 641350 w 1412394"/>
                  <a:gd name="connsiteY111" fmla="*/ 1993900 h 2009775"/>
                  <a:gd name="connsiteX112" fmla="*/ 650875 w 1412394"/>
                  <a:gd name="connsiteY112" fmla="*/ 1987550 h 2009775"/>
                  <a:gd name="connsiteX113" fmla="*/ 663575 w 1412394"/>
                  <a:gd name="connsiteY113" fmla="*/ 1968500 h 2009775"/>
                  <a:gd name="connsiteX114" fmla="*/ 673100 w 1412394"/>
                  <a:gd name="connsiteY114" fmla="*/ 1939925 h 2009775"/>
                  <a:gd name="connsiteX115" fmla="*/ 676275 w 1412394"/>
                  <a:gd name="connsiteY115" fmla="*/ 1930400 h 2009775"/>
                  <a:gd name="connsiteX116" fmla="*/ 682625 w 1412394"/>
                  <a:gd name="connsiteY116" fmla="*/ 1920875 h 2009775"/>
                  <a:gd name="connsiteX117" fmla="*/ 692150 w 1412394"/>
                  <a:gd name="connsiteY117" fmla="*/ 1901825 h 2009775"/>
                  <a:gd name="connsiteX118" fmla="*/ 701675 w 1412394"/>
                  <a:gd name="connsiteY118" fmla="*/ 1895475 h 2009775"/>
                  <a:gd name="connsiteX119" fmla="*/ 708025 w 1412394"/>
                  <a:gd name="connsiteY119" fmla="*/ 1885950 h 2009775"/>
                  <a:gd name="connsiteX120" fmla="*/ 723900 w 1412394"/>
                  <a:gd name="connsiteY120" fmla="*/ 1870075 h 2009775"/>
                  <a:gd name="connsiteX121" fmla="*/ 730250 w 1412394"/>
                  <a:gd name="connsiteY121" fmla="*/ 1841500 h 2009775"/>
                  <a:gd name="connsiteX122" fmla="*/ 749300 w 1412394"/>
                  <a:gd name="connsiteY122" fmla="*/ 1803400 h 2009775"/>
                  <a:gd name="connsiteX123" fmla="*/ 758825 w 1412394"/>
                  <a:gd name="connsiteY123" fmla="*/ 1797050 h 2009775"/>
                  <a:gd name="connsiteX124" fmla="*/ 768350 w 1412394"/>
                  <a:gd name="connsiteY124" fmla="*/ 1793875 h 2009775"/>
                  <a:gd name="connsiteX125" fmla="*/ 863600 w 1412394"/>
                  <a:gd name="connsiteY125" fmla="*/ 1790700 h 2009775"/>
                  <a:gd name="connsiteX126" fmla="*/ 882650 w 1412394"/>
                  <a:gd name="connsiteY126" fmla="*/ 1781175 h 2009775"/>
                  <a:gd name="connsiteX127" fmla="*/ 885825 w 1412394"/>
                  <a:gd name="connsiteY127" fmla="*/ 1771650 h 2009775"/>
                  <a:gd name="connsiteX128" fmla="*/ 882650 w 1412394"/>
                  <a:gd name="connsiteY128" fmla="*/ 1755775 h 2009775"/>
                  <a:gd name="connsiteX129" fmla="*/ 869950 w 1412394"/>
                  <a:gd name="connsiteY129" fmla="*/ 1752600 h 2009775"/>
                  <a:gd name="connsiteX130" fmla="*/ 860425 w 1412394"/>
                  <a:gd name="connsiteY130" fmla="*/ 1743075 h 2009775"/>
                  <a:gd name="connsiteX131" fmla="*/ 850900 w 1412394"/>
                  <a:gd name="connsiteY131" fmla="*/ 1736725 h 2009775"/>
                  <a:gd name="connsiteX132" fmla="*/ 844550 w 1412394"/>
                  <a:gd name="connsiteY132" fmla="*/ 1727200 h 2009775"/>
                  <a:gd name="connsiteX133" fmla="*/ 835025 w 1412394"/>
                  <a:gd name="connsiteY133" fmla="*/ 1720850 h 2009775"/>
                  <a:gd name="connsiteX134" fmla="*/ 831850 w 1412394"/>
                  <a:gd name="connsiteY134" fmla="*/ 1711325 h 2009775"/>
                  <a:gd name="connsiteX135" fmla="*/ 822325 w 1412394"/>
                  <a:gd name="connsiteY135" fmla="*/ 1701800 h 2009775"/>
                  <a:gd name="connsiteX136" fmla="*/ 812800 w 1412394"/>
                  <a:gd name="connsiteY136" fmla="*/ 1682750 h 2009775"/>
                  <a:gd name="connsiteX137" fmla="*/ 809625 w 1412394"/>
                  <a:gd name="connsiteY137" fmla="*/ 1673225 h 2009775"/>
                  <a:gd name="connsiteX138" fmla="*/ 838200 w 1412394"/>
                  <a:gd name="connsiteY138" fmla="*/ 1654175 h 2009775"/>
                  <a:gd name="connsiteX139" fmla="*/ 847725 w 1412394"/>
                  <a:gd name="connsiteY139" fmla="*/ 1647825 h 2009775"/>
                  <a:gd name="connsiteX140" fmla="*/ 857250 w 1412394"/>
                  <a:gd name="connsiteY140" fmla="*/ 1641475 h 2009775"/>
                  <a:gd name="connsiteX141" fmla="*/ 863600 w 1412394"/>
                  <a:gd name="connsiteY141" fmla="*/ 1631950 h 2009775"/>
                  <a:gd name="connsiteX142" fmla="*/ 873125 w 1412394"/>
                  <a:gd name="connsiteY142" fmla="*/ 1625600 h 2009775"/>
                  <a:gd name="connsiteX143" fmla="*/ 876300 w 1412394"/>
                  <a:gd name="connsiteY143" fmla="*/ 1492250 h 2009775"/>
                  <a:gd name="connsiteX144" fmla="*/ 879475 w 1412394"/>
                  <a:gd name="connsiteY144" fmla="*/ 1470025 h 2009775"/>
                  <a:gd name="connsiteX145" fmla="*/ 882650 w 1412394"/>
                  <a:gd name="connsiteY145" fmla="*/ 1457325 h 2009775"/>
                  <a:gd name="connsiteX146" fmla="*/ 901700 w 1412394"/>
                  <a:gd name="connsiteY146" fmla="*/ 1444625 h 2009775"/>
                  <a:gd name="connsiteX147" fmla="*/ 917575 w 1412394"/>
                  <a:gd name="connsiteY147" fmla="*/ 1428750 h 2009775"/>
                  <a:gd name="connsiteX148" fmla="*/ 933450 w 1412394"/>
                  <a:gd name="connsiteY148" fmla="*/ 1412875 h 2009775"/>
                  <a:gd name="connsiteX149" fmla="*/ 933450 w 1412394"/>
                  <a:gd name="connsiteY149" fmla="*/ 1358900 h 2009775"/>
                  <a:gd name="connsiteX150" fmla="*/ 930275 w 1412394"/>
                  <a:gd name="connsiteY150" fmla="*/ 1349375 h 2009775"/>
                  <a:gd name="connsiteX151" fmla="*/ 920750 w 1412394"/>
                  <a:gd name="connsiteY151" fmla="*/ 1339850 h 2009775"/>
                  <a:gd name="connsiteX152" fmla="*/ 911225 w 1412394"/>
                  <a:gd name="connsiteY152" fmla="*/ 1327150 h 2009775"/>
                  <a:gd name="connsiteX153" fmla="*/ 908050 w 1412394"/>
                  <a:gd name="connsiteY153" fmla="*/ 1317625 h 2009775"/>
                  <a:gd name="connsiteX154" fmla="*/ 901700 w 1412394"/>
                  <a:gd name="connsiteY154" fmla="*/ 1304925 h 2009775"/>
                  <a:gd name="connsiteX155" fmla="*/ 908050 w 1412394"/>
                  <a:gd name="connsiteY155" fmla="*/ 1270000 h 2009775"/>
                  <a:gd name="connsiteX156" fmla="*/ 914400 w 1412394"/>
                  <a:gd name="connsiteY156" fmla="*/ 1260475 h 2009775"/>
                  <a:gd name="connsiteX157" fmla="*/ 923925 w 1412394"/>
                  <a:gd name="connsiteY157" fmla="*/ 1257300 h 2009775"/>
                  <a:gd name="connsiteX158" fmla="*/ 936625 w 1412394"/>
                  <a:gd name="connsiteY158" fmla="*/ 1244600 h 2009775"/>
                  <a:gd name="connsiteX159" fmla="*/ 955675 w 1412394"/>
                  <a:gd name="connsiteY159" fmla="*/ 1228725 h 2009775"/>
                  <a:gd name="connsiteX160" fmla="*/ 1000125 w 1412394"/>
                  <a:gd name="connsiteY160" fmla="*/ 1216025 h 2009775"/>
                  <a:gd name="connsiteX161" fmla="*/ 1009650 w 1412394"/>
                  <a:gd name="connsiteY161" fmla="*/ 1212850 h 2009775"/>
                  <a:gd name="connsiteX162" fmla="*/ 1028700 w 1412394"/>
                  <a:gd name="connsiteY162" fmla="*/ 1200150 h 2009775"/>
                  <a:gd name="connsiteX163" fmla="*/ 1047750 w 1412394"/>
                  <a:gd name="connsiteY163" fmla="*/ 1181100 h 2009775"/>
                  <a:gd name="connsiteX164" fmla="*/ 1066800 w 1412394"/>
                  <a:gd name="connsiteY164" fmla="*/ 1193800 h 2009775"/>
                  <a:gd name="connsiteX165" fmla="*/ 1076325 w 1412394"/>
                  <a:gd name="connsiteY165" fmla="*/ 1196975 h 2009775"/>
                  <a:gd name="connsiteX166" fmla="*/ 1085850 w 1412394"/>
                  <a:gd name="connsiteY166" fmla="*/ 1235075 h 2009775"/>
                  <a:gd name="connsiteX167" fmla="*/ 1089025 w 1412394"/>
                  <a:gd name="connsiteY167" fmla="*/ 1244600 h 2009775"/>
                  <a:gd name="connsiteX168" fmla="*/ 1104900 w 1412394"/>
                  <a:gd name="connsiteY168" fmla="*/ 1247775 h 2009775"/>
                  <a:gd name="connsiteX169" fmla="*/ 1123950 w 1412394"/>
                  <a:gd name="connsiteY169" fmla="*/ 1244600 h 2009775"/>
                  <a:gd name="connsiteX170" fmla="*/ 1136650 w 1412394"/>
                  <a:gd name="connsiteY170" fmla="*/ 1184275 h 2009775"/>
                  <a:gd name="connsiteX171" fmla="*/ 1146175 w 1412394"/>
                  <a:gd name="connsiteY171" fmla="*/ 1165225 h 2009775"/>
                  <a:gd name="connsiteX172" fmla="*/ 1158875 w 1412394"/>
                  <a:gd name="connsiteY172" fmla="*/ 1149350 h 2009775"/>
                  <a:gd name="connsiteX173" fmla="*/ 1171575 w 1412394"/>
                  <a:gd name="connsiteY173" fmla="*/ 1130300 h 2009775"/>
                  <a:gd name="connsiteX174" fmla="*/ 1177925 w 1412394"/>
                  <a:gd name="connsiteY174" fmla="*/ 1111250 h 2009775"/>
                  <a:gd name="connsiteX175" fmla="*/ 1187450 w 1412394"/>
                  <a:gd name="connsiteY175" fmla="*/ 1092200 h 2009775"/>
                  <a:gd name="connsiteX176" fmla="*/ 1193800 w 1412394"/>
                  <a:gd name="connsiteY176" fmla="*/ 1082675 h 2009775"/>
                  <a:gd name="connsiteX177" fmla="*/ 1196975 w 1412394"/>
                  <a:gd name="connsiteY177" fmla="*/ 1073150 h 2009775"/>
                  <a:gd name="connsiteX178" fmla="*/ 1203325 w 1412394"/>
                  <a:gd name="connsiteY178" fmla="*/ 1063625 h 2009775"/>
                  <a:gd name="connsiteX179" fmla="*/ 1209675 w 1412394"/>
                  <a:gd name="connsiteY179" fmla="*/ 1044575 h 2009775"/>
                  <a:gd name="connsiteX180" fmla="*/ 1212850 w 1412394"/>
                  <a:gd name="connsiteY180" fmla="*/ 1035050 h 2009775"/>
                  <a:gd name="connsiteX181" fmla="*/ 1216025 w 1412394"/>
                  <a:gd name="connsiteY181" fmla="*/ 1009650 h 2009775"/>
                  <a:gd name="connsiteX182" fmla="*/ 1244600 w 1412394"/>
                  <a:gd name="connsiteY182" fmla="*/ 1016000 h 2009775"/>
                  <a:gd name="connsiteX183" fmla="*/ 1254125 w 1412394"/>
                  <a:gd name="connsiteY183" fmla="*/ 1022350 h 2009775"/>
                  <a:gd name="connsiteX184" fmla="*/ 1270000 w 1412394"/>
                  <a:gd name="connsiteY184" fmla="*/ 1025525 h 2009775"/>
                  <a:gd name="connsiteX185" fmla="*/ 1298575 w 1412394"/>
                  <a:gd name="connsiteY185" fmla="*/ 1038225 h 2009775"/>
                  <a:gd name="connsiteX186" fmla="*/ 1317625 w 1412394"/>
                  <a:gd name="connsiteY186" fmla="*/ 1047750 h 2009775"/>
                  <a:gd name="connsiteX187" fmla="*/ 1323975 w 1412394"/>
                  <a:gd name="connsiteY187" fmla="*/ 1057275 h 2009775"/>
                  <a:gd name="connsiteX188" fmla="*/ 1352550 w 1412394"/>
                  <a:gd name="connsiteY188" fmla="*/ 1044575 h 2009775"/>
                  <a:gd name="connsiteX189" fmla="*/ 1365250 w 1412394"/>
                  <a:gd name="connsiteY189" fmla="*/ 1003300 h 2009775"/>
                  <a:gd name="connsiteX190" fmla="*/ 1374775 w 1412394"/>
                  <a:gd name="connsiteY190" fmla="*/ 1000125 h 2009775"/>
                  <a:gd name="connsiteX191" fmla="*/ 1387475 w 1412394"/>
                  <a:gd name="connsiteY191" fmla="*/ 981075 h 2009775"/>
                  <a:gd name="connsiteX192" fmla="*/ 1384300 w 1412394"/>
                  <a:gd name="connsiteY192" fmla="*/ 971550 h 2009775"/>
                  <a:gd name="connsiteX193" fmla="*/ 1381125 w 1412394"/>
                  <a:gd name="connsiteY193" fmla="*/ 958850 h 2009775"/>
                  <a:gd name="connsiteX194" fmla="*/ 1362075 w 1412394"/>
                  <a:gd name="connsiteY194" fmla="*/ 946150 h 2009775"/>
                  <a:gd name="connsiteX195" fmla="*/ 1352550 w 1412394"/>
                  <a:gd name="connsiteY195" fmla="*/ 939800 h 2009775"/>
                  <a:gd name="connsiteX196" fmla="*/ 1343025 w 1412394"/>
                  <a:gd name="connsiteY196" fmla="*/ 933450 h 2009775"/>
                  <a:gd name="connsiteX197" fmla="*/ 1333500 w 1412394"/>
                  <a:gd name="connsiteY197" fmla="*/ 927100 h 2009775"/>
                  <a:gd name="connsiteX198" fmla="*/ 1330325 w 1412394"/>
                  <a:gd name="connsiteY198" fmla="*/ 917575 h 2009775"/>
                  <a:gd name="connsiteX199" fmla="*/ 1352550 w 1412394"/>
                  <a:gd name="connsiteY199" fmla="*/ 895350 h 2009775"/>
                  <a:gd name="connsiteX200" fmla="*/ 1368425 w 1412394"/>
                  <a:gd name="connsiteY200" fmla="*/ 876300 h 2009775"/>
                  <a:gd name="connsiteX201" fmla="*/ 1371600 w 1412394"/>
                  <a:gd name="connsiteY201" fmla="*/ 866775 h 2009775"/>
                  <a:gd name="connsiteX202" fmla="*/ 1355725 w 1412394"/>
                  <a:gd name="connsiteY202" fmla="*/ 850900 h 2009775"/>
                  <a:gd name="connsiteX203" fmla="*/ 1336675 w 1412394"/>
                  <a:gd name="connsiteY203" fmla="*/ 838200 h 2009775"/>
                  <a:gd name="connsiteX204" fmla="*/ 1298575 w 1412394"/>
                  <a:gd name="connsiteY204" fmla="*/ 835025 h 2009775"/>
                  <a:gd name="connsiteX205" fmla="*/ 1285875 w 1412394"/>
                  <a:gd name="connsiteY205" fmla="*/ 822325 h 2009775"/>
                  <a:gd name="connsiteX206" fmla="*/ 1289050 w 1412394"/>
                  <a:gd name="connsiteY206" fmla="*/ 692150 h 2009775"/>
                  <a:gd name="connsiteX207" fmla="*/ 1308100 w 1412394"/>
                  <a:gd name="connsiteY207" fmla="*/ 679450 h 2009775"/>
                  <a:gd name="connsiteX208" fmla="*/ 1314450 w 1412394"/>
                  <a:gd name="connsiteY208" fmla="*/ 669925 h 2009775"/>
                  <a:gd name="connsiteX209" fmla="*/ 1333500 w 1412394"/>
                  <a:gd name="connsiteY209" fmla="*/ 657225 h 2009775"/>
                  <a:gd name="connsiteX210" fmla="*/ 1343025 w 1412394"/>
                  <a:gd name="connsiteY210" fmla="*/ 647700 h 2009775"/>
                  <a:gd name="connsiteX211" fmla="*/ 1346200 w 1412394"/>
                  <a:gd name="connsiteY211" fmla="*/ 638175 h 2009775"/>
                  <a:gd name="connsiteX212" fmla="*/ 1346200 w 1412394"/>
                  <a:gd name="connsiteY212" fmla="*/ 498475 h 2009775"/>
                  <a:gd name="connsiteX213" fmla="*/ 1333500 w 1412394"/>
                  <a:gd name="connsiteY213" fmla="*/ 479425 h 2009775"/>
                  <a:gd name="connsiteX214" fmla="*/ 1327150 w 1412394"/>
                  <a:gd name="connsiteY214" fmla="*/ 460375 h 2009775"/>
                  <a:gd name="connsiteX215" fmla="*/ 1330325 w 1412394"/>
                  <a:gd name="connsiteY215" fmla="*/ 384175 h 2009775"/>
                  <a:gd name="connsiteX216" fmla="*/ 1343025 w 1412394"/>
                  <a:gd name="connsiteY216" fmla="*/ 365125 h 2009775"/>
                  <a:gd name="connsiteX217" fmla="*/ 1349375 w 1412394"/>
                  <a:gd name="connsiteY217" fmla="*/ 355600 h 2009775"/>
                  <a:gd name="connsiteX218" fmla="*/ 1368425 w 1412394"/>
                  <a:gd name="connsiteY218" fmla="*/ 342900 h 2009775"/>
                  <a:gd name="connsiteX219" fmla="*/ 1390650 w 1412394"/>
                  <a:gd name="connsiteY219" fmla="*/ 333375 h 2009775"/>
                  <a:gd name="connsiteX220" fmla="*/ 1397000 w 1412394"/>
                  <a:gd name="connsiteY220" fmla="*/ 323850 h 2009775"/>
                  <a:gd name="connsiteX221" fmla="*/ 1409700 w 1412394"/>
                  <a:gd name="connsiteY221" fmla="*/ 311150 h 2009775"/>
                  <a:gd name="connsiteX222" fmla="*/ 1406525 w 1412394"/>
                  <a:gd name="connsiteY222" fmla="*/ 301625 h 2009775"/>
                  <a:gd name="connsiteX223" fmla="*/ 1323975 w 1412394"/>
                  <a:gd name="connsiteY223" fmla="*/ 298450 h 2009775"/>
                  <a:gd name="connsiteX224" fmla="*/ 1314450 w 1412394"/>
                  <a:gd name="connsiteY224" fmla="*/ 292100 h 2009775"/>
                  <a:gd name="connsiteX225" fmla="*/ 1304925 w 1412394"/>
                  <a:gd name="connsiteY225" fmla="*/ 288925 h 2009775"/>
                  <a:gd name="connsiteX226" fmla="*/ 1273175 w 1412394"/>
                  <a:gd name="connsiteY226" fmla="*/ 285750 h 2009775"/>
                  <a:gd name="connsiteX227" fmla="*/ 1263650 w 1412394"/>
                  <a:gd name="connsiteY227" fmla="*/ 282575 h 2009775"/>
                  <a:gd name="connsiteX228" fmla="*/ 1244600 w 1412394"/>
                  <a:gd name="connsiteY228" fmla="*/ 273050 h 2009775"/>
                  <a:gd name="connsiteX229" fmla="*/ 1247775 w 1412394"/>
                  <a:gd name="connsiteY229" fmla="*/ 247650 h 2009775"/>
                  <a:gd name="connsiteX230" fmla="*/ 1250950 w 1412394"/>
                  <a:gd name="connsiteY230" fmla="*/ 234950 h 2009775"/>
                  <a:gd name="connsiteX231" fmla="*/ 1260475 w 1412394"/>
                  <a:gd name="connsiteY231" fmla="*/ 228600 h 2009775"/>
                  <a:gd name="connsiteX232" fmla="*/ 1270000 w 1412394"/>
                  <a:gd name="connsiteY232" fmla="*/ 219075 h 2009775"/>
                  <a:gd name="connsiteX233" fmla="*/ 1276350 w 1412394"/>
                  <a:gd name="connsiteY233" fmla="*/ 209550 h 2009775"/>
                  <a:gd name="connsiteX234" fmla="*/ 1282700 w 1412394"/>
                  <a:gd name="connsiteY234" fmla="*/ 187325 h 2009775"/>
                  <a:gd name="connsiteX235" fmla="*/ 1279525 w 1412394"/>
                  <a:gd name="connsiteY235" fmla="*/ 142875 h 2009775"/>
                  <a:gd name="connsiteX236" fmla="*/ 1270000 w 1412394"/>
                  <a:gd name="connsiteY236" fmla="*/ 130175 h 2009775"/>
                  <a:gd name="connsiteX237" fmla="*/ 1238250 w 1412394"/>
                  <a:gd name="connsiteY237" fmla="*/ 92075 h 2009775"/>
                  <a:gd name="connsiteX238" fmla="*/ 1231900 w 1412394"/>
                  <a:gd name="connsiteY238" fmla="*/ 82550 h 2009775"/>
                  <a:gd name="connsiteX239" fmla="*/ 1225550 w 1412394"/>
                  <a:gd name="connsiteY239" fmla="*/ 63500 h 2009775"/>
                  <a:gd name="connsiteX240" fmla="*/ 1219200 w 1412394"/>
                  <a:gd name="connsiteY240" fmla="*/ 38100 h 2009775"/>
                  <a:gd name="connsiteX241" fmla="*/ 1206500 w 1412394"/>
                  <a:gd name="connsiteY241" fmla="*/ 19050 h 2009775"/>
                  <a:gd name="connsiteX242" fmla="*/ 1187450 w 1412394"/>
                  <a:gd name="connsiteY242" fmla="*/ 0 h 2009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</a:cxnLst>
                <a:rect l="l" t="t" r="r" b="b"/>
                <a:pathLst>
                  <a:path w="1412394" h="2009775">
                    <a:moveTo>
                      <a:pt x="0" y="114300"/>
                    </a:moveTo>
                    <a:cubicBezTo>
                      <a:pt x="2117" y="131233"/>
                      <a:pt x="3003" y="148366"/>
                      <a:pt x="6350" y="165100"/>
                    </a:cubicBezTo>
                    <a:cubicBezTo>
                      <a:pt x="7408" y="170392"/>
                      <a:pt x="8105" y="175769"/>
                      <a:pt x="9525" y="180975"/>
                    </a:cubicBezTo>
                    <a:cubicBezTo>
                      <a:pt x="11286" y="187433"/>
                      <a:pt x="15875" y="200025"/>
                      <a:pt x="15875" y="200025"/>
                    </a:cubicBezTo>
                    <a:cubicBezTo>
                      <a:pt x="17533" y="216603"/>
                      <a:pt x="13831" y="229731"/>
                      <a:pt x="25400" y="241300"/>
                    </a:cubicBezTo>
                    <a:cubicBezTo>
                      <a:pt x="28098" y="243998"/>
                      <a:pt x="31750" y="245533"/>
                      <a:pt x="34925" y="247650"/>
                    </a:cubicBezTo>
                    <a:cubicBezTo>
                      <a:pt x="39158" y="254000"/>
                      <a:pt x="45212" y="259460"/>
                      <a:pt x="47625" y="266700"/>
                    </a:cubicBezTo>
                    <a:cubicBezTo>
                      <a:pt x="53213" y="283465"/>
                      <a:pt x="48944" y="273440"/>
                      <a:pt x="63500" y="295275"/>
                    </a:cubicBezTo>
                    <a:cubicBezTo>
                      <a:pt x="65617" y="298450"/>
                      <a:pt x="67152" y="302102"/>
                      <a:pt x="69850" y="304800"/>
                    </a:cubicBezTo>
                    <a:cubicBezTo>
                      <a:pt x="76200" y="311150"/>
                      <a:pt x="83919" y="316378"/>
                      <a:pt x="88900" y="323850"/>
                    </a:cubicBezTo>
                    <a:cubicBezTo>
                      <a:pt x="91017" y="327025"/>
                      <a:pt x="92552" y="330677"/>
                      <a:pt x="95250" y="333375"/>
                    </a:cubicBezTo>
                    <a:cubicBezTo>
                      <a:pt x="103752" y="341877"/>
                      <a:pt x="116134" y="342970"/>
                      <a:pt x="127000" y="346075"/>
                    </a:cubicBezTo>
                    <a:cubicBezTo>
                      <a:pt x="138502" y="349361"/>
                      <a:pt x="135614" y="348643"/>
                      <a:pt x="146050" y="355600"/>
                    </a:cubicBezTo>
                    <a:cubicBezTo>
                      <a:pt x="154347" y="380492"/>
                      <a:pt x="154604" y="377365"/>
                      <a:pt x="146050" y="422275"/>
                    </a:cubicBezTo>
                    <a:cubicBezTo>
                      <a:pt x="145210" y="426686"/>
                      <a:pt x="139282" y="428256"/>
                      <a:pt x="136525" y="431800"/>
                    </a:cubicBezTo>
                    <a:cubicBezTo>
                      <a:pt x="131840" y="437824"/>
                      <a:pt x="126238" y="443610"/>
                      <a:pt x="123825" y="450850"/>
                    </a:cubicBezTo>
                    <a:cubicBezTo>
                      <a:pt x="119443" y="463995"/>
                      <a:pt x="123435" y="458519"/>
                      <a:pt x="111125" y="466725"/>
                    </a:cubicBezTo>
                    <a:cubicBezTo>
                      <a:pt x="79498" y="514165"/>
                      <a:pt x="101761" y="473512"/>
                      <a:pt x="95250" y="584200"/>
                    </a:cubicBezTo>
                    <a:cubicBezTo>
                      <a:pt x="95053" y="587541"/>
                      <a:pt x="94130" y="591083"/>
                      <a:pt x="92075" y="593725"/>
                    </a:cubicBezTo>
                    <a:cubicBezTo>
                      <a:pt x="86562" y="600814"/>
                      <a:pt x="73025" y="612775"/>
                      <a:pt x="73025" y="612775"/>
                    </a:cubicBezTo>
                    <a:lnTo>
                      <a:pt x="63500" y="641350"/>
                    </a:lnTo>
                    <a:lnTo>
                      <a:pt x="60325" y="650875"/>
                    </a:lnTo>
                    <a:cubicBezTo>
                      <a:pt x="61383" y="679450"/>
                      <a:pt x="61659" y="708065"/>
                      <a:pt x="63500" y="736600"/>
                    </a:cubicBezTo>
                    <a:cubicBezTo>
                      <a:pt x="63781" y="740955"/>
                      <a:pt x="64510" y="745511"/>
                      <a:pt x="66675" y="749300"/>
                    </a:cubicBezTo>
                    <a:cubicBezTo>
                      <a:pt x="70825" y="756563"/>
                      <a:pt x="77710" y="760855"/>
                      <a:pt x="85725" y="762000"/>
                    </a:cubicBezTo>
                    <a:cubicBezTo>
                      <a:pt x="97297" y="763653"/>
                      <a:pt x="109008" y="764117"/>
                      <a:pt x="120650" y="765175"/>
                    </a:cubicBezTo>
                    <a:cubicBezTo>
                      <a:pt x="119592" y="774700"/>
                      <a:pt x="119799" y="784453"/>
                      <a:pt x="117475" y="793750"/>
                    </a:cubicBezTo>
                    <a:cubicBezTo>
                      <a:pt x="115661" y="801007"/>
                      <a:pt x="107648" y="806601"/>
                      <a:pt x="101600" y="809625"/>
                    </a:cubicBezTo>
                    <a:cubicBezTo>
                      <a:pt x="98607" y="811122"/>
                      <a:pt x="95001" y="811175"/>
                      <a:pt x="92075" y="812800"/>
                    </a:cubicBezTo>
                    <a:cubicBezTo>
                      <a:pt x="59323" y="830996"/>
                      <a:pt x="85053" y="821491"/>
                      <a:pt x="63500" y="828675"/>
                    </a:cubicBezTo>
                    <a:cubicBezTo>
                      <a:pt x="60325" y="831850"/>
                      <a:pt x="57874" y="835972"/>
                      <a:pt x="53975" y="838200"/>
                    </a:cubicBezTo>
                    <a:cubicBezTo>
                      <a:pt x="48985" y="841051"/>
                      <a:pt x="19921" y="844426"/>
                      <a:pt x="19050" y="844550"/>
                    </a:cubicBezTo>
                    <a:cubicBezTo>
                      <a:pt x="15875" y="845608"/>
                      <a:pt x="11892" y="845358"/>
                      <a:pt x="9525" y="847725"/>
                    </a:cubicBezTo>
                    <a:cubicBezTo>
                      <a:pt x="3175" y="854075"/>
                      <a:pt x="7408" y="860425"/>
                      <a:pt x="9525" y="866775"/>
                    </a:cubicBezTo>
                    <a:cubicBezTo>
                      <a:pt x="10583" y="877358"/>
                      <a:pt x="10308" y="888161"/>
                      <a:pt x="12700" y="898525"/>
                    </a:cubicBezTo>
                    <a:cubicBezTo>
                      <a:pt x="13558" y="902243"/>
                      <a:pt x="17343" y="904637"/>
                      <a:pt x="19050" y="908050"/>
                    </a:cubicBezTo>
                    <a:cubicBezTo>
                      <a:pt x="20547" y="911043"/>
                      <a:pt x="21167" y="914400"/>
                      <a:pt x="22225" y="917575"/>
                    </a:cubicBezTo>
                    <a:cubicBezTo>
                      <a:pt x="23283" y="930275"/>
                      <a:pt x="23911" y="943018"/>
                      <a:pt x="25400" y="955675"/>
                    </a:cubicBezTo>
                    <a:cubicBezTo>
                      <a:pt x="26031" y="961034"/>
                      <a:pt x="25898" y="966865"/>
                      <a:pt x="28575" y="971550"/>
                    </a:cubicBezTo>
                    <a:cubicBezTo>
                      <a:pt x="30468" y="974863"/>
                      <a:pt x="34925" y="975783"/>
                      <a:pt x="38100" y="977900"/>
                    </a:cubicBezTo>
                    <a:cubicBezTo>
                      <a:pt x="43392" y="976842"/>
                      <a:pt x="48769" y="976145"/>
                      <a:pt x="53975" y="974725"/>
                    </a:cubicBezTo>
                    <a:cubicBezTo>
                      <a:pt x="60433" y="972964"/>
                      <a:pt x="73025" y="968375"/>
                      <a:pt x="73025" y="968375"/>
                    </a:cubicBezTo>
                    <a:cubicBezTo>
                      <a:pt x="81492" y="969433"/>
                      <a:pt x="90009" y="970147"/>
                      <a:pt x="98425" y="971550"/>
                    </a:cubicBezTo>
                    <a:cubicBezTo>
                      <a:pt x="102729" y="972267"/>
                      <a:pt x="106795" y="974184"/>
                      <a:pt x="111125" y="974725"/>
                    </a:cubicBezTo>
                    <a:cubicBezTo>
                      <a:pt x="123771" y="976306"/>
                      <a:pt x="136525" y="976842"/>
                      <a:pt x="149225" y="977900"/>
                    </a:cubicBezTo>
                    <a:cubicBezTo>
                      <a:pt x="155575" y="980017"/>
                      <a:pt x="164562" y="978681"/>
                      <a:pt x="168275" y="984250"/>
                    </a:cubicBezTo>
                    <a:cubicBezTo>
                      <a:pt x="176742" y="996950"/>
                      <a:pt x="171450" y="991658"/>
                      <a:pt x="184150" y="1000125"/>
                    </a:cubicBezTo>
                    <a:cubicBezTo>
                      <a:pt x="186267" y="1003300"/>
                      <a:pt x="188793" y="1006237"/>
                      <a:pt x="190500" y="1009650"/>
                    </a:cubicBezTo>
                    <a:cubicBezTo>
                      <a:pt x="194973" y="1018596"/>
                      <a:pt x="194362" y="1034221"/>
                      <a:pt x="206375" y="1038225"/>
                    </a:cubicBezTo>
                    <a:lnTo>
                      <a:pt x="215900" y="1041400"/>
                    </a:lnTo>
                    <a:cubicBezTo>
                      <a:pt x="220133" y="1044575"/>
                      <a:pt x="224582" y="1047481"/>
                      <a:pt x="228600" y="1050925"/>
                    </a:cubicBezTo>
                    <a:cubicBezTo>
                      <a:pt x="232009" y="1053847"/>
                      <a:pt x="234581" y="1057693"/>
                      <a:pt x="238125" y="1060450"/>
                    </a:cubicBezTo>
                    <a:cubicBezTo>
                      <a:pt x="244149" y="1065135"/>
                      <a:pt x="250825" y="1068917"/>
                      <a:pt x="257175" y="1073150"/>
                    </a:cubicBezTo>
                    <a:lnTo>
                      <a:pt x="266700" y="1079500"/>
                    </a:lnTo>
                    <a:cubicBezTo>
                      <a:pt x="268817" y="1082675"/>
                      <a:pt x="273050" y="1085209"/>
                      <a:pt x="273050" y="1089025"/>
                    </a:cubicBezTo>
                    <a:cubicBezTo>
                      <a:pt x="273050" y="1095718"/>
                      <a:pt x="266700" y="1108075"/>
                      <a:pt x="266700" y="1108075"/>
                    </a:cubicBezTo>
                    <a:cubicBezTo>
                      <a:pt x="265642" y="1122892"/>
                      <a:pt x="266927" y="1138065"/>
                      <a:pt x="263525" y="1152525"/>
                    </a:cubicBezTo>
                    <a:cubicBezTo>
                      <a:pt x="262497" y="1156896"/>
                      <a:pt x="256757" y="1158506"/>
                      <a:pt x="254000" y="1162050"/>
                    </a:cubicBezTo>
                    <a:cubicBezTo>
                      <a:pt x="241263" y="1178426"/>
                      <a:pt x="242915" y="1176254"/>
                      <a:pt x="238125" y="1190625"/>
                    </a:cubicBezTo>
                    <a:cubicBezTo>
                      <a:pt x="239183" y="1199092"/>
                      <a:pt x="239231" y="1207747"/>
                      <a:pt x="241300" y="1216025"/>
                    </a:cubicBezTo>
                    <a:cubicBezTo>
                      <a:pt x="242911" y="1222470"/>
                      <a:pt x="250221" y="1232581"/>
                      <a:pt x="254000" y="1238250"/>
                    </a:cubicBezTo>
                    <a:cubicBezTo>
                      <a:pt x="258233" y="1237192"/>
                      <a:pt x="262689" y="1236794"/>
                      <a:pt x="266700" y="1235075"/>
                    </a:cubicBezTo>
                    <a:cubicBezTo>
                      <a:pt x="270207" y="1233572"/>
                      <a:pt x="272425" y="1229070"/>
                      <a:pt x="276225" y="1228725"/>
                    </a:cubicBezTo>
                    <a:cubicBezTo>
                      <a:pt x="284723" y="1227952"/>
                      <a:pt x="293158" y="1230842"/>
                      <a:pt x="301625" y="1231900"/>
                    </a:cubicBezTo>
                    <a:cubicBezTo>
                      <a:pt x="304800" y="1232958"/>
                      <a:pt x="308537" y="1232984"/>
                      <a:pt x="311150" y="1235075"/>
                    </a:cubicBezTo>
                    <a:cubicBezTo>
                      <a:pt x="323307" y="1244801"/>
                      <a:pt x="318138" y="1264911"/>
                      <a:pt x="314325" y="1276350"/>
                    </a:cubicBezTo>
                    <a:cubicBezTo>
                      <a:pt x="313118" y="1279970"/>
                      <a:pt x="307975" y="1280583"/>
                      <a:pt x="304800" y="1282700"/>
                    </a:cubicBezTo>
                    <a:lnTo>
                      <a:pt x="292100" y="1301750"/>
                    </a:lnTo>
                    <a:cubicBezTo>
                      <a:pt x="289983" y="1304925"/>
                      <a:pt x="286957" y="1307655"/>
                      <a:pt x="285750" y="1311275"/>
                    </a:cubicBezTo>
                    <a:lnTo>
                      <a:pt x="282575" y="1320800"/>
                    </a:lnTo>
                    <a:cubicBezTo>
                      <a:pt x="281517" y="1335617"/>
                      <a:pt x="283003" y="1350839"/>
                      <a:pt x="279400" y="1365250"/>
                    </a:cubicBezTo>
                    <a:cubicBezTo>
                      <a:pt x="274593" y="1384476"/>
                      <a:pt x="267003" y="1383220"/>
                      <a:pt x="254000" y="1390650"/>
                    </a:cubicBezTo>
                    <a:cubicBezTo>
                      <a:pt x="250687" y="1392543"/>
                      <a:pt x="247650" y="1394883"/>
                      <a:pt x="244475" y="1397000"/>
                    </a:cubicBezTo>
                    <a:cubicBezTo>
                      <a:pt x="247650" y="1399117"/>
                      <a:pt x="250282" y="1402492"/>
                      <a:pt x="254000" y="1403350"/>
                    </a:cubicBezTo>
                    <a:cubicBezTo>
                      <a:pt x="264364" y="1405742"/>
                      <a:pt x="275238" y="1404908"/>
                      <a:pt x="285750" y="1406525"/>
                    </a:cubicBezTo>
                    <a:cubicBezTo>
                      <a:pt x="289058" y="1407034"/>
                      <a:pt x="292100" y="1408642"/>
                      <a:pt x="295275" y="1409700"/>
                    </a:cubicBezTo>
                    <a:cubicBezTo>
                      <a:pt x="302365" y="1430969"/>
                      <a:pt x="295549" y="1408303"/>
                      <a:pt x="301625" y="1447800"/>
                    </a:cubicBezTo>
                    <a:cubicBezTo>
                      <a:pt x="302289" y="1452113"/>
                      <a:pt x="303742" y="1456267"/>
                      <a:pt x="304800" y="1460500"/>
                    </a:cubicBezTo>
                    <a:cubicBezTo>
                      <a:pt x="305858" y="1470025"/>
                      <a:pt x="306399" y="1479622"/>
                      <a:pt x="307975" y="1489075"/>
                    </a:cubicBezTo>
                    <a:cubicBezTo>
                      <a:pt x="308525" y="1492376"/>
                      <a:pt x="311150" y="1495253"/>
                      <a:pt x="311150" y="1498600"/>
                    </a:cubicBezTo>
                    <a:cubicBezTo>
                      <a:pt x="311150" y="1512721"/>
                      <a:pt x="311859" y="1526466"/>
                      <a:pt x="301625" y="1536700"/>
                    </a:cubicBezTo>
                    <a:cubicBezTo>
                      <a:pt x="298927" y="1539398"/>
                      <a:pt x="295275" y="1540933"/>
                      <a:pt x="292100" y="1543050"/>
                    </a:cubicBezTo>
                    <a:cubicBezTo>
                      <a:pt x="291042" y="1546225"/>
                      <a:pt x="288925" y="1549228"/>
                      <a:pt x="288925" y="1552575"/>
                    </a:cubicBezTo>
                    <a:cubicBezTo>
                      <a:pt x="288925" y="1568022"/>
                      <a:pt x="292993" y="1569641"/>
                      <a:pt x="301625" y="1581150"/>
                    </a:cubicBezTo>
                    <a:cubicBezTo>
                      <a:pt x="302683" y="1584325"/>
                      <a:pt x="303175" y="1587749"/>
                      <a:pt x="304800" y="1590675"/>
                    </a:cubicBezTo>
                    <a:cubicBezTo>
                      <a:pt x="326948" y="1630541"/>
                      <a:pt x="325559" y="1610397"/>
                      <a:pt x="393700" y="1616075"/>
                    </a:cubicBezTo>
                    <a:cubicBezTo>
                      <a:pt x="396875" y="1618192"/>
                      <a:pt x="400527" y="1619727"/>
                      <a:pt x="403225" y="1622425"/>
                    </a:cubicBezTo>
                    <a:cubicBezTo>
                      <a:pt x="405923" y="1625123"/>
                      <a:pt x="406703" y="1629437"/>
                      <a:pt x="409575" y="1631950"/>
                    </a:cubicBezTo>
                    <a:cubicBezTo>
                      <a:pt x="423012" y="1643707"/>
                      <a:pt x="425068" y="1643464"/>
                      <a:pt x="438150" y="1647825"/>
                    </a:cubicBezTo>
                    <a:cubicBezTo>
                      <a:pt x="441325" y="1652058"/>
                      <a:pt x="443933" y="1656783"/>
                      <a:pt x="447675" y="1660525"/>
                    </a:cubicBezTo>
                    <a:cubicBezTo>
                      <a:pt x="462036" y="1674886"/>
                      <a:pt x="454194" y="1657857"/>
                      <a:pt x="460375" y="1676400"/>
                    </a:cubicBezTo>
                    <a:cubicBezTo>
                      <a:pt x="462799" y="1707915"/>
                      <a:pt x="460547" y="1708750"/>
                      <a:pt x="466725" y="1730375"/>
                    </a:cubicBezTo>
                    <a:cubicBezTo>
                      <a:pt x="468791" y="1737605"/>
                      <a:pt x="470684" y="1743859"/>
                      <a:pt x="476250" y="1749425"/>
                    </a:cubicBezTo>
                    <a:cubicBezTo>
                      <a:pt x="482405" y="1755580"/>
                      <a:pt x="487553" y="1756368"/>
                      <a:pt x="495300" y="1758950"/>
                    </a:cubicBezTo>
                    <a:cubicBezTo>
                      <a:pt x="497417" y="1762125"/>
                      <a:pt x="499943" y="1765062"/>
                      <a:pt x="501650" y="1768475"/>
                    </a:cubicBezTo>
                    <a:cubicBezTo>
                      <a:pt x="512274" y="1789724"/>
                      <a:pt x="502237" y="1837049"/>
                      <a:pt x="501650" y="1844675"/>
                    </a:cubicBezTo>
                    <a:cubicBezTo>
                      <a:pt x="500752" y="1856343"/>
                      <a:pt x="495728" y="1868790"/>
                      <a:pt x="492125" y="1879600"/>
                    </a:cubicBezTo>
                    <a:cubicBezTo>
                      <a:pt x="491067" y="1882775"/>
                      <a:pt x="490806" y="1886340"/>
                      <a:pt x="488950" y="1889125"/>
                    </a:cubicBezTo>
                    <a:lnTo>
                      <a:pt x="476250" y="1908175"/>
                    </a:lnTo>
                    <a:cubicBezTo>
                      <a:pt x="474133" y="1911350"/>
                      <a:pt x="473075" y="1915583"/>
                      <a:pt x="469900" y="1917700"/>
                    </a:cubicBezTo>
                    <a:cubicBezTo>
                      <a:pt x="466725" y="1919817"/>
                      <a:pt x="463227" y="1921515"/>
                      <a:pt x="460375" y="1924050"/>
                    </a:cubicBezTo>
                    <a:cubicBezTo>
                      <a:pt x="453663" y="1930016"/>
                      <a:pt x="446306" y="1935628"/>
                      <a:pt x="441325" y="1943100"/>
                    </a:cubicBezTo>
                    <a:cubicBezTo>
                      <a:pt x="439208" y="1946275"/>
                      <a:pt x="437673" y="1949927"/>
                      <a:pt x="434975" y="1952625"/>
                    </a:cubicBezTo>
                    <a:cubicBezTo>
                      <a:pt x="432277" y="1955323"/>
                      <a:pt x="428625" y="1956858"/>
                      <a:pt x="425450" y="1958975"/>
                    </a:cubicBezTo>
                    <a:cubicBezTo>
                      <a:pt x="423333" y="1965325"/>
                      <a:pt x="414337" y="1979612"/>
                      <a:pt x="422275" y="1987550"/>
                    </a:cubicBezTo>
                    <a:cubicBezTo>
                      <a:pt x="423790" y="1989065"/>
                      <a:pt x="444394" y="1993876"/>
                      <a:pt x="444500" y="1993900"/>
                    </a:cubicBezTo>
                    <a:cubicBezTo>
                      <a:pt x="449768" y="1995071"/>
                      <a:pt x="455169" y="1995655"/>
                      <a:pt x="460375" y="1997075"/>
                    </a:cubicBezTo>
                    <a:cubicBezTo>
                      <a:pt x="466833" y="1998836"/>
                      <a:pt x="472799" y="2002478"/>
                      <a:pt x="479425" y="2003425"/>
                    </a:cubicBezTo>
                    <a:cubicBezTo>
                      <a:pt x="505970" y="2007217"/>
                      <a:pt x="494390" y="2004785"/>
                      <a:pt x="514350" y="2009775"/>
                    </a:cubicBezTo>
                    <a:cubicBezTo>
                      <a:pt x="549275" y="2008717"/>
                      <a:pt x="584235" y="2008486"/>
                      <a:pt x="619125" y="2006600"/>
                    </a:cubicBezTo>
                    <a:cubicBezTo>
                      <a:pt x="623482" y="2006364"/>
                      <a:pt x="628036" y="2005590"/>
                      <a:pt x="631825" y="2003425"/>
                    </a:cubicBezTo>
                    <a:cubicBezTo>
                      <a:pt x="635724" y="2001197"/>
                      <a:pt x="637901" y="1996775"/>
                      <a:pt x="641350" y="1993900"/>
                    </a:cubicBezTo>
                    <a:cubicBezTo>
                      <a:pt x="644281" y="1991457"/>
                      <a:pt x="647700" y="1989667"/>
                      <a:pt x="650875" y="1987550"/>
                    </a:cubicBezTo>
                    <a:cubicBezTo>
                      <a:pt x="655108" y="1981200"/>
                      <a:pt x="661162" y="1975740"/>
                      <a:pt x="663575" y="1968500"/>
                    </a:cubicBezTo>
                    <a:lnTo>
                      <a:pt x="673100" y="1939925"/>
                    </a:lnTo>
                    <a:cubicBezTo>
                      <a:pt x="674158" y="1936750"/>
                      <a:pt x="674419" y="1933185"/>
                      <a:pt x="676275" y="1930400"/>
                    </a:cubicBezTo>
                    <a:cubicBezTo>
                      <a:pt x="678392" y="1927225"/>
                      <a:pt x="680918" y="1924288"/>
                      <a:pt x="682625" y="1920875"/>
                    </a:cubicBezTo>
                    <a:cubicBezTo>
                      <a:pt x="687790" y="1910546"/>
                      <a:pt x="683051" y="1910924"/>
                      <a:pt x="692150" y="1901825"/>
                    </a:cubicBezTo>
                    <a:cubicBezTo>
                      <a:pt x="694848" y="1899127"/>
                      <a:pt x="698500" y="1897592"/>
                      <a:pt x="701675" y="1895475"/>
                    </a:cubicBezTo>
                    <a:cubicBezTo>
                      <a:pt x="703792" y="1892300"/>
                      <a:pt x="705327" y="1888648"/>
                      <a:pt x="708025" y="1885950"/>
                    </a:cubicBezTo>
                    <a:cubicBezTo>
                      <a:pt x="720725" y="1873250"/>
                      <a:pt x="715433" y="1887008"/>
                      <a:pt x="723900" y="1870075"/>
                    </a:cubicBezTo>
                    <a:cubicBezTo>
                      <a:pt x="728442" y="1860991"/>
                      <a:pt x="727811" y="1851255"/>
                      <a:pt x="730250" y="1841500"/>
                    </a:cubicBezTo>
                    <a:cubicBezTo>
                      <a:pt x="732786" y="1831358"/>
                      <a:pt x="739988" y="1809608"/>
                      <a:pt x="749300" y="1803400"/>
                    </a:cubicBezTo>
                    <a:cubicBezTo>
                      <a:pt x="752475" y="1801283"/>
                      <a:pt x="755412" y="1798757"/>
                      <a:pt x="758825" y="1797050"/>
                    </a:cubicBezTo>
                    <a:cubicBezTo>
                      <a:pt x="761818" y="1795553"/>
                      <a:pt x="765009" y="1794077"/>
                      <a:pt x="768350" y="1793875"/>
                    </a:cubicBezTo>
                    <a:cubicBezTo>
                      <a:pt x="800059" y="1791953"/>
                      <a:pt x="831850" y="1791758"/>
                      <a:pt x="863600" y="1790700"/>
                    </a:cubicBezTo>
                    <a:cubicBezTo>
                      <a:pt x="869875" y="1788608"/>
                      <a:pt x="878174" y="1786770"/>
                      <a:pt x="882650" y="1781175"/>
                    </a:cubicBezTo>
                    <a:cubicBezTo>
                      <a:pt x="884741" y="1778562"/>
                      <a:pt x="884767" y="1774825"/>
                      <a:pt x="885825" y="1771650"/>
                    </a:cubicBezTo>
                    <a:cubicBezTo>
                      <a:pt x="884767" y="1766358"/>
                      <a:pt x="886105" y="1759921"/>
                      <a:pt x="882650" y="1755775"/>
                    </a:cubicBezTo>
                    <a:cubicBezTo>
                      <a:pt x="879856" y="1752423"/>
                      <a:pt x="873739" y="1754765"/>
                      <a:pt x="869950" y="1752600"/>
                    </a:cubicBezTo>
                    <a:cubicBezTo>
                      <a:pt x="866051" y="1750372"/>
                      <a:pt x="863874" y="1745950"/>
                      <a:pt x="860425" y="1743075"/>
                    </a:cubicBezTo>
                    <a:cubicBezTo>
                      <a:pt x="857494" y="1740632"/>
                      <a:pt x="854075" y="1738842"/>
                      <a:pt x="850900" y="1736725"/>
                    </a:cubicBezTo>
                    <a:cubicBezTo>
                      <a:pt x="848783" y="1733550"/>
                      <a:pt x="847248" y="1729898"/>
                      <a:pt x="844550" y="1727200"/>
                    </a:cubicBezTo>
                    <a:cubicBezTo>
                      <a:pt x="841852" y="1724502"/>
                      <a:pt x="837409" y="1723830"/>
                      <a:pt x="835025" y="1720850"/>
                    </a:cubicBezTo>
                    <a:cubicBezTo>
                      <a:pt x="832934" y="1718237"/>
                      <a:pt x="833706" y="1714110"/>
                      <a:pt x="831850" y="1711325"/>
                    </a:cubicBezTo>
                    <a:cubicBezTo>
                      <a:pt x="829359" y="1707589"/>
                      <a:pt x="825500" y="1704975"/>
                      <a:pt x="822325" y="1701800"/>
                    </a:cubicBezTo>
                    <a:cubicBezTo>
                      <a:pt x="814345" y="1677859"/>
                      <a:pt x="825110" y="1707369"/>
                      <a:pt x="812800" y="1682750"/>
                    </a:cubicBezTo>
                    <a:cubicBezTo>
                      <a:pt x="811303" y="1679757"/>
                      <a:pt x="810683" y="1676400"/>
                      <a:pt x="809625" y="1673225"/>
                    </a:cubicBezTo>
                    <a:lnTo>
                      <a:pt x="838200" y="1654175"/>
                    </a:lnTo>
                    <a:lnTo>
                      <a:pt x="847725" y="1647825"/>
                    </a:lnTo>
                    <a:lnTo>
                      <a:pt x="857250" y="1641475"/>
                    </a:lnTo>
                    <a:cubicBezTo>
                      <a:pt x="859367" y="1638300"/>
                      <a:pt x="860902" y="1634648"/>
                      <a:pt x="863600" y="1631950"/>
                    </a:cubicBezTo>
                    <a:cubicBezTo>
                      <a:pt x="866298" y="1629252"/>
                      <a:pt x="872780" y="1629400"/>
                      <a:pt x="873125" y="1625600"/>
                    </a:cubicBezTo>
                    <a:cubicBezTo>
                      <a:pt x="877150" y="1581320"/>
                      <a:pt x="874487" y="1536676"/>
                      <a:pt x="876300" y="1492250"/>
                    </a:cubicBezTo>
                    <a:cubicBezTo>
                      <a:pt x="876605" y="1484773"/>
                      <a:pt x="878136" y="1477388"/>
                      <a:pt x="879475" y="1470025"/>
                    </a:cubicBezTo>
                    <a:cubicBezTo>
                      <a:pt x="880256" y="1465732"/>
                      <a:pt x="879777" y="1460609"/>
                      <a:pt x="882650" y="1457325"/>
                    </a:cubicBezTo>
                    <a:cubicBezTo>
                      <a:pt x="887676" y="1451582"/>
                      <a:pt x="901700" y="1444625"/>
                      <a:pt x="901700" y="1444625"/>
                    </a:cubicBezTo>
                    <a:cubicBezTo>
                      <a:pt x="918633" y="1419225"/>
                      <a:pt x="896408" y="1449917"/>
                      <a:pt x="917575" y="1428750"/>
                    </a:cubicBezTo>
                    <a:cubicBezTo>
                      <a:pt x="938742" y="1407583"/>
                      <a:pt x="908050" y="1429808"/>
                      <a:pt x="933450" y="1412875"/>
                    </a:cubicBezTo>
                    <a:cubicBezTo>
                      <a:pt x="940955" y="1390361"/>
                      <a:pt x="938496" y="1401791"/>
                      <a:pt x="933450" y="1358900"/>
                    </a:cubicBezTo>
                    <a:cubicBezTo>
                      <a:pt x="933059" y="1355576"/>
                      <a:pt x="932131" y="1352160"/>
                      <a:pt x="930275" y="1349375"/>
                    </a:cubicBezTo>
                    <a:cubicBezTo>
                      <a:pt x="927784" y="1345639"/>
                      <a:pt x="923672" y="1343259"/>
                      <a:pt x="920750" y="1339850"/>
                    </a:cubicBezTo>
                    <a:cubicBezTo>
                      <a:pt x="917306" y="1335832"/>
                      <a:pt x="914400" y="1331383"/>
                      <a:pt x="911225" y="1327150"/>
                    </a:cubicBezTo>
                    <a:cubicBezTo>
                      <a:pt x="910167" y="1323975"/>
                      <a:pt x="909368" y="1320701"/>
                      <a:pt x="908050" y="1317625"/>
                    </a:cubicBezTo>
                    <a:cubicBezTo>
                      <a:pt x="906186" y="1313275"/>
                      <a:pt x="902093" y="1309642"/>
                      <a:pt x="901700" y="1304925"/>
                    </a:cubicBezTo>
                    <a:cubicBezTo>
                      <a:pt x="901231" y="1299296"/>
                      <a:pt x="903769" y="1278562"/>
                      <a:pt x="908050" y="1270000"/>
                    </a:cubicBezTo>
                    <a:cubicBezTo>
                      <a:pt x="909757" y="1266587"/>
                      <a:pt x="911420" y="1262859"/>
                      <a:pt x="914400" y="1260475"/>
                    </a:cubicBezTo>
                    <a:cubicBezTo>
                      <a:pt x="917013" y="1258384"/>
                      <a:pt x="920750" y="1258358"/>
                      <a:pt x="923925" y="1257300"/>
                    </a:cubicBezTo>
                    <a:cubicBezTo>
                      <a:pt x="929973" y="1239157"/>
                      <a:pt x="922111" y="1254276"/>
                      <a:pt x="936625" y="1244600"/>
                    </a:cubicBezTo>
                    <a:cubicBezTo>
                      <a:pt x="951579" y="1234631"/>
                      <a:pt x="940093" y="1235650"/>
                      <a:pt x="955675" y="1228725"/>
                    </a:cubicBezTo>
                    <a:cubicBezTo>
                      <a:pt x="974021" y="1220571"/>
                      <a:pt x="979944" y="1222752"/>
                      <a:pt x="1000125" y="1216025"/>
                    </a:cubicBezTo>
                    <a:cubicBezTo>
                      <a:pt x="1003300" y="1214967"/>
                      <a:pt x="1006724" y="1214475"/>
                      <a:pt x="1009650" y="1212850"/>
                    </a:cubicBezTo>
                    <a:cubicBezTo>
                      <a:pt x="1016321" y="1209144"/>
                      <a:pt x="1023304" y="1205546"/>
                      <a:pt x="1028700" y="1200150"/>
                    </a:cubicBezTo>
                    <a:lnTo>
                      <a:pt x="1047750" y="1181100"/>
                    </a:lnTo>
                    <a:cubicBezTo>
                      <a:pt x="1070398" y="1188649"/>
                      <a:pt x="1043017" y="1177945"/>
                      <a:pt x="1066800" y="1193800"/>
                    </a:cubicBezTo>
                    <a:cubicBezTo>
                      <a:pt x="1069585" y="1195656"/>
                      <a:pt x="1073150" y="1195917"/>
                      <a:pt x="1076325" y="1196975"/>
                    </a:cubicBezTo>
                    <a:cubicBezTo>
                      <a:pt x="1088946" y="1215906"/>
                      <a:pt x="1079856" y="1199111"/>
                      <a:pt x="1085850" y="1235075"/>
                    </a:cubicBezTo>
                    <a:cubicBezTo>
                      <a:pt x="1086400" y="1238376"/>
                      <a:pt x="1086240" y="1242744"/>
                      <a:pt x="1089025" y="1244600"/>
                    </a:cubicBezTo>
                    <a:cubicBezTo>
                      <a:pt x="1093515" y="1247593"/>
                      <a:pt x="1099608" y="1246717"/>
                      <a:pt x="1104900" y="1247775"/>
                    </a:cubicBezTo>
                    <a:cubicBezTo>
                      <a:pt x="1111250" y="1246717"/>
                      <a:pt x="1118067" y="1247215"/>
                      <a:pt x="1123950" y="1244600"/>
                    </a:cubicBezTo>
                    <a:cubicBezTo>
                      <a:pt x="1144808" y="1235330"/>
                      <a:pt x="1135704" y="1193262"/>
                      <a:pt x="1136650" y="1184275"/>
                    </a:cubicBezTo>
                    <a:cubicBezTo>
                      <a:pt x="1137714" y="1174166"/>
                      <a:pt x="1141751" y="1174073"/>
                      <a:pt x="1146175" y="1165225"/>
                    </a:cubicBezTo>
                    <a:cubicBezTo>
                      <a:pt x="1153843" y="1149889"/>
                      <a:pt x="1142818" y="1160054"/>
                      <a:pt x="1158875" y="1149350"/>
                    </a:cubicBezTo>
                    <a:cubicBezTo>
                      <a:pt x="1163108" y="1143000"/>
                      <a:pt x="1169162" y="1137540"/>
                      <a:pt x="1171575" y="1130300"/>
                    </a:cubicBezTo>
                    <a:cubicBezTo>
                      <a:pt x="1173692" y="1123950"/>
                      <a:pt x="1174212" y="1116819"/>
                      <a:pt x="1177925" y="1111250"/>
                    </a:cubicBezTo>
                    <a:cubicBezTo>
                      <a:pt x="1196123" y="1083953"/>
                      <a:pt x="1174305" y="1118490"/>
                      <a:pt x="1187450" y="1092200"/>
                    </a:cubicBezTo>
                    <a:cubicBezTo>
                      <a:pt x="1189157" y="1088787"/>
                      <a:pt x="1192093" y="1086088"/>
                      <a:pt x="1193800" y="1082675"/>
                    </a:cubicBezTo>
                    <a:cubicBezTo>
                      <a:pt x="1195297" y="1079682"/>
                      <a:pt x="1195478" y="1076143"/>
                      <a:pt x="1196975" y="1073150"/>
                    </a:cubicBezTo>
                    <a:cubicBezTo>
                      <a:pt x="1198682" y="1069737"/>
                      <a:pt x="1201775" y="1067112"/>
                      <a:pt x="1203325" y="1063625"/>
                    </a:cubicBezTo>
                    <a:cubicBezTo>
                      <a:pt x="1206043" y="1057508"/>
                      <a:pt x="1207558" y="1050925"/>
                      <a:pt x="1209675" y="1044575"/>
                    </a:cubicBezTo>
                    <a:lnTo>
                      <a:pt x="1212850" y="1035050"/>
                    </a:lnTo>
                    <a:cubicBezTo>
                      <a:pt x="1213908" y="1026583"/>
                      <a:pt x="1209992" y="1015683"/>
                      <a:pt x="1216025" y="1009650"/>
                    </a:cubicBezTo>
                    <a:cubicBezTo>
                      <a:pt x="1217651" y="1008024"/>
                      <a:pt x="1239742" y="1013571"/>
                      <a:pt x="1244600" y="1016000"/>
                    </a:cubicBezTo>
                    <a:cubicBezTo>
                      <a:pt x="1248013" y="1017707"/>
                      <a:pt x="1250552" y="1021010"/>
                      <a:pt x="1254125" y="1022350"/>
                    </a:cubicBezTo>
                    <a:cubicBezTo>
                      <a:pt x="1259178" y="1024245"/>
                      <a:pt x="1264794" y="1024105"/>
                      <a:pt x="1270000" y="1025525"/>
                    </a:cubicBezTo>
                    <a:cubicBezTo>
                      <a:pt x="1306041" y="1035354"/>
                      <a:pt x="1275858" y="1026866"/>
                      <a:pt x="1298575" y="1038225"/>
                    </a:cubicBezTo>
                    <a:cubicBezTo>
                      <a:pt x="1324865" y="1051370"/>
                      <a:pt x="1290328" y="1029552"/>
                      <a:pt x="1317625" y="1047750"/>
                    </a:cubicBezTo>
                    <a:cubicBezTo>
                      <a:pt x="1319742" y="1050925"/>
                      <a:pt x="1320250" y="1056447"/>
                      <a:pt x="1323975" y="1057275"/>
                    </a:cubicBezTo>
                    <a:cubicBezTo>
                      <a:pt x="1344465" y="1061828"/>
                      <a:pt x="1344859" y="1056111"/>
                      <a:pt x="1352550" y="1044575"/>
                    </a:cubicBezTo>
                    <a:cubicBezTo>
                      <a:pt x="1354730" y="1022778"/>
                      <a:pt x="1348813" y="1014258"/>
                      <a:pt x="1365250" y="1003300"/>
                    </a:cubicBezTo>
                    <a:cubicBezTo>
                      <a:pt x="1368035" y="1001444"/>
                      <a:pt x="1371600" y="1001183"/>
                      <a:pt x="1374775" y="1000125"/>
                    </a:cubicBezTo>
                    <a:cubicBezTo>
                      <a:pt x="1380502" y="994398"/>
                      <a:pt x="1387475" y="990265"/>
                      <a:pt x="1387475" y="981075"/>
                    </a:cubicBezTo>
                    <a:cubicBezTo>
                      <a:pt x="1387475" y="977728"/>
                      <a:pt x="1385219" y="974768"/>
                      <a:pt x="1384300" y="971550"/>
                    </a:cubicBezTo>
                    <a:cubicBezTo>
                      <a:pt x="1383101" y="967354"/>
                      <a:pt x="1383998" y="962134"/>
                      <a:pt x="1381125" y="958850"/>
                    </a:cubicBezTo>
                    <a:cubicBezTo>
                      <a:pt x="1376099" y="953107"/>
                      <a:pt x="1368425" y="950383"/>
                      <a:pt x="1362075" y="946150"/>
                    </a:cubicBezTo>
                    <a:lnTo>
                      <a:pt x="1352550" y="939800"/>
                    </a:lnTo>
                    <a:lnTo>
                      <a:pt x="1343025" y="933450"/>
                    </a:lnTo>
                    <a:lnTo>
                      <a:pt x="1333500" y="927100"/>
                    </a:lnTo>
                    <a:cubicBezTo>
                      <a:pt x="1332442" y="923925"/>
                      <a:pt x="1329267" y="920750"/>
                      <a:pt x="1330325" y="917575"/>
                    </a:cubicBezTo>
                    <a:cubicBezTo>
                      <a:pt x="1336693" y="898470"/>
                      <a:pt x="1339376" y="899741"/>
                      <a:pt x="1352550" y="895350"/>
                    </a:cubicBezTo>
                    <a:cubicBezTo>
                      <a:pt x="1359572" y="888328"/>
                      <a:pt x="1364005" y="885141"/>
                      <a:pt x="1368425" y="876300"/>
                    </a:cubicBezTo>
                    <a:cubicBezTo>
                      <a:pt x="1369922" y="873307"/>
                      <a:pt x="1370542" y="869950"/>
                      <a:pt x="1371600" y="866775"/>
                    </a:cubicBezTo>
                    <a:cubicBezTo>
                      <a:pt x="1359958" y="849312"/>
                      <a:pt x="1371600" y="864129"/>
                      <a:pt x="1355725" y="850900"/>
                    </a:cubicBezTo>
                    <a:cubicBezTo>
                      <a:pt x="1346286" y="843034"/>
                      <a:pt x="1348632" y="839794"/>
                      <a:pt x="1336675" y="838200"/>
                    </a:cubicBezTo>
                    <a:cubicBezTo>
                      <a:pt x="1324043" y="836516"/>
                      <a:pt x="1311275" y="836083"/>
                      <a:pt x="1298575" y="835025"/>
                    </a:cubicBezTo>
                    <a:cubicBezTo>
                      <a:pt x="1290108" y="832203"/>
                      <a:pt x="1285875" y="833614"/>
                      <a:pt x="1285875" y="822325"/>
                    </a:cubicBezTo>
                    <a:cubicBezTo>
                      <a:pt x="1285875" y="778920"/>
                      <a:pt x="1282378" y="735039"/>
                      <a:pt x="1289050" y="692150"/>
                    </a:cubicBezTo>
                    <a:cubicBezTo>
                      <a:pt x="1290223" y="684609"/>
                      <a:pt x="1308100" y="679450"/>
                      <a:pt x="1308100" y="679450"/>
                    </a:cubicBezTo>
                    <a:cubicBezTo>
                      <a:pt x="1310217" y="676275"/>
                      <a:pt x="1311578" y="672438"/>
                      <a:pt x="1314450" y="669925"/>
                    </a:cubicBezTo>
                    <a:cubicBezTo>
                      <a:pt x="1320193" y="664899"/>
                      <a:pt x="1328104" y="662621"/>
                      <a:pt x="1333500" y="657225"/>
                    </a:cubicBezTo>
                    <a:lnTo>
                      <a:pt x="1343025" y="647700"/>
                    </a:lnTo>
                    <a:cubicBezTo>
                      <a:pt x="1344083" y="644525"/>
                      <a:pt x="1345758" y="641492"/>
                      <a:pt x="1346200" y="638175"/>
                    </a:cubicBezTo>
                    <a:cubicBezTo>
                      <a:pt x="1351802" y="596160"/>
                      <a:pt x="1350802" y="533447"/>
                      <a:pt x="1346200" y="498475"/>
                    </a:cubicBezTo>
                    <a:cubicBezTo>
                      <a:pt x="1345204" y="490908"/>
                      <a:pt x="1335913" y="486665"/>
                      <a:pt x="1333500" y="479425"/>
                    </a:cubicBezTo>
                    <a:lnTo>
                      <a:pt x="1327150" y="460375"/>
                    </a:lnTo>
                    <a:cubicBezTo>
                      <a:pt x="1328208" y="434975"/>
                      <a:pt x="1326146" y="409251"/>
                      <a:pt x="1330325" y="384175"/>
                    </a:cubicBezTo>
                    <a:cubicBezTo>
                      <a:pt x="1331580" y="376647"/>
                      <a:pt x="1338792" y="371475"/>
                      <a:pt x="1343025" y="365125"/>
                    </a:cubicBezTo>
                    <a:cubicBezTo>
                      <a:pt x="1345142" y="361950"/>
                      <a:pt x="1346200" y="357717"/>
                      <a:pt x="1349375" y="355600"/>
                    </a:cubicBezTo>
                    <a:cubicBezTo>
                      <a:pt x="1355725" y="351367"/>
                      <a:pt x="1361185" y="345313"/>
                      <a:pt x="1368425" y="342900"/>
                    </a:cubicBezTo>
                    <a:cubicBezTo>
                      <a:pt x="1382440" y="338228"/>
                      <a:pt x="1374957" y="341222"/>
                      <a:pt x="1390650" y="333375"/>
                    </a:cubicBezTo>
                    <a:cubicBezTo>
                      <a:pt x="1392767" y="330200"/>
                      <a:pt x="1394020" y="326234"/>
                      <a:pt x="1397000" y="323850"/>
                    </a:cubicBezTo>
                    <a:cubicBezTo>
                      <a:pt x="1412394" y="311535"/>
                      <a:pt x="1402773" y="331932"/>
                      <a:pt x="1409700" y="311150"/>
                    </a:cubicBezTo>
                    <a:cubicBezTo>
                      <a:pt x="1408642" y="307975"/>
                      <a:pt x="1409836" y="302115"/>
                      <a:pt x="1406525" y="301625"/>
                    </a:cubicBezTo>
                    <a:cubicBezTo>
                      <a:pt x="1379285" y="297589"/>
                      <a:pt x="1351366" y="301284"/>
                      <a:pt x="1323975" y="298450"/>
                    </a:cubicBezTo>
                    <a:cubicBezTo>
                      <a:pt x="1320179" y="298057"/>
                      <a:pt x="1317863" y="293807"/>
                      <a:pt x="1314450" y="292100"/>
                    </a:cubicBezTo>
                    <a:cubicBezTo>
                      <a:pt x="1311457" y="290603"/>
                      <a:pt x="1308233" y="289434"/>
                      <a:pt x="1304925" y="288925"/>
                    </a:cubicBezTo>
                    <a:cubicBezTo>
                      <a:pt x="1294413" y="287308"/>
                      <a:pt x="1283758" y="286808"/>
                      <a:pt x="1273175" y="285750"/>
                    </a:cubicBezTo>
                    <a:cubicBezTo>
                      <a:pt x="1270000" y="284692"/>
                      <a:pt x="1266643" y="284072"/>
                      <a:pt x="1263650" y="282575"/>
                    </a:cubicBezTo>
                    <a:cubicBezTo>
                      <a:pt x="1239031" y="270265"/>
                      <a:pt x="1268541" y="281030"/>
                      <a:pt x="1244600" y="273050"/>
                    </a:cubicBezTo>
                    <a:cubicBezTo>
                      <a:pt x="1245658" y="264583"/>
                      <a:pt x="1246372" y="256066"/>
                      <a:pt x="1247775" y="247650"/>
                    </a:cubicBezTo>
                    <a:cubicBezTo>
                      <a:pt x="1248492" y="243346"/>
                      <a:pt x="1248529" y="238581"/>
                      <a:pt x="1250950" y="234950"/>
                    </a:cubicBezTo>
                    <a:cubicBezTo>
                      <a:pt x="1253067" y="231775"/>
                      <a:pt x="1257544" y="231043"/>
                      <a:pt x="1260475" y="228600"/>
                    </a:cubicBezTo>
                    <a:cubicBezTo>
                      <a:pt x="1263924" y="225725"/>
                      <a:pt x="1267125" y="222524"/>
                      <a:pt x="1270000" y="219075"/>
                    </a:cubicBezTo>
                    <a:cubicBezTo>
                      <a:pt x="1272443" y="216144"/>
                      <a:pt x="1274643" y="212963"/>
                      <a:pt x="1276350" y="209550"/>
                    </a:cubicBezTo>
                    <a:cubicBezTo>
                      <a:pt x="1278627" y="204995"/>
                      <a:pt x="1281683" y="191394"/>
                      <a:pt x="1282700" y="187325"/>
                    </a:cubicBezTo>
                    <a:cubicBezTo>
                      <a:pt x="1281642" y="172508"/>
                      <a:pt x="1282747" y="157376"/>
                      <a:pt x="1279525" y="142875"/>
                    </a:cubicBezTo>
                    <a:cubicBezTo>
                      <a:pt x="1278377" y="137709"/>
                      <a:pt x="1273540" y="134108"/>
                      <a:pt x="1270000" y="130175"/>
                    </a:cubicBezTo>
                    <a:cubicBezTo>
                      <a:pt x="1238569" y="95251"/>
                      <a:pt x="1261867" y="127501"/>
                      <a:pt x="1238250" y="92075"/>
                    </a:cubicBezTo>
                    <a:cubicBezTo>
                      <a:pt x="1236133" y="88900"/>
                      <a:pt x="1233107" y="86170"/>
                      <a:pt x="1231900" y="82550"/>
                    </a:cubicBezTo>
                    <a:cubicBezTo>
                      <a:pt x="1229783" y="76200"/>
                      <a:pt x="1226863" y="70064"/>
                      <a:pt x="1225550" y="63500"/>
                    </a:cubicBezTo>
                    <a:cubicBezTo>
                      <a:pt x="1224670" y="59102"/>
                      <a:pt x="1222251" y="43592"/>
                      <a:pt x="1219200" y="38100"/>
                    </a:cubicBezTo>
                    <a:cubicBezTo>
                      <a:pt x="1215494" y="31429"/>
                      <a:pt x="1212850" y="23283"/>
                      <a:pt x="1206500" y="19050"/>
                    </a:cubicBezTo>
                    <a:cubicBezTo>
                      <a:pt x="1185689" y="5176"/>
                      <a:pt x="1187450" y="13982"/>
                      <a:pt x="1187450" y="0"/>
                    </a:cubicBezTo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sz="1799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15" name="Group 155">
              <a:extLst>
                <a:ext uri="{FF2B5EF4-FFF2-40B4-BE49-F238E27FC236}">
                  <a16:creationId xmlns:a16="http://schemas.microsoft.com/office/drawing/2014/main" xmlns="" id="{57A43DCF-9382-E941-84B4-C0DF8F9C718E}"/>
                </a:ext>
              </a:extLst>
            </p:cNvPr>
            <p:cNvGrpSpPr/>
            <p:nvPr/>
          </p:nvGrpSpPr>
          <p:grpSpPr bwMode="auto">
            <a:xfrm>
              <a:off x="3200400" y="2843822"/>
              <a:ext cx="1550194" cy="2202656"/>
              <a:chOff x="3200400" y="3226594"/>
              <a:chExt cx="1550194" cy="2202656"/>
            </a:xfrm>
            <a:grpFill/>
          </p:grpSpPr>
          <p:sp>
            <p:nvSpPr>
              <p:cNvPr id="100" name="Freeform 203">
                <a:extLst>
                  <a:ext uri="{FF2B5EF4-FFF2-40B4-BE49-F238E27FC236}">
                    <a16:creationId xmlns:a16="http://schemas.microsoft.com/office/drawing/2014/main" xmlns="" id="{14AEE8BE-B475-B140-9356-50E1824F6645}"/>
                  </a:ext>
                </a:extLst>
              </p:cNvPr>
              <p:cNvSpPr/>
              <p:nvPr/>
            </p:nvSpPr>
            <p:spPr bwMode="auto">
              <a:xfrm>
                <a:off x="3200400" y="3226594"/>
                <a:ext cx="1550194" cy="1509712"/>
              </a:xfrm>
              <a:custGeom>
                <a:avLst/>
                <a:gdLst>
                  <a:gd name="connsiteX0" fmla="*/ 111919 w 1550194"/>
                  <a:gd name="connsiteY0" fmla="*/ 1500187 h 1509712"/>
                  <a:gd name="connsiteX1" fmla="*/ 109538 w 1550194"/>
                  <a:gd name="connsiteY1" fmla="*/ 1469231 h 1509712"/>
                  <a:gd name="connsiteX2" fmla="*/ 104775 w 1550194"/>
                  <a:gd name="connsiteY2" fmla="*/ 1462087 h 1509712"/>
                  <a:gd name="connsiteX3" fmla="*/ 97631 w 1550194"/>
                  <a:gd name="connsiteY3" fmla="*/ 1447800 h 1509712"/>
                  <a:gd name="connsiteX4" fmla="*/ 100013 w 1550194"/>
                  <a:gd name="connsiteY4" fmla="*/ 1423987 h 1509712"/>
                  <a:gd name="connsiteX5" fmla="*/ 102394 w 1550194"/>
                  <a:gd name="connsiteY5" fmla="*/ 1416844 h 1509712"/>
                  <a:gd name="connsiteX6" fmla="*/ 107156 w 1550194"/>
                  <a:gd name="connsiteY6" fmla="*/ 1371600 h 1509712"/>
                  <a:gd name="connsiteX7" fmla="*/ 111919 w 1550194"/>
                  <a:gd name="connsiteY7" fmla="*/ 1364456 h 1509712"/>
                  <a:gd name="connsiteX8" fmla="*/ 111919 w 1550194"/>
                  <a:gd name="connsiteY8" fmla="*/ 1316831 h 1509712"/>
                  <a:gd name="connsiteX9" fmla="*/ 107156 w 1550194"/>
                  <a:gd name="connsiteY9" fmla="*/ 1300162 h 1509712"/>
                  <a:gd name="connsiteX10" fmla="*/ 102394 w 1550194"/>
                  <a:gd name="connsiteY10" fmla="*/ 1293019 h 1509712"/>
                  <a:gd name="connsiteX11" fmla="*/ 92869 w 1550194"/>
                  <a:gd name="connsiteY11" fmla="*/ 1281112 h 1509712"/>
                  <a:gd name="connsiteX12" fmla="*/ 80963 w 1550194"/>
                  <a:gd name="connsiteY12" fmla="*/ 1269206 h 1509712"/>
                  <a:gd name="connsiteX13" fmla="*/ 66675 w 1550194"/>
                  <a:gd name="connsiteY13" fmla="*/ 1257300 h 1509712"/>
                  <a:gd name="connsiteX14" fmla="*/ 54769 w 1550194"/>
                  <a:gd name="connsiteY14" fmla="*/ 1247775 h 1509712"/>
                  <a:gd name="connsiteX15" fmla="*/ 42863 w 1550194"/>
                  <a:gd name="connsiteY15" fmla="*/ 1233487 h 1509712"/>
                  <a:gd name="connsiteX16" fmla="*/ 35719 w 1550194"/>
                  <a:gd name="connsiteY16" fmla="*/ 1228725 h 1509712"/>
                  <a:gd name="connsiteX17" fmla="*/ 21431 w 1550194"/>
                  <a:gd name="connsiteY17" fmla="*/ 1214437 h 1509712"/>
                  <a:gd name="connsiteX18" fmla="*/ 14288 w 1550194"/>
                  <a:gd name="connsiteY18" fmla="*/ 1207294 h 1509712"/>
                  <a:gd name="connsiteX19" fmla="*/ 7144 w 1550194"/>
                  <a:gd name="connsiteY19" fmla="*/ 1202531 h 1509712"/>
                  <a:gd name="connsiteX20" fmla="*/ 0 w 1550194"/>
                  <a:gd name="connsiteY20" fmla="*/ 1188244 h 1509712"/>
                  <a:gd name="connsiteX21" fmla="*/ 2381 w 1550194"/>
                  <a:gd name="connsiteY21" fmla="*/ 1173956 h 1509712"/>
                  <a:gd name="connsiteX22" fmla="*/ 4763 w 1550194"/>
                  <a:gd name="connsiteY22" fmla="*/ 1164431 h 1509712"/>
                  <a:gd name="connsiteX23" fmla="*/ 11906 w 1550194"/>
                  <a:gd name="connsiteY23" fmla="*/ 1159669 h 1509712"/>
                  <a:gd name="connsiteX24" fmla="*/ 16669 w 1550194"/>
                  <a:gd name="connsiteY24" fmla="*/ 1150144 h 1509712"/>
                  <a:gd name="connsiteX25" fmla="*/ 26194 w 1550194"/>
                  <a:gd name="connsiteY25" fmla="*/ 1135856 h 1509712"/>
                  <a:gd name="connsiteX26" fmla="*/ 28575 w 1550194"/>
                  <a:gd name="connsiteY26" fmla="*/ 1047750 h 1509712"/>
                  <a:gd name="connsiteX27" fmla="*/ 35719 w 1550194"/>
                  <a:gd name="connsiteY27" fmla="*/ 1019175 h 1509712"/>
                  <a:gd name="connsiteX28" fmla="*/ 38100 w 1550194"/>
                  <a:gd name="connsiteY28" fmla="*/ 1012031 h 1509712"/>
                  <a:gd name="connsiteX29" fmla="*/ 40481 w 1550194"/>
                  <a:gd name="connsiteY29" fmla="*/ 1002506 h 1509712"/>
                  <a:gd name="connsiteX30" fmla="*/ 47625 w 1550194"/>
                  <a:gd name="connsiteY30" fmla="*/ 981075 h 1509712"/>
                  <a:gd name="connsiteX31" fmla="*/ 52388 w 1550194"/>
                  <a:gd name="connsiteY31" fmla="*/ 966787 h 1509712"/>
                  <a:gd name="connsiteX32" fmla="*/ 66675 w 1550194"/>
                  <a:gd name="connsiteY32" fmla="*/ 954881 h 1509712"/>
                  <a:gd name="connsiteX33" fmla="*/ 69056 w 1550194"/>
                  <a:gd name="connsiteY33" fmla="*/ 947737 h 1509712"/>
                  <a:gd name="connsiteX34" fmla="*/ 76200 w 1550194"/>
                  <a:gd name="connsiteY34" fmla="*/ 942975 h 1509712"/>
                  <a:gd name="connsiteX35" fmla="*/ 83344 w 1550194"/>
                  <a:gd name="connsiteY35" fmla="*/ 935831 h 1509712"/>
                  <a:gd name="connsiteX36" fmla="*/ 92869 w 1550194"/>
                  <a:gd name="connsiteY36" fmla="*/ 921544 h 1509712"/>
                  <a:gd name="connsiteX37" fmla="*/ 100013 w 1550194"/>
                  <a:gd name="connsiteY37" fmla="*/ 904875 h 1509712"/>
                  <a:gd name="connsiteX38" fmla="*/ 104775 w 1550194"/>
                  <a:gd name="connsiteY38" fmla="*/ 890587 h 1509712"/>
                  <a:gd name="connsiteX39" fmla="*/ 107156 w 1550194"/>
                  <a:gd name="connsiteY39" fmla="*/ 883444 h 1509712"/>
                  <a:gd name="connsiteX40" fmla="*/ 121444 w 1550194"/>
                  <a:gd name="connsiteY40" fmla="*/ 873919 h 1509712"/>
                  <a:gd name="connsiteX41" fmla="*/ 133350 w 1550194"/>
                  <a:gd name="connsiteY41" fmla="*/ 859631 h 1509712"/>
                  <a:gd name="connsiteX42" fmla="*/ 142875 w 1550194"/>
                  <a:gd name="connsiteY42" fmla="*/ 854869 h 1509712"/>
                  <a:gd name="connsiteX43" fmla="*/ 150019 w 1550194"/>
                  <a:gd name="connsiteY43" fmla="*/ 850106 h 1509712"/>
                  <a:gd name="connsiteX44" fmla="*/ 159544 w 1550194"/>
                  <a:gd name="connsiteY44" fmla="*/ 842962 h 1509712"/>
                  <a:gd name="connsiteX45" fmla="*/ 169069 w 1550194"/>
                  <a:gd name="connsiteY45" fmla="*/ 840581 h 1509712"/>
                  <a:gd name="connsiteX46" fmla="*/ 235744 w 1550194"/>
                  <a:gd name="connsiteY46" fmla="*/ 838200 h 1509712"/>
                  <a:gd name="connsiteX47" fmla="*/ 250031 w 1550194"/>
                  <a:gd name="connsiteY47" fmla="*/ 831056 h 1509712"/>
                  <a:gd name="connsiteX48" fmla="*/ 257175 w 1550194"/>
                  <a:gd name="connsiteY48" fmla="*/ 828675 h 1509712"/>
                  <a:gd name="connsiteX49" fmla="*/ 271463 w 1550194"/>
                  <a:gd name="connsiteY49" fmla="*/ 819150 h 1509712"/>
                  <a:gd name="connsiteX50" fmla="*/ 290513 w 1550194"/>
                  <a:gd name="connsiteY50" fmla="*/ 814387 h 1509712"/>
                  <a:gd name="connsiteX51" fmla="*/ 304800 w 1550194"/>
                  <a:gd name="connsiteY51" fmla="*/ 804862 h 1509712"/>
                  <a:gd name="connsiteX52" fmla="*/ 311944 w 1550194"/>
                  <a:gd name="connsiteY52" fmla="*/ 797719 h 1509712"/>
                  <a:gd name="connsiteX53" fmla="*/ 319088 w 1550194"/>
                  <a:gd name="connsiteY53" fmla="*/ 792956 h 1509712"/>
                  <a:gd name="connsiteX54" fmla="*/ 330994 w 1550194"/>
                  <a:gd name="connsiteY54" fmla="*/ 781050 h 1509712"/>
                  <a:gd name="connsiteX55" fmla="*/ 345281 w 1550194"/>
                  <a:gd name="connsiteY55" fmla="*/ 771525 h 1509712"/>
                  <a:gd name="connsiteX56" fmla="*/ 359569 w 1550194"/>
                  <a:gd name="connsiteY56" fmla="*/ 759619 h 1509712"/>
                  <a:gd name="connsiteX57" fmla="*/ 366713 w 1550194"/>
                  <a:gd name="connsiteY57" fmla="*/ 757237 h 1509712"/>
                  <a:gd name="connsiteX58" fmla="*/ 371475 w 1550194"/>
                  <a:gd name="connsiteY58" fmla="*/ 750094 h 1509712"/>
                  <a:gd name="connsiteX59" fmla="*/ 388144 w 1550194"/>
                  <a:gd name="connsiteY59" fmla="*/ 742950 h 1509712"/>
                  <a:gd name="connsiteX60" fmla="*/ 402431 w 1550194"/>
                  <a:gd name="connsiteY60" fmla="*/ 731044 h 1509712"/>
                  <a:gd name="connsiteX61" fmla="*/ 419100 w 1550194"/>
                  <a:gd name="connsiteY61" fmla="*/ 723900 h 1509712"/>
                  <a:gd name="connsiteX62" fmla="*/ 440531 w 1550194"/>
                  <a:gd name="connsiteY62" fmla="*/ 711994 h 1509712"/>
                  <a:gd name="connsiteX63" fmla="*/ 461963 w 1550194"/>
                  <a:gd name="connsiteY63" fmla="*/ 700087 h 1509712"/>
                  <a:gd name="connsiteX64" fmla="*/ 471488 w 1550194"/>
                  <a:gd name="connsiteY64" fmla="*/ 697706 h 1509712"/>
                  <a:gd name="connsiteX65" fmla="*/ 478631 w 1550194"/>
                  <a:gd name="connsiteY65" fmla="*/ 692944 h 1509712"/>
                  <a:gd name="connsiteX66" fmla="*/ 495300 w 1550194"/>
                  <a:gd name="connsiteY66" fmla="*/ 688181 h 1509712"/>
                  <a:gd name="connsiteX67" fmla="*/ 509588 w 1550194"/>
                  <a:gd name="connsiteY67" fmla="*/ 676275 h 1509712"/>
                  <a:gd name="connsiteX68" fmla="*/ 531019 w 1550194"/>
                  <a:gd name="connsiteY68" fmla="*/ 664369 h 1509712"/>
                  <a:gd name="connsiteX69" fmla="*/ 535781 w 1550194"/>
                  <a:gd name="connsiteY69" fmla="*/ 657225 h 1509712"/>
                  <a:gd name="connsiteX70" fmla="*/ 550069 w 1550194"/>
                  <a:gd name="connsiteY70" fmla="*/ 647700 h 1509712"/>
                  <a:gd name="connsiteX71" fmla="*/ 552450 w 1550194"/>
                  <a:gd name="connsiteY71" fmla="*/ 640556 h 1509712"/>
                  <a:gd name="connsiteX72" fmla="*/ 566738 w 1550194"/>
                  <a:gd name="connsiteY72" fmla="*/ 628650 h 1509712"/>
                  <a:gd name="connsiteX73" fmla="*/ 576263 w 1550194"/>
                  <a:gd name="connsiteY73" fmla="*/ 614362 h 1509712"/>
                  <a:gd name="connsiteX74" fmla="*/ 581025 w 1550194"/>
                  <a:gd name="connsiteY74" fmla="*/ 600075 h 1509712"/>
                  <a:gd name="connsiteX75" fmla="*/ 578644 w 1550194"/>
                  <a:gd name="connsiteY75" fmla="*/ 538162 h 1509712"/>
                  <a:gd name="connsiteX76" fmla="*/ 576263 w 1550194"/>
                  <a:gd name="connsiteY76" fmla="*/ 531019 h 1509712"/>
                  <a:gd name="connsiteX77" fmla="*/ 590550 w 1550194"/>
                  <a:gd name="connsiteY77" fmla="*/ 523875 h 1509712"/>
                  <a:gd name="connsiteX78" fmla="*/ 595313 w 1550194"/>
                  <a:gd name="connsiteY78" fmla="*/ 516731 h 1509712"/>
                  <a:gd name="connsiteX79" fmla="*/ 602456 w 1550194"/>
                  <a:gd name="connsiteY79" fmla="*/ 514350 h 1509712"/>
                  <a:gd name="connsiteX80" fmla="*/ 611981 w 1550194"/>
                  <a:gd name="connsiteY80" fmla="*/ 500062 h 1509712"/>
                  <a:gd name="connsiteX81" fmla="*/ 609600 w 1550194"/>
                  <a:gd name="connsiteY81" fmla="*/ 483394 h 1509712"/>
                  <a:gd name="connsiteX82" fmla="*/ 604838 w 1550194"/>
                  <a:gd name="connsiteY82" fmla="*/ 476250 h 1509712"/>
                  <a:gd name="connsiteX83" fmla="*/ 602456 w 1550194"/>
                  <a:gd name="connsiteY83" fmla="*/ 469106 h 1509712"/>
                  <a:gd name="connsiteX84" fmla="*/ 595313 w 1550194"/>
                  <a:gd name="connsiteY84" fmla="*/ 438150 h 1509712"/>
                  <a:gd name="connsiteX85" fmla="*/ 607219 w 1550194"/>
                  <a:gd name="connsiteY85" fmla="*/ 402431 h 1509712"/>
                  <a:gd name="connsiteX86" fmla="*/ 621506 w 1550194"/>
                  <a:gd name="connsiteY86" fmla="*/ 392906 h 1509712"/>
                  <a:gd name="connsiteX87" fmla="*/ 626269 w 1550194"/>
                  <a:gd name="connsiteY87" fmla="*/ 426244 h 1509712"/>
                  <a:gd name="connsiteX88" fmla="*/ 631031 w 1550194"/>
                  <a:gd name="connsiteY88" fmla="*/ 433387 h 1509712"/>
                  <a:gd name="connsiteX89" fmla="*/ 642938 w 1550194"/>
                  <a:gd name="connsiteY89" fmla="*/ 457200 h 1509712"/>
                  <a:gd name="connsiteX90" fmla="*/ 647700 w 1550194"/>
                  <a:gd name="connsiteY90" fmla="*/ 464344 h 1509712"/>
                  <a:gd name="connsiteX91" fmla="*/ 654844 w 1550194"/>
                  <a:gd name="connsiteY91" fmla="*/ 469106 h 1509712"/>
                  <a:gd name="connsiteX92" fmla="*/ 659606 w 1550194"/>
                  <a:gd name="connsiteY92" fmla="*/ 476250 h 1509712"/>
                  <a:gd name="connsiteX93" fmla="*/ 652463 w 1550194"/>
                  <a:gd name="connsiteY93" fmla="*/ 500062 h 1509712"/>
                  <a:gd name="connsiteX94" fmla="*/ 657225 w 1550194"/>
                  <a:gd name="connsiteY94" fmla="*/ 516731 h 1509712"/>
                  <a:gd name="connsiteX95" fmla="*/ 678656 w 1550194"/>
                  <a:gd name="connsiteY95" fmla="*/ 528637 h 1509712"/>
                  <a:gd name="connsiteX96" fmla="*/ 697706 w 1550194"/>
                  <a:gd name="connsiteY96" fmla="*/ 533400 h 1509712"/>
                  <a:gd name="connsiteX97" fmla="*/ 711994 w 1550194"/>
                  <a:gd name="connsiteY97" fmla="*/ 545306 h 1509712"/>
                  <a:gd name="connsiteX98" fmla="*/ 714375 w 1550194"/>
                  <a:gd name="connsiteY98" fmla="*/ 552450 h 1509712"/>
                  <a:gd name="connsiteX99" fmla="*/ 719138 w 1550194"/>
                  <a:gd name="connsiteY99" fmla="*/ 559594 h 1509712"/>
                  <a:gd name="connsiteX100" fmla="*/ 721519 w 1550194"/>
                  <a:gd name="connsiteY100" fmla="*/ 566737 h 1509712"/>
                  <a:gd name="connsiteX101" fmla="*/ 735806 w 1550194"/>
                  <a:gd name="connsiteY101" fmla="*/ 573881 h 1509712"/>
                  <a:gd name="connsiteX102" fmla="*/ 752475 w 1550194"/>
                  <a:gd name="connsiteY102" fmla="*/ 566737 h 1509712"/>
                  <a:gd name="connsiteX103" fmla="*/ 757238 w 1550194"/>
                  <a:gd name="connsiteY103" fmla="*/ 559594 h 1509712"/>
                  <a:gd name="connsiteX104" fmla="*/ 766763 w 1550194"/>
                  <a:gd name="connsiteY104" fmla="*/ 550069 h 1509712"/>
                  <a:gd name="connsiteX105" fmla="*/ 778669 w 1550194"/>
                  <a:gd name="connsiteY105" fmla="*/ 535781 h 1509712"/>
                  <a:gd name="connsiteX106" fmla="*/ 776288 w 1550194"/>
                  <a:gd name="connsiteY106" fmla="*/ 485775 h 1509712"/>
                  <a:gd name="connsiteX107" fmla="*/ 771525 w 1550194"/>
                  <a:gd name="connsiteY107" fmla="*/ 471487 h 1509712"/>
                  <a:gd name="connsiteX108" fmla="*/ 769144 w 1550194"/>
                  <a:gd name="connsiteY108" fmla="*/ 464344 h 1509712"/>
                  <a:gd name="connsiteX109" fmla="*/ 766763 w 1550194"/>
                  <a:gd name="connsiteY109" fmla="*/ 450056 h 1509712"/>
                  <a:gd name="connsiteX110" fmla="*/ 764381 w 1550194"/>
                  <a:gd name="connsiteY110" fmla="*/ 397669 h 1509712"/>
                  <a:gd name="connsiteX111" fmla="*/ 735806 w 1550194"/>
                  <a:gd name="connsiteY111" fmla="*/ 395287 h 1509712"/>
                  <a:gd name="connsiteX112" fmla="*/ 719138 w 1550194"/>
                  <a:gd name="connsiteY112" fmla="*/ 390525 h 1509712"/>
                  <a:gd name="connsiteX113" fmla="*/ 704850 w 1550194"/>
                  <a:gd name="connsiteY113" fmla="*/ 378619 h 1509712"/>
                  <a:gd name="connsiteX114" fmla="*/ 702469 w 1550194"/>
                  <a:gd name="connsiteY114" fmla="*/ 345281 h 1509712"/>
                  <a:gd name="connsiteX115" fmla="*/ 707231 w 1550194"/>
                  <a:gd name="connsiteY115" fmla="*/ 338137 h 1509712"/>
                  <a:gd name="connsiteX116" fmla="*/ 714375 w 1550194"/>
                  <a:gd name="connsiteY116" fmla="*/ 333375 h 1509712"/>
                  <a:gd name="connsiteX117" fmla="*/ 728663 w 1550194"/>
                  <a:gd name="connsiteY117" fmla="*/ 319087 h 1509712"/>
                  <a:gd name="connsiteX118" fmla="*/ 742950 w 1550194"/>
                  <a:gd name="connsiteY118" fmla="*/ 309562 h 1509712"/>
                  <a:gd name="connsiteX119" fmla="*/ 757238 w 1550194"/>
                  <a:gd name="connsiteY119" fmla="*/ 295275 h 1509712"/>
                  <a:gd name="connsiteX120" fmla="*/ 762000 w 1550194"/>
                  <a:gd name="connsiteY120" fmla="*/ 280987 h 1509712"/>
                  <a:gd name="connsiteX121" fmla="*/ 766763 w 1550194"/>
                  <a:gd name="connsiteY121" fmla="*/ 261937 h 1509712"/>
                  <a:gd name="connsiteX122" fmla="*/ 776288 w 1550194"/>
                  <a:gd name="connsiteY122" fmla="*/ 247650 h 1509712"/>
                  <a:gd name="connsiteX123" fmla="*/ 781050 w 1550194"/>
                  <a:gd name="connsiteY123" fmla="*/ 240506 h 1509712"/>
                  <a:gd name="connsiteX124" fmla="*/ 778669 w 1550194"/>
                  <a:gd name="connsiteY124" fmla="*/ 228600 h 1509712"/>
                  <a:gd name="connsiteX125" fmla="*/ 766763 w 1550194"/>
                  <a:gd name="connsiteY125" fmla="*/ 214312 h 1509712"/>
                  <a:gd name="connsiteX126" fmla="*/ 769144 w 1550194"/>
                  <a:gd name="connsiteY126" fmla="*/ 197644 h 1509712"/>
                  <a:gd name="connsiteX127" fmla="*/ 776288 w 1550194"/>
                  <a:gd name="connsiteY127" fmla="*/ 195262 h 1509712"/>
                  <a:gd name="connsiteX128" fmla="*/ 790575 w 1550194"/>
                  <a:gd name="connsiteY128" fmla="*/ 185737 h 1509712"/>
                  <a:gd name="connsiteX129" fmla="*/ 797719 w 1550194"/>
                  <a:gd name="connsiteY129" fmla="*/ 180975 h 1509712"/>
                  <a:gd name="connsiteX130" fmla="*/ 807244 w 1550194"/>
                  <a:gd name="connsiteY130" fmla="*/ 173831 h 1509712"/>
                  <a:gd name="connsiteX131" fmla="*/ 838200 w 1550194"/>
                  <a:gd name="connsiteY131" fmla="*/ 169069 h 1509712"/>
                  <a:gd name="connsiteX132" fmla="*/ 854869 w 1550194"/>
                  <a:gd name="connsiteY132" fmla="*/ 152400 h 1509712"/>
                  <a:gd name="connsiteX133" fmla="*/ 869156 w 1550194"/>
                  <a:gd name="connsiteY133" fmla="*/ 140494 h 1509712"/>
                  <a:gd name="connsiteX134" fmla="*/ 873919 w 1550194"/>
                  <a:gd name="connsiteY134" fmla="*/ 133350 h 1509712"/>
                  <a:gd name="connsiteX135" fmla="*/ 881063 w 1550194"/>
                  <a:gd name="connsiteY135" fmla="*/ 128587 h 1509712"/>
                  <a:gd name="connsiteX136" fmla="*/ 883444 w 1550194"/>
                  <a:gd name="connsiteY136" fmla="*/ 121444 h 1509712"/>
                  <a:gd name="connsiteX137" fmla="*/ 888206 w 1550194"/>
                  <a:gd name="connsiteY137" fmla="*/ 114300 h 1509712"/>
                  <a:gd name="connsiteX138" fmla="*/ 897731 w 1550194"/>
                  <a:gd name="connsiteY138" fmla="*/ 92869 h 1509712"/>
                  <a:gd name="connsiteX139" fmla="*/ 900113 w 1550194"/>
                  <a:gd name="connsiteY139" fmla="*/ 80962 h 1509712"/>
                  <a:gd name="connsiteX140" fmla="*/ 907256 w 1550194"/>
                  <a:gd name="connsiteY140" fmla="*/ 66675 h 1509712"/>
                  <a:gd name="connsiteX141" fmla="*/ 909638 w 1550194"/>
                  <a:gd name="connsiteY141" fmla="*/ 54769 h 1509712"/>
                  <a:gd name="connsiteX142" fmla="*/ 914400 w 1550194"/>
                  <a:gd name="connsiteY142" fmla="*/ 40481 h 1509712"/>
                  <a:gd name="connsiteX143" fmla="*/ 916781 w 1550194"/>
                  <a:gd name="connsiteY143" fmla="*/ 33337 h 1509712"/>
                  <a:gd name="connsiteX144" fmla="*/ 919163 w 1550194"/>
                  <a:gd name="connsiteY144" fmla="*/ 26194 h 1509712"/>
                  <a:gd name="connsiteX145" fmla="*/ 921544 w 1550194"/>
                  <a:gd name="connsiteY145" fmla="*/ 19050 h 1509712"/>
                  <a:gd name="connsiteX146" fmla="*/ 938213 w 1550194"/>
                  <a:gd name="connsiteY146" fmla="*/ 7144 h 1509712"/>
                  <a:gd name="connsiteX147" fmla="*/ 954881 w 1550194"/>
                  <a:gd name="connsiteY147" fmla="*/ 0 h 1509712"/>
                  <a:gd name="connsiteX148" fmla="*/ 995363 w 1550194"/>
                  <a:gd name="connsiteY148" fmla="*/ 2381 h 1509712"/>
                  <a:gd name="connsiteX149" fmla="*/ 1009650 w 1550194"/>
                  <a:gd name="connsiteY149" fmla="*/ 16669 h 1509712"/>
                  <a:gd name="connsiteX150" fmla="*/ 1023938 w 1550194"/>
                  <a:gd name="connsiteY150" fmla="*/ 21431 h 1509712"/>
                  <a:gd name="connsiteX151" fmla="*/ 1045369 w 1550194"/>
                  <a:gd name="connsiteY151" fmla="*/ 38100 h 1509712"/>
                  <a:gd name="connsiteX152" fmla="*/ 1052513 w 1550194"/>
                  <a:gd name="connsiteY152" fmla="*/ 78581 h 1509712"/>
                  <a:gd name="connsiteX153" fmla="*/ 1045369 w 1550194"/>
                  <a:gd name="connsiteY153" fmla="*/ 80962 h 1509712"/>
                  <a:gd name="connsiteX154" fmla="*/ 1023938 w 1550194"/>
                  <a:gd name="connsiteY154" fmla="*/ 85725 h 1509712"/>
                  <a:gd name="connsiteX155" fmla="*/ 1012031 w 1550194"/>
                  <a:gd name="connsiteY155" fmla="*/ 100012 h 1509712"/>
                  <a:gd name="connsiteX156" fmla="*/ 1009650 w 1550194"/>
                  <a:gd name="connsiteY156" fmla="*/ 107156 h 1509712"/>
                  <a:gd name="connsiteX157" fmla="*/ 1000125 w 1550194"/>
                  <a:gd name="connsiteY157" fmla="*/ 123825 h 1509712"/>
                  <a:gd name="connsiteX158" fmla="*/ 992981 w 1550194"/>
                  <a:gd name="connsiteY158" fmla="*/ 130969 h 1509712"/>
                  <a:gd name="connsiteX159" fmla="*/ 990600 w 1550194"/>
                  <a:gd name="connsiteY159" fmla="*/ 138112 h 1509712"/>
                  <a:gd name="connsiteX160" fmla="*/ 978694 w 1550194"/>
                  <a:gd name="connsiteY160" fmla="*/ 154781 h 1509712"/>
                  <a:gd name="connsiteX161" fmla="*/ 973931 w 1550194"/>
                  <a:gd name="connsiteY161" fmla="*/ 169069 h 1509712"/>
                  <a:gd name="connsiteX162" fmla="*/ 964406 w 1550194"/>
                  <a:gd name="connsiteY162" fmla="*/ 202406 h 1509712"/>
                  <a:gd name="connsiteX163" fmla="*/ 962025 w 1550194"/>
                  <a:gd name="connsiteY163" fmla="*/ 219075 h 1509712"/>
                  <a:gd name="connsiteX164" fmla="*/ 964406 w 1550194"/>
                  <a:gd name="connsiteY164" fmla="*/ 304800 h 1509712"/>
                  <a:gd name="connsiteX165" fmla="*/ 959644 w 1550194"/>
                  <a:gd name="connsiteY165" fmla="*/ 330994 h 1509712"/>
                  <a:gd name="connsiteX166" fmla="*/ 952500 w 1550194"/>
                  <a:gd name="connsiteY166" fmla="*/ 338137 h 1509712"/>
                  <a:gd name="connsiteX167" fmla="*/ 942975 w 1550194"/>
                  <a:gd name="connsiteY167" fmla="*/ 352425 h 1509712"/>
                  <a:gd name="connsiteX168" fmla="*/ 931069 w 1550194"/>
                  <a:gd name="connsiteY168" fmla="*/ 371475 h 1509712"/>
                  <a:gd name="connsiteX169" fmla="*/ 926306 w 1550194"/>
                  <a:gd name="connsiteY169" fmla="*/ 385762 h 1509712"/>
                  <a:gd name="connsiteX170" fmla="*/ 921544 w 1550194"/>
                  <a:gd name="connsiteY170" fmla="*/ 400050 h 1509712"/>
                  <a:gd name="connsiteX171" fmla="*/ 919163 w 1550194"/>
                  <a:gd name="connsiteY171" fmla="*/ 407194 h 1509712"/>
                  <a:gd name="connsiteX172" fmla="*/ 916781 w 1550194"/>
                  <a:gd name="connsiteY172" fmla="*/ 416719 h 1509712"/>
                  <a:gd name="connsiteX173" fmla="*/ 914400 w 1550194"/>
                  <a:gd name="connsiteY173" fmla="*/ 423862 h 1509712"/>
                  <a:gd name="connsiteX174" fmla="*/ 909638 w 1550194"/>
                  <a:gd name="connsiteY174" fmla="*/ 440531 h 1509712"/>
                  <a:gd name="connsiteX175" fmla="*/ 900113 w 1550194"/>
                  <a:gd name="connsiteY175" fmla="*/ 457200 h 1509712"/>
                  <a:gd name="connsiteX176" fmla="*/ 895350 w 1550194"/>
                  <a:gd name="connsiteY176" fmla="*/ 466725 h 1509712"/>
                  <a:gd name="connsiteX177" fmla="*/ 890588 w 1550194"/>
                  <a:gd name="connsiteY177" fmla="*/ 473869 h 1509712"/>
                  <a:gd name="connsiteX178" fmla="*/ 885825 w 1550194"/>
                  <a:gd name="connsiteY178" fmla="*/ 490537 h 1509712"/>
                  <a:gd name="connsiteX179" fmla="*/ 883444 w 1550194"/>
                  <a:gd name="connsiteY179" fmla="*/ 497681 h 1509712"/>
                  <a:gd name="connsiteX180" fmla="*/ 885825 w 1550194"/>
                  <a:gd name="connsiteY180" fmla="*/ 547687 h 1509712"/>
                  <a:gd name="connsiteX181" fmla="*/ 888206 w 1550194"/>
                  <a:gd name="connsiteY181" fmla="*/ 557212 h 1509712"/>
                  <a:gd name="connsiteX182" fmla="*/ 890588 w 1550194"/>
                  <a:gd name="connsiteY182" fmla="*/ 571500 h 1509712"/>
                  <a:gd name="connsiteX183" fmla="*/ 892969 w 1550194"/>
                  <a:gd name="connsiteY183" fmla="*/ 581025 h 1509712"/>
                  <a:gd name="connsiteX184" fmla="*/ 895350 w 1550194"/>
                  <a:gd name="connsiteY184" fmla="*/ 600075 h 1509712"/>
                  <a:gd name="connsiteX185" fmla="*/ 892969 w 1550194"/>
                  <a:gd name="connsiteY185" fmla="*/ 669131 h 1509712"/>
                  <a:gd name="connsiteX186" fmla="*/ 888206 w 1550194"/>
                  <a:gd name="connsiteY186" fmla="*/ 676275 h 1509712"/>
                  <a:gd name="connsiteX187" fmla="*/ 881063 w 1550194"/>
                  <a:gd name="connsiteY187" fmla="*/ 681037 h 1509712"/>
                  <a:gd name="connsiteX188" fmla="*/ 876300 w 1550194"/>
                  <a:gd name="connsiteY188" fmla="*/ 688181 h 1509712"/>
                  <a:gd name="connsiteX189" fmla="*/ 873919 w 1550194"/>
                  <a:gd name="connsiteY189" fmla="*/ 695325 h 1509712"/>
                  <a:gd name="connsiteX190" fmla="*/ 866775 w 1550194"/>
                  <a:gd name="connsiteY190" fmla="*/ 700087 h 1509712"/>
                  <a:gd name="connsiteX191" fmla="*/ 847725 w 1550194"/>
                  <a:gd name="connsiteY191" fmla="*/ 721519 h 1509712"/>
                  <a:gd name="connsiteX192" fmla="*/ 833438 w 1550194"/>
                  <a:gd name="connsiteY192" fmla="*/ 733425 h 1509712"/>
                  <a:gd name="connsiteX193" fmla="*/ 821531 w 1550194"/>
                  <a:gd name="connsiteY193" fmla="*/ 747712 h 1509712"/>
                  <a:gd name="connsiteX194" fmla="*/ 816769 w 1550194"/>
                  <a:gd name="connsiteY194" fmla="*/ 754856 h 1509712"/>
                  <a:gd name="connsiteX195" fmla="*/ 802481 w 1550194"/>
                  <a:gd name="connsiteY195" fmla="*/ 769144 h 1509712"/>
                  <a:gd name="connsiteX196" fmla="*/ 790575 w 1550194"/>
                  <a:gd name="connsiteY196" fmla="*/ 785812 h 1509712"/>
                  <a:gd name="connsiteX197" fmla="*/ 785813 w 1550194"/>
                  <a:gd name="connsiteY197" fmla="*/ 792956 h 1509712"/>
                  <a:gd name="connsiteX198" fmla="*/ 778669 w 1550194"/>
                  <a:gd name="connsiteY198" fmla="*/ 797719 h 1509712"/>
                  <a:gd name="connsiteX199" fmla="*/ 771525 w 1550194"/>
                  <a:gd name="connsiteY199" fmla="*/ 804862 h 1509712"/>
                  <a:gd name="connsiteX200" fmla="*/ 764381 w 1550194"/>
                  <a:gd name="connsiteY200" fmla="*/ 807244 h 1509712"/>
                  <a:gd name="connsiteX201" fmla="*/ 754856 w 1550194"/>
                  <a:gd name="connsiteY201" fmla="*/ 812006 h 1509712"/>
                  <a:gd name="connsiteX202" fmla="*/ 742950 w 1550194"/>
                  <a:gd name="connsiteY202" fmla="*/ 800100 h 1509712"/>
                  <a:gd name="connsiteX203" fmla="*/ 735806 w 1550194"/>
                  <a:gd name="connsiteY203" fmla="*/ 792956 h 1509712"/>
                  <a:gd name="connsiteX204" fmla="*/ 731044 w 1550194"/>
                  <a:gd name="connsiteY204" fmla="*/ 785812 h 1509712"/>
                  <a:gd name="connsiteX205" fmla="*/ 723900 w 1550194"/>
                  <a:gd name="connsiteY205" fmla="*/ 783431 h 1509712"/>
                  <a:gd name="connsiteX206" fmla="*/ 714375 w 1550194"/>
                  <a:gd name="connsiteY206" fmla="*/ 776287 h 1509712"/>
                  <a:gd name="connsiteX207" fmla="*/ 697706 w 1550194"/>
                  <a:gd name="connsiteY207" fmla="*/ 771525 h 1509712"/>
                  <a:gd name="connsiteX208" fmla="*/ 690563 w 1550194"/>
                  <a:gd name="connsiteY208" fmla="*/ 778669 h 1509712"/>
                  <a:gd name="connsiteX209" fmla="*/ 688181 w 1550194"/>
                  <a:gd name="connsiteY209" fmla="*/ 785812 h 1509712"/>
                  <a:gd name="connsiteX210" fmla="*/ 692944 w 1550194"/>
                  <a:gd name="connsiteY210" fmla="*/ 819150 h 1509712"/>
                  <a:gd name="connsiteX211" fmla="*/ 697706 w 1550194"/>
                  <a:gd name="connsiteY211" fmla="*/ 826294 h 1509712"/>
                  <a:gd name="connsiteX212" fmla="*/ 704850 w 1550194"/>
                  <a:gd name="connsiteY212" fmla="*/ 831056 h 1509712"/>
                  <a:gd name="connsiteX213" fmla="*/ 709613 w 1550194"/>
                  <a:gd name="connsiteY213" fmla="*/ 838200 h 1509712"/>
                  <a:gd name="connsiteX214" fmla="*/ 733425 w 1550194"/>
                  <a:gd name="connsiteY214" fmla="*/ 845344 h 1509712"/>
                  <a:gd name="connsiteX215" fmla="*/ 740569 w 1550194"/>
                  <a:gd name="connsiteY215" fmla="*/ 850106 h 1509712"/>
                  <a:gd name="connsiteX216" fmla="*/ 747713 w 1550194"/>
                  <a:gd name="connsiteY216" fmla="*/ 852487 h 1509712"/>
                  <a:gd name="connsiteX217" fmla="*/ 759619 w 1550194"/>
                  <a:gd name="connsiteY217" fmla="*/ 862012 h 1509712"/>
                  <a:gd name="connsiteX218" fmla="*/ 781050 w 1550194"/>
                  <a:gd name="connsiteY218" fmla="*/ 878681 h 1509712"/>
                  <a:gd name="connsiteX219" fmla="*/ 788194 w 1550194"/>
                  <a:gd name="connsiteY219" fmla="*/ 883444 h 1509712"/>
                  <a:gd name="connsiteX220" fmla="*/ 809625 w 1550194"/>
                  <a:gd name="connsiteY220" fmla="*/ 888206 h 1509712"/>
                  <a:gd name="connsiteX221" fmla="*/ 816769 w 1550194"/>
                  <a:gd name="connsiteY221" fmla="*/ 890587 h 1509712"/>
                  <a:gd name="connsiteX222" fmla="*/ 831056 w 1550194"/>
                  <a:gd name="connsiteY222" fmla="*/ 888206 h 1509712"/>
                  <a:gd name="connsiteX223" fmla="*/ 845344 w 1550194"/>
                  <a:gd name="connsiteY223" fmla="*/ 878681 h 1509712"/>
                  <a:gd name="connsiteX224" fmla="*/ 852488 w 1550194"/>
                  <a:gd name="connsiteY224" fmla="*/ 873919 h 1509712"/>
                  <a:gd name="connsiteX225" fmla="*/ 859631 w 1550194"/>
                  <a:gd name="connsiteY225" fmla="*/ 869156 h 1509712"/>
                  <a:gd name="connsiteX226" fmla="*/ 866775 w 1550194"/>
                  <a:gd name="connsiteY226" fmla="*/ 866775 h 1509712"/>
                  <a:gd name="connsiteX227" fmla="*/ 873919 w 1550194"/>
                  <a:gd name="connsiteY227" fmla="*/ 862012 h 1509712"/>
                  <a:gd name="connsiteX228" fmla="*/ 897731 w 1550194"/>
                  <a:gd name="connsiteY228" fmla="*/ 857250 h 1509712"/>
                  <a:gd name="connsiteX229" fmla="*/ 907256 w 1550194"/>
                  <a:gd name="connsiteY229" fmla="*/ 854869 h 1509712"/>
                  <a:gd name="connsiteX230" fmla="*/ 928688 w 1550194"/>
                  <a:gd name="connsiteY230" fmla="*/ 842962 h 1509712"/>
                  <a:gd name="connsiteX231" fmla="*/ 935831 w 1550194"/>
                  <a:gd name="connsiteY231" fmla="*/ 835819 h 1509712"/>
                  <a:gd name="connsiteX232" fmla="*/ 942975 w 1550194"/>
                  <a:gd name="connsiteY232" fmla="*/ 831056 h 1509712"/>
                  <a:gd name="connsiteX233" fmla="*/ 947738 w 1550194"/>
                  <a:gd name="connsiteY233" fmla="*/ 823912 h 1509712"/>
                  <a:gd name="connsiteX234" fmla="*/ 954881 w 1550194"/>
                  <a:gd name="connsiteY234" fmla="*/ 816769 h 1509712"/>
                  <a:gd name="connsiteX235" fmla="*/ 964406 w 1550194"/>
                  <a:gd name="connsiteY235" fmla="*/ 802481 h 1509712"/>
                  <a:gd name="connsiteX236" fmla="*/ 969169 w 1550194"/>
                  <a:gd name="connsiteY236" fmla="*/ 781050 h 1509712"/>
                  <a:gd name="connsiteX237" fmla="*/ 976313 w 1550194"/>
                  <a:gd name="connsiteY237" fmla="*/ 773906 h 1509712"/>
                  <a:gd name="connsiteX238" fmla="*/ 988219 w 1550194"/>
                  <a:gd name="connsiteY238" fmla="*/ 757237 h 1509712"/>
                  <a:gd name="connsiteX239" fmla="*/ 992981 w 1550194"/>
                  <a:gd name="connsiteY239" fmla="*/ 738187 h 1509712"/>
                  <a:gd name="connsiteX240" fmla="*/ 997744 w 1550194"/>
                  <a:gd name="connsiteY240" fmla="*/ 692944 h 1509712"/>
                  <a:gd name="connsiteX241" fmla="*/ 1000125 w 1550194"/>
                  <a:gd name="connsiteY241" fmla="*/ 685800 h 1509712"/>
                  <a:gd name="connsiteX242" fmla="*/ 1004888 w 1550194"/>
                  <a:gd name="connsiteY242" fmla="*/ 678656 h 1509712"/>
                  <a:gd name="connsiteX243" fmla="*/ 1007269 w 1550194"/>
                  <a:gd name="connsiteY243" fmla="*/ 671512 h 1509712"/>
                  <a:gd name="connsiteX244" fmla="*/ 1012031 w 1550194"/>
                  <a:gd name="connsiteY244" fmla="*/ 642937 h 1509712"/>
                  <a:gd name="connsiteX245" fmla="*/ 1016794 w 1550194"/>
                  <a:gd name="connsiteY245" fmla="*/ 635794 h 1509712"/>
                  <a:gd name="connsiteX246" fmla="*/ 1023938 w 1550194"/>
                  <a:gd name="connsiteY246" fmla="*/ 616744 h 1509712"/>
                  <a:gd name="connsiteX247" fmla="*/ 1031081 w 1550194"/>
                  <a:gd name="connsiteY247" fmla="*/ 614362 h 1509712"/>
                  <a:gd name="connsiteX248" fmla="*/ 1038225 w 1550194"/>
                  <a:gd name="connsiteY248" fmla="*/ 609600 h 1509712"/>
                  <a:gd name="connsiteX249" fmla="*/ 1083469 w 1550194"/>
                  <a:gd name="connsiteY249" fmla="*/ 604837 h 1509712"/>
                  <a:gd name="connsiteX250" fmla="*/ 1114425 w 1550194"/>
                  <a:gd name="connsiteY250" fmla="*/ 607219 h 1509712"/>
                  <a:gd name="connsiteX251" fmla="*/ 1119188 w 1550194"/>
                  <a:gd name="connsiteY251" fmla="*/ 621506 h 1509712"/>
                  <a:gd name="connsiteX252" fmla="*/ 1121569 w 1550194"/>
                  <a:gd name="connsiteY252" fmla="*/ 628650 h 1509712"/>
                  <a:gd name="connsiteX253" fmla="*/ 1123950 w 1550194"/>
                  <a:gd name="connsiteY253" fmla="*/ 635794 h 1509712"/>
                  <a:gd name="connsiteX254" fmla="*/ 1131094 w 1550194"/>
                  <a:gd name="connsiteY254" fmla="*/ 642937 h 1509712"/>
                  <a:gd name="connsiteX255" fmla="*/ 1138238 w 1550194"/>
                  <a:gd name="connsiteY255" fmla="*/ 647700 h 1509712"/>
                  <a:gd name="connsiteX256" fmla="*/ 1140619 w 1550194"/>
                  <a:gd name="connsiteY256" fmla="*/ 695325 h 1509712"/>
                  <a:gd name="connsiteX257" fmla="*/ 1135856 w 1550194"/>
                  <a:gd name="connsiteY257" fmla="*/ 709612 h 1509712"/>
                  <a:gd name="connsiteX258" fmla="*/ 1128713 w 1550194"/>
                  <a:gd name="connsiteY258" fmla="*/ 716756 h 1509712"/>
                  <a:gd name="connsiteX259" fmla="*/ 1128713 w 1550194"/>
                  <a:gd name="connsiteY259" fmla="*/ 742950 h 1509712"/>
                  <a:gd name="connsiteX260" fmla="*/ 1135856 w 1550194"/>
                  <a:gd name="connsiteY260" fmla="*/ 747712 h 1509712"/>
                  <a:gd name="connsiteX261" fmla="*/ 1140619 w 1550194"/>
                  <a:gd name="connsiteY261" fmla="*/ 754856 h 1509712"/>
                  <a:gd name="connsiteX262" fmla="*/ 1147763 w 1550194"/>
                  <a:gd name="connsiteY262" fmla="*/ 757237 h 1509712"/>
                  <a:gd name="connsiteX263" fmla="*/ 1150144 w 1550194"/>
                  <a:gd name="connsiteY263" fmla="*/ 766762 h 1509712"/>
                  <a:gd name="connsiteX264" fmla="*/ 1154906 w 1550194"/>
                  <a:gd name="connsiteY264" fmla="*/ 759619 h 1509712"/>
                  <a:gd name="connsiteX265" fmla="*/ 1147763 w 1550194"/>
                  <a:gd name="connsiteY265" fmla="*/ 733425 h 1509712"/>
                  <a:gd name="connsiteX266" fmla="*/ 1147763 w 1550194"/>
                  <a:gd name="connsiteY266" fmla="*/ 716756 h 1509712"/>
                  <a:gd name="connsiteX267" fmla="*/ 1154906 w 1550194"/>
                  <a:gd name="connsiteY267" fmla="*/ 711994 h 1509712"/>
                  <a:gd name="connsiteX268" fmla="*/ 1164431 w 1550194"/>
                  <a:gd name="connsiteY268" fmla="*/ 697706 h 1509712"/>
                  <a:gd name="connsiteX269" fmla="*/ 1178719 w 1550194"/>
                  <a:gd name="connsiteY269" fmla="*/ 688181 h 1509712"/>
                  <a:gd name="connsiteX270" fmla="*/ 1181100 w 1550194"/>
                  <a:gd name="connsiteY270" fmla="*/ 628650 h 1509712"/>
                  <a:gd name="connsiteX271" fmla="*/ 1173956 w 1550194"/>
                  <a:gd name="connsiteY271" fmla="*/ 619125 h 1509712"/>
                  <a:gd name="connsiteX272" fmla="*/ 1169194 w 1550194"/>
                  <a:gd name="connsiteY272" fmla="*/ 602456 h 1509712"/>
                  <a:gd name="connsiteX273" fmla="*/ 1166813 w 1550194"/>
                  <a:gd name="connsiteY273" fmla="*/ 588169 h 1509712"/>
                  <a:gd name="connsiteX274" fmla="*/ 1164431 w 1550194"/>
                  <a:gd name="connsiteY274" fmla="*/ 578644 h 1509712"/>
                  <a:gd name="connsiteX275" fmla="*/ 1162050 w 1550194"/>
                  <a:gd name="connsiteY275" fmla="*/ 571500 h 1509712"/>
                  <a:gd name="connsiteX276" fmla="*/ 1154906 w 1550194"/>
                  <a:gd name="connsiteY276" fmla="*/ 538162 h 1509712"/>
                  <a:gd name="connsiteX277" fmla="*/ 1152525 w 1550194"/>
                  <a:gd name="connsiteY277" fmla="*/ 531019 h 1509712"/>
                  <a:gd name="connsiteX278" fmla="*/ 1145381 w 1550194"/>
                  <a:gd name="connsiteY278" fmla="*/ 526256 h 1509712"/>
                  <a:gd name="connsiteX279" fmla="*/ 1123950 w 1550194"/>
                  <a:gd name="connsiteY279" fmla="*/ 521494 h 1509712"/>
                  <a:gd name="connsiteX280" fmla="*/ 1116806 w 1550194"/>
                  <a:gd name="connsiteY280" fmla="*/ 507206 h 1509712"/>
                  <a:gd name="connsiteX281" fmla="*/ 1109663 w 1550194"/>
                  <a:gd name="connsiteY281" fmla="*/ 504825 h 1509712"/>
                  <a:gd name="connsiteX282" fmla="*/ 1102519 w 1550194"/>
                  <a:gd name="connsiteY282" fmla="*/ 509587 h 1509712"/>
                  <a:gd name="connsiteX283" fmla="*/ 1050131 w 1550194"/>
                  <a:gd name="connsiteY283" fmla="*/ 516731 h 1509712"/>
                  <a:gd name="connsiteX284" fmla="*/ 1035844 w 1550194"/>
                  <a:gd name="connsiteY284" fmla="*/ 523875 h 1509712"/>
                  <a:gd name="connsiteX285" fmla="*/ 1026319 w 1550194"/>
                  <a:gd name="connsiteY285" fmla="*/ 538162 h 1509712"/>
                  <a:gd name="connsiteX286" fmla="*/ 1019175 w 1550194"/>
                  <a:gd name="connsiteY286" fmla="*/ 531019 h 1509712"/>
                  <a:gd name="connsiteX287" fmla="*/ 1016794 w 1550194"/>
                  <a:gd name="connsiteY287" fmla="*/ 521494 h 1509712"/>
                  <a:gd name="connsiteX288" fmla="*/ 1023938 w 1550194"/>
                  <a:gd name="connsiteY288" fmla="*/ 481012 h 1509712"/>
                  <a:gd name="connsiteX289" fmla="*/ 1035844 w 1550194"/>
                  <a:gd name="connsiteY289" fmla="*/ 464344 h 1509712"/>
                  <a:gd name="connsiteX290" fmla="*/ 1042988 w 1550194"/>
                  <a:gd name="connsiteY290" fmla="*/ 440531 h 1509712"/>
                  <a:gd name="connsiteX291" fmla="*/ 1040606 w 1550194"/>
                  <a:gd name="connsiteY291" fmla="*/ 423862 h 1509712"/>
                  <a:gd name="connsiteX292" fmla="*/ 1038225 w 1550194"/>
                  <a:gd name="connsiteY292" fmla="*/ 416719 h 1509712"/>
                  <a:gd name="connsiteX293" fmla="*/ 1040606 w 1550194"/>
                  <a:gd name="connsiteY293" fmla="*/ 390525 h 1509712"/>
                  <a:gd name="connsiteX294" fmla="*/ 1042988 w 1550194"/>
                  <a:gd name="connsiteY294" fmla="*/ 383381 h 1509712"/>
                  <a:gd name="connsiteX295" fmla="*/ 1050131 w 1550194"/>
                  <a:gd name="connsiteY295" fmla="*/ 378619 h 1509712"/>
                  <a:gd name="connsiteX296" fmla="*/ 1062038 w 1550194"/>
                  <a:gd name="connsiteY296" fmla="*/ 364331 h 1509712"/>
                  <a:gd name="connsiteX297" fmla="*/ 1064419 w 1550194"/>
                  <a:gd name="connsiteY297" fmla="*/ 357187 h 1509712"/>
                  <a:gd name="connsiteX298" fmla="*/ 1071563 w 1550194"/>
                  <a:gd name="connsiteY298" fmla="*/ 342900 h 1509712"/>
                  <a:gd name="connsiteX299" fmla="*/ 1066800 w 1550194"/>
                  <a:gd name="connsiteY299" fmla="*/ 309562 h 1509712"/>
                  <a:gd name="connsiteX300" fmla="*/ 1057275 w 1550194"/>
                  <a:gd name="connsiteY300" fmla="*/ 295275 h 1509712"/>
                  <a:gd name="connsiteX301" fmla="*/ 1054894 w 1550194"/>
                  <a:gd name="connsiteY301" fmla="*/ 283369 h 1509712"/>
                  <a:gd name="connsiteX302" fmla="*/ 1052513 w 1550194"/>
                  <a:gd name="connsiteY302" fmla="*/ 261937 h 1509712"/>
                  <a:gd name="connsiteX303" fmla="*/ 1050131 w 1550194"/>
                  <a:gd name="connsiteY303" fmla="*/ 242887 h 1509712"/>
                  <a:gd name="connsiteX304" fmla="*/ 1052513 w 1550194"/>
                  <a:gd name="connsiteY304" fmla="*/ 209550 h 1509712"/>
                  <a:gd name="connsiteX305" fmla="*/ 1059656 w 1550194"/>
                  <a:gd name="connsiteY305" fmla="*/ 204787 h 1509712"/>
                  <a:gd name="connsiteX306" fmla="*/ 1073944 w 1550194"/>
                  <a:gd name="connsiteY306" fmla="*/ 200025 h 1509712"/>
                  <a:gd name="connsiteX307" fmla="*/ 1081088 w 1550194"/>
                  <a:gd name="connsiteY307" fmla="*/ 197644 h 1509712"/>
                  <a:gd name="connsiteX308" fmla="*/ 1088231 w 1550194"/>
                  <a:gd name="connsiteY308" fmla="*/ 192881 h 1509712"/>
                  <a:gd name="connsiteX309" fmla="*/ 1095375 w 1550194"/>
                  <a:gd name="connsiteY309" fmla="*/ 190500 h 1509712"/>
                  <a:gd name="connsiteX310" fmla="*/ 1119188 w 1550194"/>
                  <a:gd name="connsiteY310" fmla="*/ 173831 h 1509712"/>
                  <a:gd name="connsiteX311" fmla="*/ 1123950 w 1550194"/>
                  <a:gd name="connsiteY311" fmla="*/ 164306 h 1509712"/>
                  <a:gd name="connsiteX312" fmla="*/ 1128713 w 1550194"/>
                  <a:gd name="connsiteY312" fmla="*/ 157162 h 1509712"/>
                  <a:gd name="connsiteX313" fmla="*/ 1135856 w 1550194"/>
                  <a:gd name="connsiteY313" fmla="*/ 133350 h 1509712"/>
                  <a:gd name="connsiteX314" fmla="*/ 1138238 w 1550194"/>
                  <a:gd name="connsiteY314" fmla="*/ 100012 h 1509712"/>
                  <a:gd name="connsiteX315" fmla="*/ 1143000 w 1550194"/>
                  <a:gd name="connsiteY315" fmla="*/ 85725 h 1509712"/>
                  <a:gd name="connsiteX316" fmla="*/ 1145381 w 1550194"/>
                  <a:gd name="connsiteY316" fmla="*/ 78581 h 1509712"/>
                  <a:gd name="connsiteX317" fmla="*/ 1152525 w 1550194"/>
                  <a:gd name="connsiteY317" fmla="*/ 76200 h 1509712"/>
                  <a:gd name="connsiteX318" fmla="*/ 1164431 w 1550194"/>
                  <a:gd name="connsiteY318" fmla="*/ 78581 h 1509712"/>
                  <a:gd name="connsiteX319" fmla="*/ 1169194 w 1550194"/>
                  <a:gd name="connsiteY319" fmla="*/ 88106 h 1509712"/>
                  <a:gd name="connsiteX320" fmla="*/ 1162050 w 1550194"/>
                  <a:gd name="connsiteY320" fmla="*/ 154781 h 1509712"/>
                  <a:gd name="connsiteX321" fmla="*/ 1157288 w 1550194"/>
                  <a:gd name="connsiteY321" fmla="*/ 164306 h 1509712"/>
                  <a:gd name="connsiteX322" fmla="*/ 1152525 w 1550194"/>
                  <a:gd name="connsiteY322" fmla="*/ 178594 h 1509712"/>
                  <a:gd name="connsiteX323" fmla="*/ 1150144 w 1550194"/>
                  <a:gd name="connsiteY323" fmla="*/ 214312 h 1509712"/>
                  <a:gd name="connsiteX324" fmla="*/ 1128713 w 1550194"/>
                  <a:gd name="connsiteY324" fmla="*/ 233362 h 1509712"/>
                  <a:gd name="connsiteX325" fmla="*/ 1112044 w 1550194"/>
                  <a:gd name="connsiteY325" fmla="*/ 247650 h 1509712"/>
                  <a:gd name="connsiteX326" fmla="*/ 1107281 w 1550194"/>
                  <a:gd name="connsiteY326" fmla="*/ 254794 h 1509712"/>
                  <a:gd name="connsiteX327" fmla="*/ 1104900 w 1550194"/>
                  <a:gd name="connsiteY327" fmla="*/ 261937 h 1509712"/>
                  <a:gd name="connsiteX328" fmla="*/ 1112044 w 1550194"/>
                  <a:gd name="connsiteY328" fmla="*/ 264319 h 1509712"/>
                  <a:gd name="connsiteX329" fmla="*/ 1143000 w 1550194"/>
                  <a:gd name="connsiteY329" fmla="*/ 271462 h 1509712"/>
                  <a:gd name="connsiteX330" fmla="*/ 1162050 w 1550194"/>
                  <a:gd name="connsiteY330" fmla="*/ 276225 h 1509712"/>
                  <a:gd name="connsiteX331" fmla="*/ 1178719 w 1550194"/>
                  <a:gd name="connsiteY331" fmla="*/ 290512 h 1509712"/>
                  <a:gd name="connsiteX332" fmla="*/ 1188244 w 1550194"/>
                  <a:gd name="connsiteY332" fmla="*/ 297656 h 1509712"/>
                  <a:gd name="connsiteX333" fmla="*/ 1200150 w 1550194"/>
                  <a:gd name="connsiteY333" fmla="*/ 311944 h 1509712"/>
                  <a:gd name="connsiteX334" fmla="*/ 1214438 w 1550194"/>
                  <a:gd name="connsiteY334" fmla="*/ 321469 h 1509712"/>
                  <a:gd name="connsiteX335" fmla="*/ 1226344 w 1550194"/>
                  <a:gd name="connsiteY335" fmla="*/ 333375 h 1509712"/>
                  <a:gd name="connsiteX336" fmla="*/ 1240631 w 1550194"/>
                  <a:gd name="connsiteY336" fmla="*/ 342900 h 1509712"/>
                  <a:gd name="connsiteX337" fmla="*/ 1262063 w 1550194"/>
                  <a:gd name="connsiteY337" fmla="*/ 359569 h 1509712"/>
                  <a:gd name="connsiteX338" fmla="*/ 1269206 w 1550194"/>
                  <a:gd name="connsiteY338" fmla="*/ 364331 h 1509712"/>
                  <a:gd name="connsiteX339" fmla="*/ 1271588 w 1550194"/>
                  <a:gd name="connsiteY339" fmla="*/ 338137 h 1509712"/>
                  <a:gd name="connsiteX340" fmla="*/ 1262063 w 1550194"/>
                  <a:gd name="connsiteY340" fmla="*/ 321469 h 1509712"/>
                  <a:gd name="connsiteX341" fmla="*/ 1259681 w 1550194"/>
                  <a:gd name="connsiteY341" fmla="*/ 314325 h 1509712"/>
                  <a:gd name="connsiteX342" fmla="*/ 1264444 w 1550194"/>
                  <a:gd name="connsiteY342" fmla="*/ 292894 h 1509712"/>
                  <a:gd name="connsiteX343" fmla="*/ 1271588 w 1550194"/>
                  <a:gd name="connsiteY343" fmla="*/ 285750 h 1509712"/>
                  <a:gd name="connsiteX344" fmla="*/ 1276350 w 1550194"/>
                  <a:gd name="connsiteY344" fmla="*/ 271462 h 1509712"/>
                  <a:gd name="connsiteX345" fmla="*/ 1273969 w 1550194"/>
                  <a:gd name="connsiteY345" fmla="*/ 259556 h 1509712"/>
                  <a:gd name="connsiteX346" fmla="*/ 1271588 w 1550194"/>
                  <a:gd name="connsiteY346" fmla="*/ 252412 h 1509712"/>
                  <a:gd name="connsiteX347" fmla="*/ 1264444 w 1550194"/>
                  <a:gd name="connsiteY347" fmla="*/ 250031 h 1509712"/>
                  <a:gd name="connsiteX348" fmla="*/ 1207294 w 1550194"/>
                  <a:gd name="connsiteY348" fmla="*/ 247650 h 1509712"/>
                  <a:gd name="connsiteX349" fmla="*/ 1197769 w 1550194"/>
                  <a:gd name="connsiteY349" fmla="*/ 245269 h 1509712"/>
                  <a:gd name="connsiteX350" fmla="*/ 1190625 w 1550194"/>
                  <a:gd name="connsiteY350" fmla="*/ 238125 h 1509712"/>
                  <a:gd name="connsiteX351" fmla="*/ 1183481 w 1550194"/>
                  <a:gd name="connsiteY351" fmla="*/ 223837 h 1509712"/>
                  <a:gd name="connsiteX352" fmla="*/ 1185863 w 1550194"/>
                  <a:gd name="connsiteY352" fmla="*/ 192881 h 1509712"/>
                  <a:gd name="connsiteX353" fmla="*/ 1202531 w 1550194"/>
                  <a:gd name="connsiteY353" fmla="*/ 195262 h 1509712"/>
                  <a:gd name="connsiteX354" fmla="*/ 1216819 w 1550194"/>
                  <a:gd name="connsiteY354" fmla="*/ 202406 h 1509712"/>
                  <a:gd name="connsiteX355" fmla="*/ 1223963 w 1550194"/>
                  <a:gd name="connsiteY355" fmla="*/ 209550 h 1509712"/>
                  <a:gd name="connsiteX356" fmla="*/ 1226344 w 1550194"/>
                  <a:gd name="connsiteY356" fmla="*/ 216694 h 1509712"/>
                  <a:gd name="connsiteX357" fmla="*/ 1228725 w 1550194"/>
                  <a:gd name="connsiteY357" fmla="*/ 228600 h 1509712"/>
                  <a:gd name="connsiteX358" fmla="*/ 1235869 w 1550194"/>
                  <a:gd name="connsiteY358" fmla="*/ 230981 h 1509712"/>
                  <a:gd name="connsiteX359" fmla="*/ 1271588 w 1550194"/>
                  <a:gd name="connsiteY359" fmla="*/ 228600 h 1509712"/>
                  <a:gd name="connsiteX360" fmla="*/ 1283494 w 1550194"/>
                  <a:gd name="connsiteY360" fmla="*/ 178594 h 1509712"/>
                  <a:gd name="connsiteX361" fmla="*/ 1295400 w 1550194"/>
                  <a:gd name="connsiteY361" fmla="*/ 180975 h 1509712"/>
                  <a:gd name="connsiteX362" fmla="*/ 1297781 w 1550194"/>
                  <a:gd name="connsiteY362" fmla="*/ 188119 h 1509712"/>
                  <a:gd name="connsiteX363" fmla="*/ 1300163 w 1550194"/>
                  <a:gd name="connsiteY363" fmla="*/ 200025 h 1509712"/>
                  <a:gd name="connsiteX364" fmla="*/ 1307306 w 1550194"/>
                  <a:gd name="connsiteY364" fmla="*/ 202406 h 1509712"/>
                  <a:gd name="connsiteX365" fmla="*/ 1323975 w 1550194"/>
                  <a:gd name="connsiteY365" fmla="*/ 204787 h 1509712"/>
                  <a:gd name="connsiteX366" fmla="*/ 1333500 w 1550194"/>
                  <a:gd name="connsiteY366" fmla="*/ 214312 h 1509712"/>
                  <a:gd name="connsiteX367" fmla="*/ 1340644 w 1550194"/>
                  <a:gd name="connsiteY367" fmla="*/ 219075 h 1509712"/>
                  <a:gd name="connsiteX368" fmla="*/ 1343025 w 1550194"/>
                  <a:gd name="connsiteY368" fmla="*/ 280987 h 1509712"/>
                  <a:gd name="connsiteX369" fmla="*/ 1338263 w 1550194"/>
                  <a:gd name="connsiteY369" fmla="*/ 288131 h 1509712"/>
                  <a:gd name="connsiteX370" fmla="*/ 1326356 w 1550194"/>
                  <a:gd name="connsiteY370" fmla="*/ 302419 h 1509712"/>
                  <a:gd name="connsiteX371" fmla="*/ 1319213 w 1550194"/>
                  <a:gd name="connsiteY371" fmla="*/ 473869 h 1509712"/>
                  <a:gd name="connsiteX372" fmla="*/ 1312069 w 1550194"/>
                  <a:gd name="connsiteY372" fmla="*/ 478631 h 1509712"/>
                  <a:gd name="connsiteX373" fmla="*/ 1300163 w 1550194"/>
                  <a:gd name="connsiteY373" fmla="*/ 481012 h 1509712"/>
                  <a:gd name="connsiteX374" fmla="*/ 1293019 w 1550194"/>
                  <a:gd name="connsiteY374" fmla="*/ 483394 h 1509712"/>
                  <a:gd name="connsiteX375" fmla="*/ 1285875 w 1550194"/>
                  <a:gd name="connsiteY375" fmla="*/ 490537 h 1509712"/>
                  <a:gd name="connsiteX376" fmla="*/ 1281113 w 1550194"/>
                  <a:gd name="connsiteY376" fmla="*/ 497681 h 1509712"/>
                  <a:gd name="connsiteX377" fmla="*/ 1273969 w 1550194"/>
                  <a:gd name="connsiteY377" fmla="*/ 502444 h 1509712"/>
                  <a:gd name="connsiteX378" fmla="*/ 1266825 w 1550194"/>
                  <a:gd name="connsiteY378" fmla="*/ 516731 h 1509712"/>
                  <a:gd name="connsiteX379" fmla="*/ 1264444 w 1550194"/>
                  <a:gd name="connsiteY379" fmla="*/ 523875 h 1509712"/>
                  <a:gd name="connsiteX380" fmla="*/ 1266825 w 1550194"/>
                  <a:gd name="connsiteY380" fmla="*/ 538162 h 1509712"/>
                  <a:gd name="connsiteX381" fmla="*/ 1273969 w 1550194"/>
                  <a:gd name="connsiteY381" fmla="*/ 545306 h 1509712"/>
                  <a:gd name="connsiteX382" fmla="*/ 1283494 w 1550194"/>
                  <a:gd name="connsiteY382" fmla="*/ 559594 h 1509712"/>
                  <a:gd name="connsiteX383" fmla="*/ 1293019 w 1550194"/>
                  <a:gd name="connsiteY383" fmla="*/ 573881 h 1509712"/>
                  <a:gd name="connsiteX384" fmla="*/ 1295400 w 1550194"/>
                  <a:gd name="connsiteY384" fmla="*/ 581025 h 1509712"/>
                  <a:gd name="connsiteX385" fmla="*/ 1307306 w 1550194"/>
                  <a:gd name="connsiteY385" fmla="*/ 595312 h 1509712"/>
                  <a:gd name="connsiteX386" fmla="*/ 1309688 w 1550194"/>
                  <a:gd name="connsiteY386" fmla="*/ 602456 h 1509712"/>
                  <a:gd name="connsiteX387" fmla="*/ 1316831 w 1550194"/>
                  <a:gd name="connsiteY387" fmla="*/ 604837 h 1509712"/>
                  <a:gd name="connsiteX388" fmla="*/ 1323975 w 1550194"/>
                  <a:gd name="connsiteY388" fmla="*/ 609600 h 1509712"/>
                  <a:gd name="connsiteX389" fmla="*/ 1333500 w 1550194"/>
                  <a:gd name="connsiteY389" fmla="*/ 616744 h 1509712"/>
                  <a:gd name="connsiteX390" fmla="*/ 1340644 w 1550194"/>
                  <a:gd name="connsiteY390" fmla="*/ 619125 h 1509712"/>
                  <a:gd name="connsiteX391" fmla="*/ 1381125 w 1550194"/>
                  <a:gd name="connsiteY391" fmla="*/ 621506 h 1509712"/>
                  <a:gd name="connsiteX392" fmla="*/ 1390650 w 1550194"/>
                  <a:gd name="connsiteY392" fmla="*/ 638175 h 1509712"/>
                  <a:gd name="connsiteX393" fmla="*/ 1395413 w 1550194"/>
                  <a:gd name="connsiteY393" fmla="*/ 652462 h 1509712"/>
                  <a:gd name="connsiteX394" fmla="*/ 1400175 w 1550194"/>
                  <a:gd name="connsiteY394" fmla="*/ 669131 h 1509712"/>
                  <a:gd name="connsiteX395" fmla="*/ 1397794 w 1550194"/>
                  <a:gd name="connsiteY395" fmla="*/ 742950 h 1509712"/>
                  <a:gd name="connsiteX396" fmla="*/ 1390650 w 1550194"/>
                  <a:gd name="connsiteY396" fmla="*/ 747712 h 1509712"/>
                  <a:gd name="connsiteX397" fmla="*/ 1388269 w 1550194"/>
                  <a:gd name="connsiteY397" fmla="*/ 759619 h 1509712"/>
                  <a:gd name="connsiteX398" fmla="*/ 1390650 w 1550194"/>
                  <a:gd name="connsiteY398" fmla="*/ 885825 h 1509712"/>
                  <a:gd name="connsiteX399" fmla="*/ 1395413 w 1550194"/>
                  <a:gd name="connsiteY399" fmla="*/ 907256 h 1509712"/>
                  <a:gd name="connsiteX400" fmla="*/ 1400175 w 1550194"/>
                  <a:gd name="connsiteY400" fmla="*/ 926306 h 1509712"/>
                  <a:gd name="connsiteX401" fmla="*/ 1404938 w 1550194"/>
                  <a:gd name="connsiteY401" fmla="*/ 933450 h 1509712"/>
                  <a:gd name="connsiteX402" fmla="*/ 1407319 w 1550194"/>
                  <a:gd name="connsiteY402" fmla="*/ 947737 h 1509712"/>
                  <a:gd name="connsiteX403" fmla="*/ 1412081 w 1550194"/>
                  <a:gd name="connsiteY403" fmla="*/ 962025 h 1509712"/>
                  <a:gd name="connsiteX404" fmla="*/ 1414463 w 1550194"/>
                  <a:gd name="connsiteY404" fmla="*/ 971550 h 1509712"/>
                  <a:gd name="connsiteX405" fmla="*/ 1416844 w 1550194"/>
                  <a:gd name="connsiteY405" fmla="*/ 978694 h 1509712"/>
                  <a:gd name="connsiteX406" fmla="*/ 1423988 w 1550194"/>
                  <a:gd name="connsiteY406" fmla="*/ 1004887 h 1509712"/>
                  <a:gd name="connsiteX407" fmla="*/ 1426369 w 1550194"/>
                  <a:gd name="connsiteY407" fmla="*/ 1021556 h 1509712"/>
                  <a:gd name="connsiteX408" fmla="*/ 1428750 w 1550194"/>
                  <a:gd name="connsiteY408" fmla="*/ 1031081 h 1509712"/>
                  <a:gd name="connsiteX409" fmla="*/ 1431131 w 1550194"/>
                  <a:gd name="connsiteY409" fmla="*/ 1042987 h 1509712"/>
                  <a:gd name="connsiteX410" fmla="*/ 1435894 w 1550194"/>
                  <a:gd name="connsiteY410" fmla="*/ 1073944 h 1509712"/>
                  <a:gd name="connsiteX411" fmla="*/ 1440656 w 1550194"/>
                  <a:gd name="connsiteY411" fmla="*/ 1092994 h 1509712"/>
                  <a:gd name="connsiteX412" fmla="*/ 1445419 w 1550194"/>
                  <a:gd name="connsiteY412" fmla="*/ 1102519 h 1509712"/>
                  <a:gd name="connsiteX413" fmla="*/ 1452563 w 1550194"/>
                  <a:gd name="connsiteY413" fmla="*/ 1121569 h 1509712"/>
                  <a:gd name="connsiteX414" fmla="*/ 1459706 w 1550194"/>
                  <a:gd name="connsiteY414" fmla="*/ 1145381 h 1509712"/>
                  <a:gd name="connsiteX415" fmla="*/ 1469231 w 1550194"/>
                  <a:gd name="connsiteY415" fmla="*/ 1154906 h 1509712"/>
                  <a:gd name="connsiteX416" fmla="*/ 1476375 w 1550194"/>
                  <a:gd name="connsiteY416" fmla="*/ 1164431 h 1509712"/>
                  <a:gd name="connsiteX417" fmla="*/ 1481138 w 1550194"/>
                  <a:gd name="connsiteY417" fmla="*/ 1171575 h 1509712"/>
                  <a:gd name="connsiteX418" fmla="*/ 1488281 w 1550194"/>
                  <a:gd name="connsiteY418" fmla="*/ 1176337 h 1509712"/>
                  <a:gd name="connsiteX419" fmla="*/ 1493044 w 1550194"/>
                  <a:gd name="connsiteY419" fmla="*/ 1183481 h 1509712"/>
                  <a:gd name="connsiteX420" fmla="*/ 1500188 w 1550194"/>
                  <a:gd name="connsiteY420" fmla="*/ 1188244 h 1509712"/>
                  <a:gd name="connsiteX421" fmla="*/ 1516856 w 1550194"/>
                  <a:gd name="connsiteY421" fmla="*/ 1195387 h 1509712"/>
                  <a:gd name="connsiteX422" fmla="*/ 1538288 w 1550194"/>
                  <a:gd name="connsiteY422" fmla="*/ 1197769 h 1509712"/>
                  <a:gd name="connsiteX423" fmla="*/ 1545431 w 1550194"/>
                  <a:gd name="connsiteY423" fmla="*/ 1200150 h 1509712"/>
                  <a:gd name="connsiteX424" fmla="*/ 1547813 w 1550194"/>
                  <a:gd name="connsiteY424" fmla="*/ 1214437 h 1509712"/>
                  <a:gd name="connsiteX425" fmla="*/ 1550194 w 1550194"/>
                  <a:gd name="connsiteY425" fmla="*/ 1221581 h 1509712"/>
                  <a:gd name="connsiteX426" fmla="*/ 1547813 w 1550194"/>
                  <a:gd name="connsiteY426" fmla="*/ 1266825 h 1509712"/>
                  <a:gd name="connsiteX427" fmla="*/ 1545431 w 1550194"/>
                  <a:gd name="connsiteY427" fmla="*/ 1273969 h 1509712"/>
                  <a:gd name="connsiteX428" fmla="*/ 1538288 w 1550194"/>
                  <a:gd name="connsiteY428" fmla="*/ 1278731 h 1509712"/>
                  <a:gd name="connsiteX429" fmla="*/ 1531144 w 1550194"/>
                  <a:gd name="connsiteY429" fmla="*/ 1293019 h 1509712"/>
                  <a:gd name="connsiteX430" fmla="*/ 1524000 w 1550194"/>
                  <a:gd name="connsiteY430" fmla="*/ 1300162 h 1509712"/>
                  <a:gd name="connsiteX431" fmla="*/ 1514475 w 1550194"/>
                  <a:gd name="connsiteY431" fmla="*/ 1314450 h 1509712"/>
                  <a:gd name="connsiteX432" fmla="*/ 1502569 w 1550194"/>
                  <a:gd name="connsiteY432" fmla="*/ 1331119 h 1509712"/>
                  <a:gd name="connsiteX433" fmla="*/ 1502569 w 1550194"/>
                  <a:gd name="connsiteY433" fmla="*/ 1431131 h 1509712"/>
                  <a:gd name="connsiteX434" fmla="*/ 1490663 w 1550194"/>
                  <a:gd name="connsiteY434" fmla="*/ 1443037 h 1509712"/>
                  <a:gd name="connsiteX435" fmla="*/ 1478756 w 1550194"/>
                  <a:gd name="connsiteY435" fmla="*/ 1457325 h 1509712"/>
                  <a:gd name="connsiteX436" fmla="*/ 1473994 w 1550194"/>
                  <a:gd name="connsiteY436" fmla="*/ 1473994 h 1509712"/>
                  <a:gd name="connsiteX437" fmla="*/ 1471613 w 1550194"/>
                  <a:gd name="connsiteY437" fmla="*/ 1500187 h 1509712"/>
                  <a:gd name="connsiteX438" fmla="*/ 1464469 w 1550194"/>
                  <a:gd name="connsiteY438" fmla="*/ 1507331 h 1509712"/>
                  <a:gd name="connsiteX439" fmla="*/ 1462088 w 1550194"/>
                  <a:gd name="connsiteY439" fmla="*/ 1509712 h 1509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</a:cxnLst>
                <a:rect l="l" t="t" r="r" b="b"/>
                <a:pathLst>
                  <a:path w="1550194" h="1509712">
                    <a:moveTo>
                      <a:pt x="111919" y="1500187"/>
                    </a:moveTo>
                    <a:cubicBezTo>
                      <a:pt x="111125" y="1489868"/>
                      <a:pt x="111445" y="1479403"/>
                      <a:pt x="109538" y="1469231"/>
                    </a:cubicBezTo>
                    <a:cubicBezTo>
                      <a:pt x="109011" y="1466418"/>
                      <a:pt x="106055" y="1464647"/>
                      <a:pt x="104775" y="1462087"/>
                    </a:cubicBezTo>
                    <a:cubicBezTo>
                      <a:pt x="94915" y="1442369"/>
                      <a:pt x="111282" y="1468276"/>
                      <a:pt x="97631" y="1447800"/>
                    </a:cubicBezTo>
                    <a:cubicBezTo>
                      <a:pt x="98425" y="1439862"/>
                      <a:pt x="98800" y="1431871"/>
                      <a:pt x="100013" y="1423987"/>
                    </a:cubicBezTo>
                    <a:cubicBezTo>
                      <a:pt x="100395" y="1421506"/>
                      <a:pt x="102131" y="1419340"/>
                      <a:pt x="102394" y="1416844"/>
                    </a:cubicBezTo>
                    <a:cubicBezTo>
                      <a:pt x="102801" y="1412981"/>
                      <a:pt x="101172" y="1383568"/>
                      <a:pt x="107156" y="1371600"/>
                    </a:cubicBezTo>
                    <a:cubicBezTo>
                      <a:pt x="108436" y="1369040"/>
                      <a:pt x="110331" y="1366837"/>
                      <a:pt x="111919" y="1364456"/>
                    </a:cubicBezTo>
                    <a:cubicBezTo>
                      <a:pt x="117101" y="1343726"/>
                      <a:pt x="115612" y="1353765"/>
                      <a:pt x="111919" y="1316831"/>
                    </a:cubicBezTo>
                    <a:cubicBezTo>
                      <a:pt x="111728" y="1314920"/>
                      <a:pt x="108427" y="1302703"/>
                      <a:pt x="107156" y="1300162"/>
                    </a:cubicBezTo>
                    <a:cubicBezTo>
                      <a:pt x="105876" y="1297603"/>
                      <a:pt x="103981" y="1295400"/>
                      <a:pt x="102394" y="1293019"/>
                    </a:cubicBezTo>
                    <a:cubicBezTo>
                      <a:pt x="97759" y="1279113"/>
                      <a:pt x="103639" y="1291881"/>
                      <a:pt x="92869" y="1281112"/>
                    </a:cubicBezTo>
                    <a:cubicBezTo>
                      <a:pt x="76990" y="1265235"/>
                      <a:pt x="100015" y="1281910"/>
                      <a:pt x="80963" y="1269206"/>
                    </a:cubicBezTo>
                    <a:cubicBezTo>
                      <a:pt x="69357" y="1251798"/>
                      <a:pt x="84805" y="1272408"/>
                      <a:pt x="66675" y="1257300"/>
                    </a:cubicBezTo>
                    <a:cubicBezTo>
                      <a:pt x="52314" y="1245332"/>
                      <a:pt x="71826" y="1253460"/>
                      <a:pt x="54769" y="1247775"/>
                    </a:cubicBezTo>
                    <a:cubicBezTo>
                      <a:pt x="50088" y="1240753"/>
                      <a:pt x="49736" y="1239214"/>
                      <a:pt x="42863" y="1233487"/>
                    </a:cubicBezTo>
                    <a:cubicBezTo>
                      <a:pt x="40664" y="1231655"/>
                      <a:pt x="37858" y="1230626"/>
                      <a:pt x="35719" y="1228725"/>
                    </a:cubicBezTo>
                    <a:cubicBezTo>
                      <a:pt x="30685" y="1224250"/>
                      <a:pt x="26194" y="1219200"/>
                      <a:pt x="21431" y="1214437"/>
                    </a:cubicBezTo>
                    <a:cubicBezTo>
                      <a:pt x="19050" y="1212056"/>
                      <a:pt x="17090" y="1209162"/>
                      <a:pt x="14288" y="1207294"/>
                    </a:cubicBezTo>
                    <a:lnTo>
                      <a:pt x="7144" y="1202531"/>
                    </a:lnTo>
                    <a:cubicBezTo>
                      <a:pt x="4736" y="1198919"/>
                      <a:pt x="0" y="1193173"/>
                      <a:pt x="0" y="1188244"/>
                    </a:cubicBezTo>
                    <a:cubicBezTo>
                      <a:pt x="0" y="1183416"/>
                      <a:pt x="1434" y="1178691"/>
                      <a:pt x="2381" y="1173956"/>
                    </a:cubicBezTo>
                    <a:cubicBezTo>
                      <a:pt x="3023" y="1170747"/>
                      <a:pt x="2948" y="1167154"/>
                      <a:pt x="4763" y="1164431"/>
                    </a:cubicBezTo>
                    <a:cubicBezTo>
                      <a:pt x="6350" y="1162050"/>
                      <a:pt x="9525" y="1161256"/>
                      <a:pt x="11906" y="1159669"/>
                    </a:cubicBezTo>
                    <a:cubicBezTo>
                      <a:pt x="13494" y="1156494"/>
                      <a:pt x="14606" y="1153033"/>
                      <a:pt x="16669" y="1150144"/>
                    </a:cubicBezTo>
                    <a:cubicBezTo>
                      <a:pt x="27817" y="1134538"/>
                      <a:pt x="21087" y="1151179"/>
                      <a:pt x="26194" y="1135856"/>
                    </a:cubicBezTo>
                    <a:cubicBezTo>
                      <a:pt x="26988" y="1106487"/>
                      <a:pt x="27210" y="1077098"/>
                      <a:pt x="28575" y="1047750"/>
                    </a:cubicBezTo>
                    <a:cubicBezTo>
                      <a:pt x="29095" y="1036566"/>
                      <a:pt x="32222" y="1029667"/>
                      <a:pt x="35719" y="1019175"/>
                    </a:cubicBezTo>
                    <a:cubicBezTo>
                      <a:pt x="36513" y="1016794"/>
                      <a:pt x="37491" y="1014466"/>
                      <a:pt x="38100" y="1012031"/>
                    </a:cubicBezTo>
                    <a:cubicBezTo>
                      <a:pt x="38894" y="1008856"/>
                      <a:pt x="39541" y="1005641"/>
                      <a:pt x="40481" y="1002506"/>
                    </a:cubicBezTo>
                    <a:cubicBezTo>
                      <a:pt x="42645" y="995293"/>
                      <a:pt x="45244" y="988219"/>
                      <a:pt x="47625" y="981075"/>
                    </a:cubicBezTo>
                    <a:lnTo>
                      <a:pt x="52388" y="966787"/>
                    </a:lnTo>
                    <a:cubicBezTo>
                      <a:pt x="61555" y="957620"/>
                      <a:pt x="56729" y="961512"/>
                      <a:pt x="66675" y="954881"/>
                    </a:cubicBezTo>
                    <a:cubicBezTo>
                      <a:pt x="67469" y="952500"/>
                      <a:pt x="67488" y="949697"/>
                      <a:pt x="69056" y="947737"/>
                    </a:cubicBezTo>
                    <a:cubicBezTo>
                      <a:pt x="70844" y="945502"/>
                      <a:pt x="74001" y="944807"/>
                      <a:pt x="76200" y="942975"/>
                    </a:cubicBezTo>
                    <a:cubicBezTo>
                      <a:pt x="78787" y="940819"/>
                      <a:pt x="81276" y="938489"/>
                      <a:pt x="83344" y="935831"/>
                    </a:cubicBezTo>
                    <a:cubicBezTo>
                      <a:pt x="86858" y="931313"/>
                      <a:pt x="92869" y="921544"/>
                      <a:pt x="92869" y="921544"/>
                    </a:cubicBezTo>
                    <a:cubicBezTo>
                      <a:pt x="100533" y="898548"/>
                      <a:pt x="88243" y="934301"/>
                      <a:pt x="100013" y="904875"/>
                    </a:cubicBezTo>
                    <a:cubicBezTo>
                      <a:pt x="101877" y="900214"/>
                      <a:pt x="103188" y="895350"/>
                      <a:pt x="104775" y="890587"/>
                    </a:cubicBezTo>
                    <a:cubicBezTo>
                      <a:pt x="105569" y="888206"/>
                      <a:pt x="105068" y="884836"/>
                      <a:pt x="107156" y="883444"/>
                    </a:cubicBezTo>
                    <a:lnTo>
                      <a:pt x="121444" y="873919"/>
                    </a:lnTo>
                    <a:cubicBezTo>
                      <a:pt x="125242" y="868222"/>
                      <a:pt x="127515" y="863798"/>
                      <a:pt x="133350" y="859631"/>
                    </a:cubicBezTo>
                    <a:cubicBezTo>
                      <a:pt x="136239" y="857568"/>
                      <a:pt x="139793" y="856630"/>
                      <a:pt x="142875" y="854869"/>
                    </a:cubicBezTo>
                    <a:cubicBezTo>
                      <a:pt x="145360" y="853449"/>
                      <a:pt x="147690" y="851770"/>
                      <a:pt x="150019" y="850106"/>
                    </a:cubicBezTo>
                    <a:cubicBezTo>
                      <a:pt x="153248" y="847799"/>
                      <a:pt x="155994" y="844737"/>
                      <a:pt x="159544" y="842962"/>
                    </a:cubicBezTo>
                    <a:cubicBezTo>
                      <a:pt x="162471" y="841498"/>
                      <a:pt x="165803" y="840785"/>
                      <a:pt x="169069" y="840581"/>
                    </a:cubicBezTo>
                    <a:cubicBezTo>
                      <a:pt x="191265" y="839194"/>
                      <a:pt x="213519" y="838994"/>
                      <a:pt x="235744" y="838200"/>
                    </a:cubicBezTo>
                    <a:cubicBezTo>
                      <a:pt x="253701" y="832215"/>
                      <a:pt x="231567" y="840289"/>
                      <a:pt x="250031" y="831056"/>
                    </a:cubicBezTo>
                    <a:cubicBezTo>
                      <a:pt x="252276" y="829933"/>
                      <a:pt x="254794" y="829469"/>
                      <a:pt x="257175" y="828675"/>
                    </a:cubicBezTo>
                    <a:cubicBezTo>
                      <a:pt x="261938" y="825500"/>
                      <a:pt x="265910" y="820538"/>
                      <a:pt x="271463" y="819150"/>
                    </a:cubicBezTo>
                    <a:lnTo>
                      <a:pt x="290513" y="814387"/>
                    </a:lnTo>
                    <a:cubicBezTo>
                      <a:pt x="313293" y="791607"/>
                      <a:pt x="284128" y="818643"/>
                      <a:pt x="304800" y="804862"/>
                    </a:cubicBezTo>
                    <a:cubicBezTo>
                      <a:pt x="307602" y="802994"/>
                      <a:pt x="309357" y="799875"/>
                      <a:pt x="311944" y="797719"/>
                    </a:cubicBezTo>
                    <a:cubicBezTo>
                      <a:pt x="314143" y="795887"/>
                      <a:pt x="316707" y="794544"/>
                      <a:pt x="319088" y="792956"/>
                    </a:cubicBezTo>
                    <a:cubicBezTo>
                      <a:pt x="327818" y="779859"/>
                      <a:pt x="319088" y="790971"/>
                      <a:pt x="330994" y="781050"/>
                    </a:cubicBezTo>
                    <a:cubicBezTo>
                      <a:pt x="342887" y="771140"/>
                      <a:pt x="332727" y="775710"/>
                      <a:pt x="345281" y="771525"/>
                    </a:cubicBezTo>
                    <a:cubicBezTo>
                      <a:pt x="350549" y="766257"/>
                      <a:pt x="352936" y="762935"/>
                      <a:pt x="359569" y="759619"/>
                    </a:cubicBezTo>
                    <a:cubicBezTo>
                      <a:pt x="361814" y="758496"/>
                      <a:pt x="364332" y="758031"/>
                      <a:pt x="366713" y="757237"/>
                    </a:cubicBezTo>
                    <a:cubicBezTo>
                      <a:pt x="368300" y="754856"/>
                      <a:pt x="369277" y="751926"/>
                      <a:pt x="371475" y="750094"/>
                    </a:cubicBezTo>
                    <a:cubicBezTo>
                      <a:pt x="375400" y="746823"/>
                      <a:pt x="383179" y="744605"/>
                      <a:pt x="388144" y="742950"/>
                    </a:cubicBezTo>
                    <a:cubicBezTo>
                      <a:pt x="393411" y="737683"/>
                      <a:pt x="395800" y="734359"/>
                      <a:pt x="402431" y="731044"/>
                    </a:cubicBezTo>
                    <a:cubicBezTo>
                      <a:pt x="422137" y="721191"/>
                      <a:pt x="394328" y="738762"/>
                      <a:pt x="419100" y="723900"/>
                    </a:cubicBezTo>
                    <a:cubicBezTo>
                      <a:pt x="439572" y="711618"/>
                      <a:pt x="426162" y="716784"/>
                      <a:pt x="440531" y="711994"/>
                    </a:cubicBezTo>
                    <a:cubicBezTo>
                      <a:pt x="453318" y="703470"/>
                      <a:pt x="450963" y="703230"/>
                      <a:pt x="461963" y="700087"/>
                    </a:cubicBezTo>
                    <a:cubicBezTo>
                      <a:pt x="465110" y="699188"/>
                      <a:pt x="468313" y="698500"/>
                      <a:pt x="471488" y="697706"/>
                    </a:cubicBezTo>
                    <a:cubicBezTo>
                      <a:pt x="473869" y="696119"/>
                      <a:pt x="476072" y="694224"/>
                      <a:pt x="478631" y="692944"/>
                    </a:cubicBezTo>
                    <a:cubicBezTo>
                      <a:pt x="482051" y="691234"/>
                      <a:pt x="492242" y="688945"/>
                      <a:pt x="495300" y="688181"/>
                    </a:cubicBezTo>
                    <a:cubicBezTo>
                      <a:pt x="520810" y="671177"/>
                      <a:pt x="482106" y="697651"/>
                      <a:pt x="509588" y="676275"/>
                    </a:cubicBezTo>
                    <a:cubicBezTo>
                      <a:pt x="521870" y="666722"/>
                      <a:pt x="520240" y="667961"/>
                      <a:pt x="531019" y="664369"/>
                    </a:cubicBezTo>
                    <a:cubicBezTo>
                      <a:pt x="532606" y="661988"/>
                      <a:pt x="533627" y="659110"/>
                      <a:pt x="535781" y="657225"/>
                    </a:cubicBezTo>
                    <a:cubicBezTo>
                      <a:pt x="540089" y="653456"/>
                      <a:pt x="550069" y="647700"/>
                      <a:pt x="550069" y="647700"/>
                    </a:cubicBezTo>
                    <a:cubicBezTo>
                      <a:pt x="550863" y="645319"/>
                      <a:pt x="551058" y="642645"/>
                      <a:pt x="552450" y="640556"/>
                    </a:cubicBezTo>
                    <a:cubicBezTo>
                      <a:pt x="556117" y="635055"/>
                      <a:pt x="561466" y="632164"/>
                      <a:pt x="566738" y="628650"/>
                    </a:cubicBezTo>
                    <a:cubicBezTo>
                      <a:pt x="569913" y="623887"/>
                      <a:pt x="574453" y="619792"/>
                      <a:pt x="576263" y="614362"/>
                    </a:cubicBezTo>
                    <a:lnTo>
                      <a:pt x="581025" y="600075"/>
                    </a:lnTo>
                    <a:cubicBezTo>
                      <a:pt x="580231" y="579437"/>
                      <a:pt x="580065" y="558766"/>
                      <a:pt x="578644" y="538162"/>
                    </a:cubicBezTo>
                    <a:cubicBezTo>
                      <a:pt x="578471" y="535658"/>
                      <a:pt x="575331" y="533349"/>
                      <a:pt x="576263" y="531019"/>
                    </a:cubicBezTo>
                    <a:cubicBezTo>
                      <a:pt x="577684" y="527467"/>
                      <a:pt x="587542" y="524878"/>
                      <a:pt x="590550" y="523875"/>
                    </a:cubicBezTo>
                    <a:cubicBezTo>
                      <a:pt x="592138" y="521494"/>
                      <a:pt x="593078" y="518519"/>
                      <a:pt x="595313" y="516731"/>
                    </a:cubicBezTo>
                    <a:cubicBezTo>
                      <a:pt x="597273" y="515163"/>
                      <a:pt x="600681" y="516125"/>
                      <a:pt x="602456" y="514350"/>
                    </a:cubicBezTo>
                    <a:cubicBezTo>
                      <a:pt x="606503" y="510302"/>
                      <a:pt x="611981" y="500062"/>
                      <a:pt x="611981" y="500062"/>
                    </a:cubicBezTo>
                    <a:cubicBezTo>
                      <a:pt x="611187" y="494506"/>
                      <a:pt x="611213" y="488770"/>
                      <a:pt x="609600" y="483394"/>
                    </a:cubicBezTo>
                    <a:cubicBezTo>
                      <a:pt x="608778" y="480653"/>
                      <a:pt x="606118" y="478810"/>
                      <a:pt x="604838" y="476250"/>
                    </a:cubicBezTo>
                    <a:cubicBezTo>
                      <a:pt x="603715" y="474005"/>
                      <a:pt x="603116" y="471528"/>
                      <a:pt x="602456" y="469106"/>
                    </a:cubicBezTo>
                    <a:cubicBezTo>
                      <a:pt x="598150" y="453318"/>
                      <a:pt x="598089" y="452030"/>
                      <a:pt x="595313" y="438150"/>
                    </a:cubicBezTo>
                    <a:cubicBezTo>
                      <a:pt x="596629" y="426301"/>
                      <a:pt x="595058" y="410538"/>
                      <a:pt x="607219" y="402431"/>
                    </a:cubicBezTo>
                    <a:lnTo>
                      <a:pt x="621506" y="392906"/>
                    </a:lnTo>
                    <a:cubicBezTo>
                      <a:pt x="621926" y="397101"/>
                      <a:pt x="622892" y="418364"/>
                      <a:pt x="626269" y="426244"/>
                    </a:cubicBezTo>
                    <a:cubicBezTo>
                      <a:pt x="627396" y="428874"/>
                      <a:pt x="629444" y="431006"/>
                      <a:pt x="631031" y="433387"/>
                    </a:cubicBezTo>
                    <a:cubicBezTo>
                      <a:pt x="634802" y="448465"/>
                      <a:pt x="631597" y="440188"/>
                      <a:pt x="642938" y="457200"/>
                    </a:cubicBezTo>
                    <a:cubicBezTo>
                      <a:pt x="644525" y="459581"/>
                      <a:pt x="645319" y="462757"/>
                      <a:pt x="647700" y="464344"/>
                    </a:cubicBezTo>
                    <a:lnTo>
                      <a:pt x="654844" y="469106"/>
                    </a:lnTo>
                    <a:cubicBezTo>
                      <a:pt x="656431" y="471487"/>
                      <a:pt x="659290" y="473406"/>
                      <a:pt x="659606" y="476250"/>
                    </a:cubicBezTo>
                    <a:cubicBezTo>
                      <a:pt x="660684" y="485953"/>
                      <a:pt x="656412" y="492164"/>
                      <a:pt x="652463" y="500062"/>
                    </a:cubicBezTo>
                    <a:cubicBezTo>
                      <a:pt x="652484" y="500144"/>
                      <a:pt x="656087" y="515593"/>
                      <a:pt x="657225" y="516731"/>
                    </a:cubicBezTo>
                    <a:cubicBezTo>
                      <a:pt x="663706" y="523212"/>
                      <a:pt x="670422" y="526391"/>
                      <a:pt x="678656" y="528637"/>
                    </a:cubicBezTo>
                    <a:cubicBezTo>
                      <a:pt x="684971" y="530359"/>
                      <a:pt x="697706" y="533400"/>
                      <a:pt x="697706" y="533400"/>
                    </a:cubicBezTo>
                    <a:cubicBezTo>
                      <a:pt x="702978" y="536914"/>
                      <a:pt x="708327" y="539805"/>
                      <a:pt x="711994" y="545306"/>
                    </a:cubicBezTo>
                    <a:cubicBezTo>
                      <a:pt x="713386" y="547395"/>
                      <a:pt x="713252" y="550205"/>
                      <a:pt x="714375" y="552450"/>
                    </a:cubicBezTo>
                    <a:cubicBezTo>
                      <a:pt x="715655" y="555010"/>
                      <a:pt x="717550" y="557213"/>
                      <a:pt x="719138" y="559594"/>
                    </a:cubicBezTo>
                    <a:cubicBezTo>
                      <a:pt x="719932" y="561975"/>
                      <a:pt x="719951" y="564777"/>
                      <a:pt x="721519" y="566737"/>
                    </a:cubicBezTo>
                    <a:cubicBezTo>
                      <a:pt x="724877" y="570934"/>
                      <a:pt x="731099" y="572312"/>
                      <a:pt x="735806" y="573881"/>
                    </a:cubicBezTo>
                    <a:cubicBezTo>
                      <a:pt x="743095" y="572059"/>
                      <a:pt x="746992" y="572220"/>
                      <a:pt x="752475" y="566737"/>
                    </a:cubicBezTo>
                    <a:cubicBezTo>
                      <a:pt x="754499" y="564713"/>
                      <a:pt x="755650" y="561975"/>
                      <a:pt x="757238" y="559594"/>
                    </a:cubicBezTo>
                    <a:cubicBezTo>
                      <a:pt x="761773" y="545986"/>
                      <a:pt x="755877" y="557327"/>
                      <a:pt x="766763" y="550069"/>
                    </a:cubicBezTo>
                    <a:cubicBezTo>
                      <a:pt x="772261" y="546403"/>
                      <a:pt x="775156" y="541050"/>
                      <a:pt x="778669" y="535781"/>
                    </a:cubicBezTo>
                    <a:cubicBezTo>
                      <a:pt x="777875" y="519112"/>
                      <a:pt x="778131" y="502360"/>
                      <a:pt x="776288" y="485775"/>
                    </a:cubicBezTo>
                    <a:cubicBezTo>
                      <a:pt x="775734" y="480785"/>
                      <a:pt x="773113" y="476250"/>
                      <a:pt x="771525" y="471487"/>
                    </a:cubicBezTo>
                    <a:lnTo>
                      <a:pt x="769144" y="464344"/>
                    </a:lnTo>
                    <a:cubicBezTo>
                      <a:pt x="768350" y="459581"/>
                      <a:pt x="767107" y="454872"/>
                      <a:pt x="766763" y="450056"/>
                    </a:cubicBezTo>
                    <a:cubicBezTo>
                      <a:pt x="765517" y="432620"/>
                      <a:pt x="772982" y="412887"/>
                      <a:pt x="764381" y="397669"/>
                    </a:cubicBezTo>
                    <a:cubicBezTo>
                      <a:pt x="759678" y="389348"/>
                      <a:pt x="745331" y="396081"/>
                      <a:pt x="735806" y="395287"/>
                    </a:cubicBezTo>
                    <a:cubicBezTo>
                      <a:pt x="732754" y="394524"/>
                      <a:pt x="722554" y="392233"/>
                      <a:pt x="719138" y="390525"/>
                    </a:cubicBezTo>
                    <a:cubicBezTo>
                      <a:pt x="712509" y="387210"/>
                      <a:pt x="710116" y="383884"/>
                      <a:pt x="704850" y="378619"/>
                    </a:cubicBezTo>
                    <a:cubicBezTo>
                      <a:pt x="699596" y="362855"/>
                      <a:pt x="697513" y="363455"/>
                      <a:pt x="702469" y="345281"/>
                    </a:cubicBezTo>
                    <a:cubicBezTo>
                      <a:pt x="703222" y="342520"/>
                      <a:pt x="705207" y="340161"/>
                      <a:pt x="707231" y="338137"/>
                    </a:cubicBezTo>
                    <a:cubicBezTo>
                      <a:pt x="709255" y="336113"/>
                      <a:pt x="712236" y="335276"/>
                      <a:pt x="714375" y="333375"/>
                    </a:cubicBezTo>
                    <a:cubicBezTo>
                      <a:pt x="719409" y="328900"/>
                      <a:pt x="723059" y="322823"/>
                      <a:pt x="728663" y="319087"/>
                    </a:cubicBezTo>
                    <a:cubicBezTo>
                      <a:pt x="733425" y="315912"/>
                      <a:pt x="738903" y="313609"/>
                      <a:pt x="742950" y="309562"/>
                    </a:cubicBezTo>
                    <a:lnTo>
                      <a:pt x="757238" y="295275"/>
                    </a:lnTo>
                    <a:cubicBezTo>
                      <a:pt x="758825" y="290512"/>
                      <a:pt x="760782" y="285857"/>
                      <a:pt x="762000" y="280987"/>
                    </a:cubicBezTo>
                    <a:cubicBezTo>
                      <a:pt x="763588" y="274637"/>
                      <a:pt x="763132" y="267383"/>
                      <a:pt x="766763" y="261937"/>
                    </a:cubicBezTo>
                    <a:lnTo>
                      <a:pt x="776288" y="247650"/>
                    </a:lnTo>
                    <a:lnTo>
                      <a:pt x="781050" y="240506"/>
                    </a:lnTo>
                    <a:cubicBezTo>
                      <a:pt x="780256" y="236537"/>
                      <a:pt x="780090" y="232390"/>
                      <a:pt x="778669" y="228600"/>
                    </a:cubicBezTo>
                    <a:cubicBezTo>
                      <a:pt x="776680" y="223297"/>
                      <a:pt x="770467" y="218017"/>
                      <a:pt x="766763" y="214312"/>
                    </a:cubicBezTo>
                    <a:cubicBezTo>
                      <a:pt x="767557" y="208756"/>
                      <a:pt x="766634" y="202664"/>
                      <a:pt x="769144" y="197644"/>
                    </a:cubicBezTo>
                    <a:cubicBezTo>
                      <a:pt x="770267" y="195399"/>
                      <a:pt x="774094" y="196481"/>
                      <a:pt x="776288" y="195262"/>
                    </a:cubicBezTo>
                    <a:cubicBezTo>
                      <a:pt x="781291" y="192482"/>
                      <a:pt x="785813" y="188912"/>
                      <a:pt x="790575" y="185737"/>
                    </a:cubicBezTo>
                    <a:cubicBezTo>
                      <a:pt x="792956" y="184150"/>
                      <a:pt x="795430" y="182692"/>
                      <a:pt x="797719" y="180975"/>
                    </a:cubicBezTo>
                    <a:cubicBezTo>
                      <a:pt x="800894" y="178594"/>
                      <a:pt x="803617" y="175443"/>
                      <a:pt x="807244" y="173831"/>
                    </a:cubicBezTo>
                    <a:cubicBezTo>
                      <a:pt x="811512" y="171934"/>
                      <a:pt x="837133" y="169202"/>
                      <a:pt x="838200" y="169069"/>
                    </a:cubicBezTo>
                    <a:cubicBezTo>
                      <a:pt x="854365" y="163679"/>
                      <a:pt x="835763" y="171506"/>
                      <a:pt x="854869" y="152400"/>
                    </a:cubicBezTo>
                    <a:cubicBezTo>
                      <a:pt x="864036" y="143233"/>
                      <a:pt x="859211" y="147124"/>
                      <a:pt x="869156" y="140494"/>
                    </a:cubicBezTo>
                    <a:cubicBezTo>
                      <a:pt x="870744" y="138113"/>
                      <a:pt x="871895" y="135374"/>
                      <a:pt x="873919" y="133350"/>
                    </a:cubicBezTo>
                    <a:cubicBezTo>
                      <a:pt x="875943" y="131326"/>
                      <a:pt x="879275" y="130822"/>
                      <a:pt x="881063" y="128587"/>
                    </a:cubicBezTo>
                    <a:cubicBezTo>
                      <a:pt x="882631" y="126627"/>
                      <a:pt x="882322" y="123689"/>
                      <a:pt x="883444" y="121444"/>
                    </a:cubicBezTo>
                    <a:cubicBezTo>
                      <a:pt x="884724" y="118884"/>
                      <a:pt x="887044" y="116915"/>
                      <a:pt x="888206" y="114300"/>
                    </a:cubicBezTo>
                    <a:cubicBezTo>
                      <a:pt x="899539" y="88799"/>
                      <a:pt x="886955" y="109033"/>
                      <a:pt x="897731" y="92869"/>
                    </a:cubicBezTo>
                    <a:cubicBezTo>
                      <a:pt x="898525" y="88900"/>
                      <a:pt x="898692" y="84752"/>
                      <a:pt x="900113" y="80962"/>
                    </a:cubicBezTo>
                    <a:cubicBezTo>
                      <a:pt x="908846" y="57676"/>
                      <a:pt x="901709" y="88862"/>
                      <a:pt x="907256" y="66675"/>
                    </a:cubicBezTo>
                    <a:cubicBezTo>
                      <a:pt x="908238" y="62749"/>
                      <a:pt x="908573" y="58674"/>
                      <a:pt x="909638" y="54769"/>
                    </a:cubicBezTo>
                    <a:cubicBezTo>
                      <a:pt x="910959" y="49926"/>
                      <a:pt x="912813" y="45244"/>
                      <a:pt x="914400" y="40481"/>
                    </a:cubicBezTo>
                    <a:lnTo>
                      <a:pt x="916781" y="33337"/>
                    </a:lnTo>
                    <a:lnTo>
                      <a:pt x="919163" y="26194"/>
                    </a:lnTo>
                    <a:cubicBezTo>
                      <a:pt x="919957" y="23813"/>
                      <a:pt x="919299" y="20173"/>
                      <a:pt x="921544" y="19050"/>
                    </a:cubicBezTo>
                    <a:cubicBezTo>
                      <a:pt x="947650" y="5996"/>
                      <a:pt x="915687" y="23234"/>
                      <a:pt x="938213" y="7144"/>
                    </a:cubicBezTo>
                    <a:cubicBezTo>
                      <a:pt x="943364" y="3465"/>
                      <a:pt x="949050" y="1944"/>
                      <a:pt x="954881" y="0"/>
                    </a:cubicBezTo>
                    <a:lnTo>
                      <a:pt x="995363" y="2381"/>
                    </a:lnTo>
                    <a:cubicBezTo>
                      <a:pt x="1001806" y="4342"/>
                      <a:pt x="1003260" y="14539"/>
                      <a:pt x="1009650" y="16669"/>
                    </a:cubicBezTo>
                    <a:lnTo>
                      <a:pt x="1023938" y="21431"/>
                    </a:lnTo>
                    <a:cubicBezTo>
                      <a:pt x="1040000" y="37494"/>
                      <a:pt x="1031835" y="33589"/>
                      <a:pt x="1045369" y="38100"/>
                    </a:cubicBezTo>
                    <a:cubicBezTo>
                      <a:pt x="1056392" y="54634"/>
                      <a:pt x="1060567" y="54419"/>
                      <a:pt x="1052513" y="78581"/>
                    </a:cubicBezTo>
                    <a:cubicBezTo>
                      <a:pt x="1051719" y="80962"/>
                      <a:pt x="1047819" y="80417"/>
                      <a:pt x="1045369" y="80962"/>
                    </a:cubicBezTo>
                    <a:cubicBezTo>
                      <a:pt x="1020227" y="86549"/>
                      <a:pt x="1040017" y="80365"/>
                      <a:pt x="1023938" y="85725"/>
                    </a:cubicBezTo>
                    <a:cubicBezTo>
                      <a:pt x="1018674" y="90989"/>
                      <a:pt x="1015345" y="93384"/>
                      <a:pt x="1012031" y="100012"/>
                    </a:cubicBezTo>
                    <a:cubicBezTo>
                      <a:pt x="1010908" y="102257"/>
                      <a:pt x="1010639" y="104849"/>
                      <a:pt x="1009650" y="107156"/>
                    </a:cubicBezTo>
                    <a:cubicBezTo>
                      <a:pt x="1007594" y="111954"/>
                      <a:pt x="1003643" y="119603"/>
                      <a:pt x="1000125" y="123825"/>
                    </a:cubicBezTo>
                    <a:cubicBezTo>
                      <a:pt x="997969" y="126412"/>
                      <a:pt x="995362" y="128588"/>
                      <a:pt x="992981" y="130969"/>
                    </a:cubicBezTo>
                    <a:cubicBezTo>
                      <a:pt x="992187" y="133350"/>
                      <a:pt x="991992" y="136024"/>
                      <a:pt x="990600" y="138112"/>
                    </a:cubicBezTo>
                    <a:cubicBezTo>
                      <a:pt x="979092" y="155373"/>
                      <a:pt x="986916" y="134225"/>
                      <a:pt x="978694" y="154781"/>
                    </a:cubicBezTo>
                    <a:cubicBezTo>
                      <a:pt x="976830" y="159442"/>
                      <a:pt x="975519" y="164306"/>
                      <a:pt x="973931" y="169069"/>
                    </a:cubicBezTo>
                    <a:cubicBezTo>
                      <a:pt x="970324" y="179891"/>
                      <a:pt x="966021" y="191101"/>
                      <a:pt x="964406" y="202406"/>
                    </a:cubicBezTo>
                    <a:lnTo>
                      <a:pt x="962025" y="219075"/>
                    </a:lnTo>
                    <a:cubicBezTo>
                      <a:pt x="962819" y="247650"/>
                      <a:pt x="964406" y="276214"/>
                      <a:pt x="964406" y="304800"/>
                    </a:cubicBezTo>
                    <a:cubicBezTo>
                      <a:pt x="964406" y="305289"/>
                      <a:pt x="961728" y="327347"/>
                      <a:pt x="959644" y="330994"/>
                    </a:cubicBezTo>
                    <a:cubicBezTo>
                      <a:pt x="957973" y="333918"/>
                      <a:pt x="954567" y="335479"/>
                      <a:pt x="952500" y="338137"/>
                    </a:cubicBezTo>
                    <a:cubicBezTo>
                      <a:pt x="948986" y="342655"/>
                      <a:pt x="946150" y="347662"/>
                      <a:pt x="942975" y="352425"/>
                    </a:cubicBezTo>
                    <a:cubicBezTo>
                      <a:pt x="939707" y="357327"/>
                      <a:pt x="933117" y="366969"/>
                      <a:pt x="931069" y="371475"/>
                    </a:cubicBezTo>
                    <a:cubicBezTo>
                      <a:pt x="928992" y="376045"/>
                      <a:pt x="927894" y="381000"/>
                      <a:pt x="926306" y="385762"/>
                    </a:cubicBezTo>
                    <a:lnTo>
                      <a:pt x="921544" y="400050"/>
                    </a:lnTo>
                    <a:cubicBezTo>
                      <a:pt x="920750" y="402431"/>
                      <a:pt x="919772" y="404759"/>
                      <a:pt x="919163" y="407194"/>
                    </a:cubicBezTo>
                    <a:cubicBezTo>
                      <a:pt x="918369" y="410369"/>
                      <a:pt x="917680" y="413572"/>
                      <a:pt x="916781" y="416719"/>
                    </a:cubicBezTo>
                    <a:cubicBezTo>
                      <a:pt x="916091" y="419132"/>
                      <a:pt x="915089" y="421449"/>
                      <a:pt x="914400" y="423862"/>
                    </a:cubicBezTo>
                    <a:cubicBezTo>
                      <a:pt x="912675" y="429901"/>
                      <a:pt x="912084" y="434824"/>
                      <a:pt x="909638" y="440531"/>
                    </a:cubicBezTo>
                    <a:cubicBezTo>
                      <a:pt x="903474" y="454913"/>
                      <a:pt x="906941" y="445251"/>
                      <a:pt x="900113" y="457200"/>
                    </a:cubicBezTo>
                    <a:cubicBezTo>
                      <a:pt x="898352" y="460282"/>
                      <a:pt x="897111" y="463643"/>
                      <a:pt x="895350" y="466725"/>
                    </a:cubicBezTo>
                    <a:cubicBezTo>
                      <a:pt x="893930" y="469210"/>
                      <a:pt x="891868" y="471309"/>
                      <a:pt x="890588" y="473869"/>
                    </a:cubicBezTo>
                    <a:cubicBezTo>
                      <a:pt x="888681" y="477682"/>
                      <a:pt x="886845" y="486968"/>
                      <a:pt x="885825" y="490537"/>
                    </a:cubicBezTo>
                    <a:cubicBezTo>
                      <a:pt x="885135" y="492951"/>
                      <a:pt x="884238" y="495300"/>
                      <a:pt x="883444" y="497681"/>
                    </a:cubicBezTo>
                    <a:cubicBezTo>
                      <a:pt x="884238" y="514350"/>
                      <a:pt x="884494" y="531053"/>
                      <a:pt x="885825" y="547687"/>
                    </a:cubicBezTo>
                    <a:cubicBezTo>
                      <a:pt x="886086" y="550949"/>
                      <a:pt x="887564" y="554003"/>
                      <a:pt x="888206" y="557212"/>
                    </a:cubicBezTo>
                    <a:cubicBezTo>
                      <a:pt x="889153" y="561947"/>
                      <a:pt x="889641" y="566765"/>
                      <a:pt x="890588" y="571500"/>
                    </a:cubicBezTo>
                    <a:cubicBezTo>
                      <a:pt x="891230" y="574709"/>
                      <a:pt x="892431" y="577797"/>
                      <a:pt x="892969" y="581025"/>
                    </a:cubicBezTo>
                    <a:cubicBezTo>
                      <a:pt x="894021" y="587337"/>
                      <a:pt x="894556" y="593725"/>
                      <a:pt x="895350" y="600075"/>
                    </a:cubicBezTo>
                    <a:cubicBezTo>
                      <a:pt x="894556" y="623094"/>
                      <a:pt x="895119" y="646199"/>
                      <a:pt x="892969" y="669131"/>
                    </a:cubicBezTo>
                    <a:cubicBezTo>
                      <a:pt x="892702" y="671981"/>
                      <a:pt x="890230" y="674251"/>
                      <a:pt x="888206" y="676275"/>
                    </a:cubicBezTo>
                    <a:cubicBezTo>
                      <a:pt x="886183" y="678298"/>
                      <a:pt x="883444" y="679450"/>
                      <a:pt x="881063" y="681037"/>
                    </a:cubicBezTo>
                    <a:cubicBezTo>
                      <a:pt x="879475" y="683418"/>
                      <a:pt x="877580" y="685621"/>
                      <a:pt x="876300" y="688181"/>
                    </a:cubicBezTo>
                    <a:cubicBezTo>
                      <a:pt x="875177" y="690426"/>
                      <a:pt x="875487" y="693365"/>
                      <a:pt x="873919" y="695325"/>
                    </a:cubicBezTo>
                    <a:cubicBezTo>
                      <a:pt x="872131" y="697560"/>
                      <a:pt x="869156" y="698500"/>
                      <a:pt x="866775" y="700087"/>
                    </a:cubicBezTo>
                    <a:cubicBezTo>
                      <a:pt x="858278" y="712834"/>
                      <a:pt x="864035" y="705210"/>
                      <a:pt x="847725" y="721519"/>
                    </a:cubicBezTo>
                    <a:cubicBezTo>
                      <a:pt x="838560" y="730684"/>
                      <a:pt x="843381" y="726795"/>
                      <a:pt x="833438" y="733425"/>
                    </a:cubicBezTo>
                    <a:cubicBezTo>
                      <a:pt x="821608" y="751169"/>
                      <a:pt x="836816" y="729370"/>
                      <a:pt x="821531" y="747712"/>
                    </a:cubicBezTo>
                    <a:cubicBezTo>
                      <a:pt x="819699" y="749911"/>
                      <a:pt x="818670" y="752717"/>
                      <a:pt x="816769" y="754856"/>
                    </a:cubicBezTo>
                    <a:cubicBezTo>
                      <a:pt x="812294" y="759890"/>
                      <a:pt x="806217" y="763540"/>
                      <a:pt x="802481" y="769144"/>
                    </a:cubicBezTo>
                    <a:cubicBezTo>
                      <a:pt x="791250" y="785991"/>
                      <a:pt x="805355" y="765119"/>
                      <a:pt x="790575" y="785812"/>
                    </a:cubicBezTo>
                    <a:cubicBezTo>
                      <a:pt x="788912" y="788141"/>
                      <a:pt x="787837" y="790932"/>
                      <a:pt x="785813" y="792956"/>
                    </a:cubicBezTo>
                    <a:cubicBezTo>
                      <a:pt x="783789" y="794980"/>
                      <a:pt x="780868" y="795887"/>
                      <a:pt x="778669" y="797719"/>
                    </a:cubicBezTo>
                    <a:cubicBezTo>
                      <a:pt x="776082" y="799875"/>
                      <a:pt x="774327" y="802994"/>
                      <a:pt x="771525" y="804862"/>
                    </a:cubicBezTo>
                    <a:cubicBezTo>
                      <a:pt x="769436" y="806254"/>
                      <a:pt x="766688" y="806255"/>
                      <a:pt x="764381" y="807244"/>
                    </a:cubicBezTo>
                    <a:cubicBezTo>
                      <a:pt x="761118" y="808642"/>
                      <a:pt x="758031" y="810419"/>
                      <a:pt x="754856" y="812006"/>
                    </a:cubicBezTo>
                    <a:cubicBezTo>
                      <a:pt x="741761" y="803276"/>
                      <a:pt x="752872" y="812006"/>
                      <a:pt x="742950" y="800100"/>
                    </a:cubicBezTo>
                    <a:cubicBezTo>
                      <a:pt x="740794" y="797513"/>
                      <a:pt x="737962" y="795543"/>
                      <a:pt x="735806" y="792956"/>
                    </a:cubicBezTo>
                    <a:cubicBezTo>
                      <a:pt x="733974" y="790757"/>
                      <a:pt x="733279" y="787600"/>
                      <a:pt x="731044" y="785812"/>
                    </a:cubicBezTo>
                    <a:cubicBezTo>
                      <a:pt x="729084" y="784244"/>
                      <a:pt x="726281" y="784225"/>
                      <a:pt x="723900" y="783431"/>
                    </a:cubicBezTo>
                    <a:cubicBezTo>
                      <a:pt x="720725" y="781050"/>
                      <a:pt x="717821" y="778256"/>
                      <a:pt x="714375" y="776287"/>
                    </a:cubicBezTo>
                    <a:cubicBezTo>
                      <a:pt x="711719" y="774769"/>
                      <a:pt x="699767" y="772040"/>
                      <a:pt x="697706" y="771525"/>
                    </a:cubicBezTo>
                    <a:cubicBezTo>
                      <a:pt x="695325" y="773906"/>
                      <a:pt x="692431" y="775867"/>
                      <a:pt x="690563" y="778669"/>
                    </a:cubicBezTo>
                    <a:cubicBezTo>
                      <a:pt x="689171" y="780757"/>
                      <a:pt x="688181" y="783302"/>
                      <a:pt x="688181" y="785812"/>
                    </a:cubicBezTo>
                    <a:cubicBezTo>
                      <a:pt x="688181" y="791285"/>
                      <a:pt x="688538" y="810337"/>
                      <a:pt x="692944" y="819150"/>
                    </a:cubicBezTo>
                    <a:cubicBezTo>
                      <a:pt x="694224" y="821710"/>
                      <a:pt x="695682" y="824270"/>
                      <a:pt x="697706" y="826294"/>
                    </a:cubicBezTo>
                    <a:cubicBezTo>
                      <a:pt x="699730" y="828318"/>
                      <a:pt x="702469" y="829469"/>
                      <a:pt x="704850" y="831056"/>
                    </a:cubicBezTo>
                    <a:cubicBezTo>
                      <a:pt x="706438" y="833437"/>
                      <a:pt x="707414" y="836368"/>
                      <a:pt x="709613" y="838200"/>
                    </a:cubicBezTo>
                    <a:cubicBezTo>
                      <a:pt x="716534" y="843967"/>
                      <a:pt x="725053" y="843948"/>
                      <a:pt x="733425" y="845344"/>
                    </a:cubicBezTo>
                    <a:cubicBezTo>
                      <a:pt x="735806" y="846931"/>
                      <a:pt x="738009" y="848826"/>
                      <a:pt x="740569" y="850106"/>
                    </a:cubicBezTo>
                    <a:cubicBezTo>
                      <a:pt x="742814" y="851228"/>
                      <a:pt x="745753" y="850919"/>
                      <a:pt x="747713" y="852487"/>
                    </a:cubicBezTo>
                    <a:cubicBezTo>
                      <a:pt x="763100" y="864797"/>
                      <a:pt x="741662" y="856027"/>
                      <a:pt x="759619" y="862012"/>
                    </a:cubicBezTo>
                    <a:cubicBezTo>
                      <a:pt x="770810" y="873203"/>
                      <a:pt x="763961" y="867287"/>
                      <a:pt x="781050" y="878681"/>
                    </a:cubicBezTo>
                    <a:cubicBezTo>
                      <a:pt x="783431" y="880269"/>
                      <a:pt x="785479" y="882539"/>
                      <a:pt x="788194" y="883444"/>
                    </a:cubicBezTo>
                    <a:cubicBezTo>
                      <a:pt x="804276" y="888804"/>
                      <a:pt x="784480" y="882619"/>
                      <a:pt x="809625" y="888206"/>
                    </a:cubicBezTo>
                    <a:cubicBezTo>
                      <a:pt x="812075" y="888750"/>
                      <a:pt x="814388" y="889793"/>
                      <a:pt x="816769" y="890587"/>
                    </a:cubicBezTo>
                    <a:cubicBezTo>
                      <a:pt x="821531" y="889793"/>
                      <a:pt x="826599" y="890063"/>
                      <a:pt x="831056" y="888206"/>
                    </a:cubicBezTo>
                    <a:cubicBezTo>
                      <a:pt x="836340" y="886005"/>
                      <a:pt x="840581" y="881856"/>
                      <a:pt x="845344" y="878681"/>
                    </a:cubicBezTo>
                    <a:lnTo>
                      <a:pt x="852488" y="873919"/>
                    </a:lnTo>
                    <a:cubicBezTo>
                      <a:pt x="854869" y="872332"/>
                      <a:pt x="856916" y="870061"/>
                      <a:pt x="859631" y="869156"/>
                    </a:cubicBezTo>
                    <a:lnTo>
                      <a:pt x="866775" y="866775"/>
                    </a:lnTo>
                    <a:cubicBezTo>
                      <a:pt x="869156" y="865187"/>
                      <a:pt x="871359" y="863292"/>
                      <a:pt x="873919" y="862012"/>
                    </a:cubicBezTo>
                    <a:cubicBezTo>
                      <a:pt x="880904" y="858520"/>
                      <a:pt x="890840" y="858503"/>
                      <a:pt x="897731" y="857250"/>
                    </a:cubicBezTo>
                    <a:cubicBezTo>
                      <a:pt x="900951" y="856665"/>
                      <a:pt x="904081" y="855663"/>
                      <a:pt x="907256" y="854869"/>
                    </a:cubicBezTo>
                    <a:cubicBezTo>
                      <a:pt x="923633" y="843952"/>
                      <a:pt x="916114" y="847155"/>
                      <a:pt x="928688" y="842962"/>
                    </a:cubicBezTo>
                    <a:cubicBezTo>
                      <a:pt x="931069" y="840581"/>
                      <a:pt x="933244" y="837975"/>
                      <a:pt x="935831" y="835819"/>
                    </a:cubicBezTo>
                    <a:cubicBezTo>
                      <a:pt x="938030" y="833987"/>
                      <a:pt x="940951" y="833080"/>
                      <a:pt x="942975" y="831056"/>
                    </a:cubicBezTo>
                    <a:cubicBezTo>
                      <a:pt x="944999" y="829032"/>
                      <a:pt x="945906" y="826111"/>
                      <a:pt x="947738" y="823912"/>
                    </a:cubicBezTo>
                    <a:cubicBezTo>
                      <a:pt x="949894" y="821325"/>
                      <a:pt x="952814" y="819427"/>
                      <a:pt x="954881" y="816769"/>
                    </a:cubicBezTo>
                    <a:cubicBezTo>
                      <a:pt x="958395" y="812251"/>
                      <a:pt x="964406" y="802481"/>
                      <a:pt x="964406" y="802481"/>
                    </a:cubicBezTo>
                    <a:cubicBezTo>
                      <a:pt x="964694" y="800756"/>
                      <a:pt x="966565" y="784956"/>
                      <a:pt x="969169" y="781050"/>
                    </a:cubicBezTo>
                    <a:cubicBezTo>
                      <a:pt x="971037" y="778248"/>
                      <a:pt x="974121" y="776463"/>
                      <a:pt x="976313" y="773906"/>
                    </a:cubicBezTo>
                    <a:cubicBezTo>
                      <a:pt x="980739" y="768742"/>
                      <a:pt x="984453" y="762886"/>
                      <a:pt x="988219" y="757237"/>
                    </a:cubicBezTo>
                    <a:cubicBezTo>
                      <a:pt x="990811" y="749460"/>
                      <a:pt x="991831" y="747385"/>
                      <a:pt x="992981" y="738187"/>
                    </a:cubicBezTo>
                    <a:cubicBezTo>
                      <a:pt x="994862" y="723140"/>
                      <a:pt x="992949" y="707330"/>
                      <a:pt x="997744" y="692944"/>
                    </a:cubicBezTo>
                    <a:cubicBezTo>
                      <a:pt x="998538" y="690563"/>
                      <a:pt x="999002" y="688045"/>
                      <a:pt x="1000125" y="685800"/>
                    </a:cubicBezTo>
                    <a:cubicBezTo>
                      <a:pt x="1001405" y="683240"/>
                      <a:pt x="1003300" y="681037"/>
                      <a:pt x="1004888" y="678656"/>
                    </a:cubicBezTo>
                    <a:cubicBezTo>
                      <a:pt x="1005682" y="676275"/>
                      <a:pt x="1006820" y="673982"/>
                      <a:pt x="1007269" y="671512"/>
                    </a:cubicBezTo>
                    <a:cubicBezTo>
                      <a:pt x="1008208" y="666349"/>
                      <a:pt x="1009043" y="649908"/>
                      <a:pt x="1012031" y="642937"/>
                    </a:cubicBezTo>
                    <a:cubicBezTo>
                      <a:pt x="1013158" y="640307"/>
                      <a:pt x="1015206" y="638175"/>
                      <a:pt x="1016794" y="635794"/>
                    </a:cubicBezTo>
                    <a:cubicBezTo>
                      <a:pt x="1018085" y="629337"/>
                      <a:pt x="1018097" y="621417"/>
                      <a:pt x="1023938" y="616744"/>
                    </a:cubicBezTo>
                    <a:cubicBezTo>
                      <a:pt x="1025898" y="615176"/>
                      <a:pt x="1028836" y="615485"/>
                      <a:pt x="1031081" y="614362"/>
                    </a:cubicBezTo>
                    <a:cubicBezTo>
                      <a:pt x="1033641" y="613082"/>
                      <a:pt x="1035665" y="610880"/>
                      <a:pt x="1038225" y="609600"/>
                    </a:cubicBezTo>
                    <a:cubicBezTo>
                      <a:pt x="1050120" y="603653"/>
                      <a:pt x="1079976" y="605055"/>
                      <a:pt x="1083469" y="604837"/>
                    </a:cubicBezTo>
                    <a:cubicBezTo>
                      <a:pt x="1093788" y="605631"/>
                      <a:pt x="1105047" y="602842"/>
                      <a:pt x="1114425" y="607219"/>
                    </a:cubicBezTo>
                    <a:cubicBezTo>
                      <a:pt x="1118974" y="609342"/>
                      <a:pt x="1117600" y="616744"/>
                      <a:pt x="1119188" y="621506"/>
                    </a:cubicBezTo>
                    <a:lnTo>
                      <a:pt x="1121569" y="628650"/>
                    </a:lnTo>
                    <a:cubicBezTo>
                      <a:pt x="1122363" y="631031"/>
                      <a:pt x="1122175" y="634019"/>
                      <a:pt x="1123950" y="635794"/>
                    </a:cubicBezTo>
                    <a:cubicBezTo>
                      <a:pt x="1126331" y="638175"/>
                      <a:pt x="1128507" y="640781"/>
                      <a:pt x="1131094" y="642937"/>
                    </a:cubicBezTo>
                    <a:cubicBezTo>
                      <a:pt x="1133293" y="644769"/>
                      <a:pt x="1135857" y="646112"/>
                      <a:pt x="1138238" y="647700"/>
                    </a:cubicBezTo>
                    <a:cubicBezTo>
                      <a:pt x="1149948" y="665267"/>
                      <a:pt x="1145764" y="655882"/>
                      <a:pt x="1140619" y="695325"/>
                    </a:cubicBezTo>
                    <a:cubicBezTo>
                      <a:pt x="1139970" y="700303"/>
                      <a:pt x="1139405" y="706062"/>
                      <a:pt x="1135856" y="709612"/>
                    </a:cubicBezTo>
                    <a:lnTo>
                      <a:pt x="1128713" y="716756"/>
                    </a:lnTo>
                    <a:cubicBezTo>
                      <a:pt x="1125363" y="726803"/>
                      <a:pt x="1123327" y="729485"/>
                      <a:pt x="1128713" y="742950"/>
                    </a:cubicBezTo>
                    <a:cubicBezTo>
                      <a:pt x="1129776" y="745607"/>
                      <a:pt x="1133475" y="746125"/>
                      <a:pt x="1135856" y="747712"/>
                    </a:cubicBezTo>
                    <a:cubicBezTo>
                      <a:pt x="1137444" y="750093"/>
                      <a:pt x="1138384" y="753068"/>
                      <a:pt x="1140619" y="754856"/>
                    </a:cubicBezTo>
                    <a:cubicBezTo>
                      <a:pt x="1142579" y="756424"/>
                      <a:pt x="1146195" y="755277"/>
                      <a:pt x="1147763" y="757237"/>
                    </a:cubicBezTo>
                    <a:cubicBezTo>
                      <a:pt x="1149807" y="759793"/>
                      <a:pt x="1149350" y="763587"/>
                      <a:pt x="1150144" y="766762"/>
                    </a:cubicBezTo>
                    <a:cubicBezTo>
                      <a:pt x="1151731" y="764381"/>
                      <a:pt x="1154647" y="762469"/>
                      <a:pt x="1154906" y="759619"/>
                    </a:cubicBezTo>
                    <a:cubicBezTo>
                      <a:pt x="1156329" y="743968"/>
                      <a:pt x="1154215" y="743104"/>
                      <a:pt x="1147763" y="733425"/>
                    </a:cubicBezTo>
                    <a:cubicBezTo>
                      <a:pt x="1146257" y="727402"/>
                      <a:pt x="1143207" y="722451"/>
                      <a:pt x="1147763" y="716756"/>
                    </a:cubicBezTo>
                    <a:cubicBezTo>
                      <a:pt x="1149551" y="714521"/>
                      <a:pt x="1152525" y="713581"/>
                      <a:pt x="1154906" y="711994"/>
                    </a:cubicBezTo>
                    <a:cubicBezTo>
                      <a:pt x="1157688" y="703651"/>
                      <a:pt x="1156406" y="703948"/>
                      <a:pt x="1164431" y="697706"/>
                    </a:cubicBezTo>
                    <a:cubicBezTo>
                      <a:pt x="1168949" y="694192"/>
                      <a:pt x="1178719" y="688181"/>
                      <a:pt x="1178719" y="688181"/>
                    </a:cubicBezTo>
                    <a:cubicBezTo>
                      <a:pt x="1192380" y="667687"/>
                      <a:pt x="1188476" y="676597"/>
                      <a:pt x="1181100" y="628650"/>
                    </a:cubicBezTo>
                    <a:cubicBezTo>
                      <a:pt x="1180497" y="624727"/>
                      <a:pt x="1176337" y="622300"/>
                      <a:pt x="1173956" y="619125"/>
                    </a:cubicBezTo>
                    <a:cubicBezTo>
                      <a:pt x="1171687" y="612316"/>
                      <a:pt x="1170689" y="609931"/>
                      <a:pt x="1169194" y="602456"/>
                    </a:cubicBezTo>
                    <a:cubicBezTo>
                      <a:pt x="1168247" y="597722"/>
                      <a:pt x="1167760" y="592903"/>
                      <a:pt x="1166813" y="588169"/>
                    </a:cubicBezTo>
                    <a:cubicBezTo>
                      <a:pt x="1166171" y="584960"/>
                      <a:pt x="1165330" y="581791"/>
                      <a:pt x="1164431" y="578644"/>
                    </a:cubicBezTo>
                    <a:cubicBezTo>
                      <a:pt x="1163741" y="576230"/>
                      <a:pt x="1162614" y="573946"/>
                      <a:pt x="1162050" y="571500"/>
                    </a:cubicBezTo>
                    <a:cubicBezTo>
                      <a:pt x="1158760" y="557241"/>
                      <a:pt x="1158397" y="550380"/>
                      <a:pt x="1154906" y="538162"/>
                    </a:cubicBezTo>
                    <a:cubicBezTo>
                      <a:pt x="1154216" y="535749"/>
                      <a:pt x="1154093" y="532979"/>
                      <a:pt x="1152525" y="531019"/>
                    </a:cubicBezTo>
                    <a:cubicBezTo>
                      <a:pt x="1150737" y="528784"/>
                      <a:pt x="1147941" y="527536"/>
                      <a:pt x="1145381" y="526256"/>
                    </a:cubicBezTo>
                    <a:cubicBezTo>
                      <a:pt x="1139519" y="523325"/>
                      <a:pt x="1129436" y="522408"/>
                      <a:pt x="1123950" y="521494"/>
                    </a:cubicBezTo>
                    <a:cubicBezTo>
                      <a:pt x="1122381" y="516787"/>
                      <a:pt x="1121004" y="510564"/>
                      <a:pt x="1116806" y="507206"/>
                    </a:cubicBezTo>
                    <a:cubicBezTo>
                      <a:pt x="1114846" y="505638"/>
                      <a:pt x="1112044" y="505619"/>
                      <a:pt x="1109663" y="504825"/>
                    </a:cubicBezTo>
                    <a:cubicBezTo>
                      <a:pt x="1107282" y="506412"/>
                      <a:pt x="1105134" y="508425"/>
                      <a:pt x="1102519" y="509587"/>
                    </a:cubicBezTo>
                    <a:cubicBezTo>
                      <a:pt x="1083825" y="517895"/>
                      <a:pt x="1073811" y="515251"/>
                      <a:pt x="1050131" y="516731"/>
                    </a:cubicBezTo>
                    <a:cubicBezTo>
                      <a:pt x="1045035" y="518430"/>
                      <a:pt x="1039646" y="519530"/>
                      <a:pt x="1035844" y="523875"/>
                    </a:cubicBezTo>
                    <a:cubicBezTo>
                      <a:pt x="1032075" y="528182"/>
                      <a:pt x="1026319" y="538162"/>
                      <a:pt x="1026319" y="538162"/>
                    </a:cubicBezTo>
                    <a:cubicBezTo>
                      <a:pt x="1023938" y="535781"/>
                      <a:pt x="1020846" y="533943"/>
                      <a:pt x="1019175" y="531019"/>
                    </a:cubicBezTo>
                    <a:cubicBezTo>
                      <a:pt x="1017551" y="528178"/>
                      <a:pt x="1016794" y="524767"/>
                      <a:pt x="1016794" y="521494"/>
                    </a:cubicBezTo>
                    <a:cubicBezTo>
                      <a:pt x="1016794" y="516010"/>
                      <a:pt x="1018026" y="488896"/>
                      <a:pt x="1023938" y="481012"/>
                    </a:cubicBezTo>
                    <a:cubicBezTo>
                      <a:pt x="1032798" y="469197"/>
                      <a:pt x="1028879" y="474789"/>
                      <a:pt x="1035844" y="464344"/>
                    </a:cubicBezTo>
                    <a:cubicBezTo>
                      <a:pt x="1041641" y="446951"/>
                      <a:pt x="1039388" y="454926"/>
                      <a:pt x="1042988" y="440531"/>
                    </a:cubicBezTo>
                    <a:cubicBezTo>
                      <a:pt x="1042194" y="434975"/>
                      <a:pt x="1041707" y="429366"/>
                      <a:pt x="1040606" y="423862"/>
                    </a:cubicBezTo>
                    <a:cubicBezTo>
                      <a:pt x="1040114" y="421401"/>
                      <a:pt x="1038225" y="419229"/>
                      <a:pt x="1038225" y="416719"/>
                    </a:cubicBezTo>
                    <a:cubicBezTo>
                      <a:pt x="1038225" y="407952"/>
                      <a:pt x="1039366" y="399204"/>
                      <a:pt x="1040606" y="390525"/>
                    </a:cubicBezTo>
                    <a:cubicBezTo>
                      <a:pt x="1040961" y="388040"/>
                      <a:pt x="1041420" y="385341"/>
                      <a:pt x="1042988" y="383381"/>
                    </a:cubicBezTo>
                    <a:cubicBezTo>
                      <a:pt x="1044776" y="381146"/>
                      <a:pt x="1047933" y="380451"/>
                      <a:pt x="1050131" y="378619"/>
                    </a:cubicBezTo>
                    <a:cubicBezTo>
                      <a:pt x="1057007" y="372889"/>
                      <a:pt x="1057355" y="371355"/>
                      <a:pt x="1062038" y="364331"/>
                    </a:cubicBezTo>
                    <a:cubicBezTo>
                      <a:pt x="1062832" y="361950"/>
                      <a:pt x="1063297" y="359432"/>
                      <a:pt x="1064419" y="357187"/>
                    </a:cubicBezTo>
                    <a:cubicBezTo>
                      <a:pt x="1073655" y="338715"/>
                      <a:pt x="1065573" y="360865"/>
                      <a:pt x="1071563" y="342900"/>
                    </a:cubicBezTo>
                    <a:cubicBezTo>
                      <a:pt x="1071487" y="342136"/>
                      <a:pt x="1070036" y="316034"/>
                      <a:pt x="1066800" y="309562"/>
                    </a:cubicBezTo>
                    <a:cubicBezTo>
                      <a:pt x="1064240" y="304443"/>
                      <a:pt x="1057275" y="295275"/>
                      <a:pt x="1057275" y="295275"/>
                    </a:cubicBezTo>
                    <a:cubicBezTo>
                      <a:pt x="1056481" y="291306"/>
                      <a:pt x="1055466" y="287376"/>
                      <a:pt x="1054894" y="283369"/>
                    </a:cubicBezTo>
                    <a:cubicBezTo>
                      <a:pt x="1053878" y="276253"/>
                      <a:pt x="1053353" y="269076"/>
                      <a:pt x="1052513" y="261937"/>
                    </a:cubicBezTo>
                    <a:cubicBezTo>
                      <a:pt x="1051765" y="255581"/>
                      <a:pt x="1050925" y="249237"/>
                      <a:pt x="1050131" y="242887"/>
                    </a:cubicBezTo>
                    <a:cubicBezTo>
                      <a:pt x="1050925" y="231775"/>
                      <a:pt x="1049811" y="220358"/>
                      <a:pt x="1052513" y="209550"/>
                    </a:cubicBezTo>
                    <a:cubicBezTo>
                      <a:pt x="1053207" y="206774"/>
                      <a:pt x="1057041" y="205949"/>
                      <a:pt x="1059656" y="204787"/>
                    </a:cubicBezTo>
                    <a:cubicBezTo>
                      <a:pt x="1064244" y="202748"/>
                      <a:pt x="1069181" y="201612"/>
                      <a:pt x="1073944" y="200025"/>
                    </a:cubicBezTo>
                    <a:lnTo>
                      <a:pt x="1081088" y="197644"/>
                    </a:lnTo>
                    <a:cubicBezTo>
                      <a:pt x="1083469" y="196056"/>
                      <a:pt x="1085671" y="194161"/>
                      <a:pt x="1088231" y="192881"/>
                    </a:cubicBezTo>
                    <a:cubicBezTo>
                      <a:pt x="1090476" y="191758"/>
                      <a:pt x="1093181" y="191719"/>
                      <a:pt x="1095375" y="190500"/>
                    </a:cubicBezTo>
                    <a:cubicBezTo>
                      <a:pt x="1102916" y="186311"/>
                      <a:pt x="1112052" y="179183"/>
                      <a:pt x="1119188" y="173831"/>
                    </a:cubicBezTo>
                    <a:cubicBezTo>
                      <a:pt x="1120775" y="170656"/>
                      <a:pt x="1122189" y="167388"/>
                      <a:pt x="1123950" y="164306"/>
                    </a:cubicBezTo>
                    <a:cubicBezTo>
                      <a:pt x="1125370" y="161821"/>
                      <a:pt x="1127551" y="159777"/>
                      <a:pt x="1128713" y="157162"/>
                    </a:cubicBezTo>
                    <a:cubicBezTo>
                      <a:pt x="1132025" y="149709"/>
                      <a:pt x="1133877" y="141265"/>
                      <a:pt x="1135856" y="133350"/>
                    </a:cubicBezTo>
                    <a:cubicBezTo>
                      <a:pt x="1136650" y="122237"/>
                      <a:pt x="1136585" y="111030"/>
                      <a:pt x="1138238" y="100012"/>
                    </a:cubicBezTo>
                    <a:cubicBezTo>
                      <a:pt x="1138983" y="95048"/>
                      <a:pt x="1141413" y="90487"/>
                      <a:pt x="1143000" y="85725"/>
                    </a:cubicBezTo>
                    <a:cubicBezTo>
                      <a:pt x="1143794" y="83344"/>
                      <a:pt x="1143000" y="79375"/>
                      <a:pt x="1145381" y="78581"/>
                    </a:cubicBezTo>
                    <a:lnTo>
                      <a:pt x="1152525" y="76200"/>
                    </a:lnTo>
                    <a:cubicBezTo>
                      <a:pt x="1156494" y="76994"/>
                      <a:pt x="1161138" y="76229"/>
                      <a:pt x="1164431" y="78581"/>
                    </a:cubicBezTo>
                    <a:cubicBezTo>
                      <a:pt x="1167320" y="80644"/>
                      <a:pt x="1169058" y="84559"/>
                      <a:pt x="1169194" y="88106"/>
                    </a:cubicBezTo>
                    <a:cubicBezTo>
                      <a:pt x="1169779" y="103306"/>
                      <a:pt x="1171424" y="136030"/>
                      <a:pt x="1162050" y="154781"/>
                    </a:cubicBezTo>
                    <a:cubicBezTo>
                      <a:pt x="1160463" y="157956"/>
                      <a:pt x="1158606" y="161010"/>
                      <a:pt x="1157288" y="164306"/>
                    </a:cubicBezTo>
                    <a:cubicBezTo>
                      <a:pt x="1155424" y="168967"/>
                      <a:pt x="1152525" y="178594"/>
                      <a:pt x="1152525" y="178594"/>
                    </a:cubicBezTo>
                    <a:cubicBezTo>
                      <a:pt x="1151731" y="190500"/>
                      <a:pt x="1153917" y="202992"/>
                      <a:pt x="1150144" y="214312"/>
                    </a:cubicBezTo>
                    <a:cubicBezTo>
                      <a:pt x="1147480" y="222304"/>
                      <a:pt x="1135662" y="228398"/>
                      <a:pt x="1128713" y="233362"/>
                    </a:cubicBezTo>
                    <a:cubicBezTo>
                      <a:pt x="1122221" y="237999"/>
                      <a:pt x="1117135" y="241541"/>
                      <a:pt x="1112044" y="247650"/>
                    </a:cubicBezTo>
                    <a:cubicBezTo>
                      <a:pt x="1110212" y="249849"/>
                      <a:pt x="1108869" y="252413"/>
                      <a:pt x="1107281" y="254794"/>
                    </a:cubicBezTo>
                    <a:cubicBezTo>
                      <a:pt x="1106487" y="257175"/>
                      <a:pt x="1103777" y="259692"/>
                      <a:pt x="1104900" y="261937"/>
                    </a:cubicBezTo>
                    <a:cubicBezTo>
                      <a:pt x="1106023" y="264182"/>
                      <a:pt x="1109622" y="263659"/>
                      <a:pt x="1112044" y="264319"/>
                    </a:cubicBezTo>
                    <a:cubicBezTo>
                      <a:pt x="1144308" y="273119"/>
                      <a:pt x="1118933" y="265908"/>
                      <a:pt x="1143000" y="271462"/>
                    </a:cubicBezTo>
                    <a:cubicBezTo>
                      <a:pt x="1149378" y="272934"/>
                      <a:pt x="1162050" y="276225"/>
                      <a:pt x="1162050" y="276225"/>
                    </a:cubicBezTo>
                    <a:cubicBezTo>
                      <a:pt x="1189905" y="297117"/>
                      <a:pt x="1155501" y="270612"/>
                      <a:pt x="1178719" y="290512"/>
                    </a:cubicBezTo>
                    <a:cubicBezTo>
                      <a:pt x="1181732" y="293095"/>
                      <a:pt x="1185069" y="295275"/>
                      <a:pt x="1188244" y="297656"/>
                    </a:cubicBezTo>
                    <a:cubicBezTo>
                      <a:pt x="1192477" y="304007"/>
                      <a:pt x="1193802" y="307007"/>
                      <a:pt x="1200150" y="311944"/>
                    </a:cubicBezTo>
                    <a:cubicBezTo>
                      <a:pt x="1204668" y="315458"/>
                      <a:pt x="1214438" y="321469"/>
                      <a:pt x="1214438" y="321469"/>
                    </a:cubicBezTo>
                    <a:cubicBezTo>
                      <a:pt x="1223168" y="334564"/>
                      <a:pt x="1214438" y="323453"/>
                      <a:pt x="1226344" y="333375"/>
                    </a:cubicBezTo>
                    <a:cubicBezTo>
                      <a:pt x="1238235" y="343284"/>
                      <a:pt x="1228078" y="338716"/>
                      <a:pt x="1240631" y="342900"/>
                    </a:cubicBezTo>
                    <a:cubicBezTo>
                      <a:pt x="1251823" y="354092"/>
                      <a:pt x="1244972" y="348176"/>
                      <a:pt x="1262063" y="359569"/>
                    </a:cubicBezTo>
                    <a:lnTo>
                      <a:pt x="1269206" y="364331"/>
                    </a:lnTo>
                    <a:cubicBezTo>
                      <a:pt x="1278968" y="378974"/>
                      <a:pt x="1278769" y="381224"/>
                      <a:pt x="1271588" y="338137"/>
                    </a:cubicBezTo>
                    <a:cubicBezTo>
                      <a:pt x="1270545" y="331877"/>
                      <a:pt x="1264764" y="326870"/>
                      <a:pt x="1262063" y="321469"/>
                    </a:cubicBezTo>
                    <a:cubicBezTo>
                      <a:pt x="1260940" y="319224"/>
                      <a:pt x="1260475" y="316706"/>
                      <a:pt x="1259681" y="314325"/>
                    </a:cubicBezTo>
                    <a:cubicBezTo>
                      <a:pt x="1259969" y="312599"/>
                      <a:pt x="1261839" y="296801"/>
                      <a:pt x="1264444" y="292894"/>
                    </a:cubicBezTo>
                    <a:cubicBezTo>
                      <a:pt x="1266312" y="290092"/>
                      <a:pt x="1269207" y="288131"/>
                      <a:pt x="1271588" y="285750"/>
                    </a:cubicBezTo>
                    <a:cubicBezTo>
                      <a:pt x="1273175" y="280987"/>
                      <a:pt x="1277334" y="276385"/>
                      <a:pt x="1276350" y="271462"/>
                    </a:cubicBezTo>
                    <a:cubicBezTo>
                      <a:pt x="1275556" y="267493"/>
                      <a:pt x="1274951" y="263482"/>
                      <a:pt x="1273969" y="259556"/>
                    </a:cubicBezTo>
                    <a:cubicBezTo>
                      <a:pt x="1273360" y="257121"/>
                      <a:pt x="1273363" y="254187"/>
                      <a:pt x="1271588" y="252412"/>
                    </a:cubicBezTo>
                    <a:cubicBezTo>
                      <a:pt x="1269813" y="250637"/>
                      <a:pt x="1266947" y="250216"/>
                      <a:pt x="1264444" y="250031"/>
                    </a:cubicBezTo>
                    <a:cubicBezTo>
                      <a:pt x="1245430" y="248623"/>
                      <a:pt x="1226344" y="248444"/>
                      <a:pt x="1207294" y="247650"/>
                    </a:cubicBezTo>
                    <a:cubicBezTo>
                      <a:pt x="1204119" y="246856"/>
                      <a:pt x="1200611" y="246893"/>
                      <a:pt x="1197769" y="245269"/>
                    </a:cubicBezTo>
                    <a:cubicBezTo>
                      <a:pt x="1194845" y="243598"/>
                      <a:pt x="1192781" y="240712"/>
                      <a:pt x="1190625" y="238125"/>
                    </a:cubicBezTo>
                    <a:cubicBezTo>
                      <a:pt x="1185497" y="231972"/>
                      <a:pt x="1185868" y="230995"/>
                      <a:pt x="1183481" y="223837"/>
                    </a:cubicBezTo>
                    <a:cubicBezTo>
                      <a:pt x="1184275" y="213518"/>
                      <a:pt x="1180122" y="201492"/>
                      <a:pt x="1185863" y="192881"/>
                    </a:cubicBezTo>
                    <a:cubicBezTo>
                      <a:pt x="1188976" y="188211"/>
                      <a:pt x="1197028" y="194161"/>
                      <a:pt x="1202531" y="195262"/>
                    </a:cubicBezTo>
                    <a:cubicBezTo>
                      <a:pt x="1208181" y="196392"/>
                      <a:pt x="1212385" y="198711"/>
                      <a:pt x="1216819" y="202406"/>
                    </a:cubicBezTo>
                    <a:cubicBezTo>
                      <a:pt x="1219406" y="204562"/>
                      <a:pt x="1221582" y="207169"/>
                      <a:pt x="1223963" y="209550"/>
                    </a:cubicBezTo>
                    <a:cubicBezTo>
                      <a:pt x="1224757" y="211931"/>
                      <a:pt x="1225735" y="214259"/>
                      <a:pt x="1226344" y="216694"/>
                    </a:cubicBezTo>
                    <a:cubicBezTo>
                      <a:pt x="1227326" y="220620"/>
                      <a:pt x="1226480" y="225233"/>
                      <a:pt x="1228725" y="228600"/>
                    </a:cubicBezTo>
                    <a:cubicBezTo>
                      <a:pt x="1230117" y="230689"/>
                      <a:pt x="1233488" y="230187"/>
                      <a:pt x="1235869" y="230981"/>
                    </a:cubicBezTo>
                    <a:cubicBezTo>
                      <a:pt x="1247775" y="230187"/>
                      <a:pt x="1264774" y="238396"/>
                      <a:pt x="1271588" y="228600"/>
                    </a:cubicBezTo>
                    <a:cubicBezTo>
                      <a:pt x="1307832" y="176499"/>
                      <a:pt x="1250698" y="171305"/>
                      <a:pt x="1283494" y="178594"/>
                    </a:cubicBezTo>
                    <a:cubicBezTo>
                      <a:pt x="1287445" y="179472"/>
                      <a:pt x="1291431" y="180181"/>
                      <a:pt x="1295400" y="180975"/>
                    </a:cubicBezTo>
                    <a:cubicBezTo>
                      <a:pt x="1296194" y="183356"/>
                      <a:pt x="1297172" y="185684"/>
                      <a:pt x="1297781" y="188119"/>
                    </a:cubicBezTo>
                    <a:cubicBezTo>
                      <a:pt x="1298763" y="192045"/>
                      <a:pt x="1297918" y="196657"/>
                      <a:pt x="1300163" y="200025"/>
                    </a:cubicBezTo>
                    <a:cubicBezTo>
                      <a:pt x="1301555" y="202113"/>
                      <a:pt x="1304845" y="201914"/>
                      <a:pt x="1307306" y="202406"/>
                    </a:cubicBezTo>
                    <a:cubicBezTo>
                      <a:pt x="1312810" y="203507"/>
                      <a:pt x="1318419" y="203993"/>
                      <a:pt x="1323975" y="204787"/>
                    </a:cubicBezTo>
                    <a:cubicBezTo>
                      <a:pt x="1339563" y="209984"/>
                      <a:pt x="1324263" y="202766"/>
                      <a:pt x="1333500" y="214312"/>
                    </a:cubicBezTo>
                    <a:cubicBezTo>
                      <a:pt x="1335288" y="216547"/>
                      <a:pt x="1338263" y="217487"/>
                      <a:pt x="1340644" y="219075"/>
                    </a:cubicBezTo>
                    <a:cubicBezTo>
                      <a:pt x="1349471" y="245558"/>
                      <a:pt x="1348700" y="237478"/>
                      <a:pt x="1343025" y="280987"/>
                    </a:cubicBezTo>
                    <a:cubicBezTo>
                      <a:pt x="1342655" y="283825"/>
                      <a:pt x="1340095" y="285932"/>
                      <a:pt x="1338263" y="288131"/>
                    </a:cubicBezTo>
                    <a:cubicBezTo>
                      <a:pt x="1322978" y="306474"/>
                      <a:pt x="1338186" y="284675"/>
                      <a:pt x="1326356" y="302419"/>
                    </a:cubicBezTo>
                    <a:cubicBezTo>
                      <a:pt x="1307360" y="359407"/>
                      <a:pt x="1323995" y="393777"/>
                      <a:pt x="1319213" y="473869"/>
                    </a:cubicBezTo>
                    <a:cubicBezTo>
                      <a:pt x="1319042" y="476726"/>
                      <a:pt x="1314749" y="477626"/>
                      <a:pt x="1312069" y="478631"/>
                    </a:cubicBezTo>
                    <a:cubicBezTo>
                      <a:pt x="1308279" y="480052"/>
                      <a:pt x="1304089" y="480030"/>
                      <a:pt x="1300163" y="481012"/>
                    </a:cubicBezTo>
                    <a:cubicBezTo>
                      <a:pt x="1297728" y="481621"/>
                      <a:pt x="1295400" y="482600"/>
                      <a:pt x="1293019" y="483394"/>
                    </a:cubicBezTo>
                    <a:cubicBezTo>
                      <a:pt x="1290638" y="485775"/>
                      <a:pt x="1288031" y="487950"/>
                      <a:pt x="1285875" y="490537"/>
                    </a:cubicBezTo>
                    <a:cubicBezTo>
                      <a:pt x="1284043" y="492736"/>
                      <a:pt x="1283137" y="495657"/>
                      <a:pt x="1281113" y="497681"/>
                    </a:cubicBezTo>
                    <a:cubicBezTo>
                      <a:pt x="1279089" y="499705"/>
                      <a:pt x="1276350" y="500856"/>
                      <a:pt x="1273969" y="502444"/>
                    </a:cubicBezTo>
                    <a:cubicBezTo>
                      <a:pt x="1267984" y="520400"/>
                      <a:pt x="1276059" y="498264"/>
                      <a:pt x="1266825" y="516731"/>
                    </a:cubicBezTo>
                    <a:cubicBezTo>
                      <a:pt x="1265702" y="518976"/>
                      <a:pt x="1265238" y="521494"/>
                      <a:pt x="1264444" y="523875"/>
                    </a:cubicBezTo>
                    <a:cubicBezTo>
                      <a:pt x="1265238" y="528637"/>
                      <a:pt x="1264864" y="533750"/>
                      <a:pt x="1266825" y="538162"/>
                    </a:cubicBezTo>
                    <a:cubicBezTo>
                      <a:pt x="1268193" y="541239"/>
                      <a:pt x="1272101" y="542504"/>
                      <a:pt x="1273969" y="545306"/>
                    </a:cubicBezTo>
                    <a:cubicBezTo>
                      <a:pt x="1287754" y="565984"/>
                      <a:pt x="1260704" y="536804"/>
                      <a:pt x="1283494" y="559594"/>
                    </a:cubicBezTo>
                    <a:cubicBezTo>
                      <a:pt x="1289156" y="576579"/>
                      <a:pt x="1281127" y="556042"/>
                      <a:pt x="1293019" y="573881"/>
                    </a:cubicBezTo>
                    <a:cubicBezTo>
                      <a:pt x="1294411" y="575970"/>
                      <a:pt x="1294277" y="578780"/>
                      <a:pt x="1295400" y="581025"/>
                    </a:cubicBezTo>
                    <a:cubicBezTo>
                      <a:pt x="1298715" y="587655"/>
                      <a:pt x="1302041" y="590047"/>
                      <a:pt x="1307306" y="595312"/>
                    </a:cubicBezTo>
                    <a:cubicBezTo>
                      <a:pt x="1308100" y="597693"/>
                      <a:pt x="1307913" y="600681"/>
                      <a:pt x="1309688" y="602456"/>
                    </a:cubicBezTo>
                    <a:cubicBezTo>
                      <a:pt x="1311463" y="604231"/>
                      <a:pt x="1314586" y="603715"/>
                      <a:pt x="1316831" y="604837"/>
                    </a:cubicBezTo>
                    <a:cubicBezTo>
                      <a:pt x="1319391" y="606117"/>
                      <a:pt x="1321646" y="607936"/>
                      <a:pt x="1323975" y="609600"/>
                    </a:cubicBezTo>
                    <a:cubicBezTo>
                      <a:pt x="1327204" y="611907"/>
                      <a:pt x="1330054" y="614775"/>
                      <a:pt x="1333500" y="616744"/>
                    </a:cubicBezTo>
                    <a:cubicBezTo>
                      <a:pt x="1335679" y="617989"/>
                      <a:pt x="1338146" y="618875"/>
                      <a:pt x="1340644" y="619125"/>
                    </a:cubicBezTo>
                    <a:cubicBezTo>
                      <a:pt x="1354094" y="620470"/>
                      <a:pt x="1367631" y="620712"/>
                      <a:pt x="1381125" y="621506"/>
                    </a:cubicBezTo>
                    <a:cubicBezTo>
                      <a:pt x="1385423" y="627952"/>
                      <a:pt x="1387627" y="630618"/>
                      <a:pt x="1390650" y="638175"/>
                    </a:cubicBezTo>
                    <a:cubicBezTo>
                      <a:pt x="1392514" y="642836"/>
                      <a:pt x="1393825" y="647700"/>
                      <a:pt x="1395413" y="652462"/>
                    </a:cubicBezTo>
                    <a:cubicBezTo>
                      <a:pt x="1398827" y="662703"/>
                      <a:pt x="1397188" y="657181"/>
                      <a:pt x="1400175" y="669131"/>
                    </a:cubicBezTo>
                    <a:cubicBezTo>
                      <a:pt x="1399381" y="693737"/>
                      <a:pt x="1400756" y="718510"/>
                      <a:pt x="1397794" y="742950"/>
                    </a:cubicBezTo>
                    <a:cubicBezTo>
                      <a:pt x="1397450" y="745791"/>
                      <a:pt x="1392070" y="745227"/>
                      <a:pt x="1390650" y="747712"/>
                    </a:cubicBezTo>
                    <a:cubicBezTo>
                      <a:pt x="1388642" y="751226"/>
                      <a:pt x="1389063" y="755650"/>
                      <a:pt x="1388269" y="759619"/>
                    </a:cubicBezTo>
                    <a:cubicBezTo>
                      <a:pt x="1389063" y="801688"/>
                      <a:pt x="1389200" y="843774"/>
                      <a:pt x="1390650" y="885825"/>
                    </a:cubicBezTo>
                    <a:cubicBezTo>
                      <a:pt x="1390797" y="890083"/>
                      <a:pt x="1394375" y="902584"/>
                      <a:pt x="1395413" y="907256"/>
                    </a:cubicBezTo>
                    <a:cubicBezTo>
                      <a:pt x="1396500" y="912145"/>
                      <a:pt x="1397622" y="921201"/>
                      <a:pt x="1400175" y="926306"/>
                    </a:cubicBezTo>
                    <a:cubicBezTo>
                      <a:pt x="1401455" y="928866"/>
                      <a:pt x="1403350" y="931069"/>
                      <a:pt x="1404938" y="933450"/>
                    </a:cubicBezTo>
                    <a:cubicBezTo>
                      <a:pt x="1405732" y="938212"/>
                      <a:pt x="1406148" y="943053"/>
                      <a:pt x="1407319" y="947737"/>
                    </a:cubicBezTo>
                    <a:cubicBezTo>
                      <a:pt x="1408536" y="952607"/>
                      <a:pt x="1410863" y="957155"/>
                      <a:pt x="1412081" y="962025"/>
                    </a:cubicBezTo>
                    <a:cubicBezTo>
                      <a:pt x="1412875" y="965200"/>
                      <a:pt x="1413564" y="968403"/>
                      <a:pt x="1414463" y="971550"/>
                    </a:cubicBezTo>
                    <a:cubicBezTo>
                      <a:pt x="1415153" y="973964"/>
                      <a:pt x="1416184" y="976272"/>
                      <a:pt x="1416844" y="978694"/>
                    </a:cubicBezTo>
                    <a:cubicBezTo>
                      <a:pt x="1424893" y="1008211"/>
                      <a:pt x="1418508" y="988455"/>
                      <a:pt x="1423988" y="1004887"/>
                    </a:cubicBezTo>
                    <a:cubicBezTo>
                      <a:pt x="1424782" y="1010443"/>
                      <a:pt x="1425365" y="1016034"/>
                      <a:pt x="1426369" y="1021556"/>
                    </a:cubicBezTo>
                    <a:cubicBezTo>
                      <a:pt x="1426954" y="1024776"/>
                      <a:pt x="1428040" y="1027886"/>
                      <a:pt x="1428750" y="1031081"/>
                    </a:cubicBezTo>
                    <a:cubicBezTo>
                      <a:pt x="1429628" y="1035032"/>
                      <a:pt x="1430466" y="1038995"/>
                      <a:pt x="1431131" y="1042987"/>
                    </a:cubicBezTo>
                    <a:cubicBezTo>
                      <a:pt x="1432649" y="1052094"/>
                      <a:pt x="1433921" y="1064737"/>
                      <a:pt x="1435894" y="1073944"/>
                    </a:cubicBezTo>
                    <a:cubicBezTo>
                      <a:pt x="1437265" y="1080344"/>
                      <a:pt x="1437729" y="1087140"/>
                      <a:pt x="1440656" y="1092994"/>
                    </a:cubicBezTo>
                    <a:lnTo>
                      <a:pt x="1445419" y="1102519"/>
                    </a:lnTo>
                    <a:cubicBezTo>
                      <a:pt x="1451458" y="1132716"/>
                      <a:pt x="1443365" y="1100108"/>
                      <a:pt x="1452563" y="1121569"/>
                    </a:cubicBezTo>
                    <a:cubicBezTo>
                      <a:pt x="1454991" y="1127235"/>
                      <a:pt x="1455704" y="1141379"/>
                      <a:pt x="1459706" y="1145381"/>
                    </a:cubicBezTo>
                    <a:cubicBezTo>
                      <a:pt x="1462881" y="1148556"/>
                      <a:pt x="1466274" y="1151527"/>
                      <a:pt x="1469231" y="1154906"/>
                    </a:cubicBezTo>
                    <a:cubicBezTo>
                      <a:pt x="1471844" y="1157893"/>
                      <a:pt x="1474068" y="1161202"/>
                      <a:pt x="1476375" y="1164431"/>
                    </a:cubicBezTo>
                    <a:cubicBezTo>
                      <a:pt x="1478039" y="1166760"/>
                      <a:pt x="1479114" y="1169551"/>
                      <a:pt x="1481138" y="1171575"/>
                    </a:cubicBezTo>
                    <a:cubicBezTo>
                      <a:pt x="1483161" y="1173598"/>
                      <a:pt x="1485900" y="1174750"/>
                      <a:pt x="1488281" y="1176337"/>
                    </a:cubicBezTo>
                    <a:cubicBezTo>
                      <a:pt x="1489869" y="1178718"/>
                      <a:pt x="1491020" y="1181457"/>
                      <a:pt x="1493044" y="1183481"/>
                    </a:cubicBezTo>
                    <a:cubicBezTo>
                      <a:pt x="1495068" y="1185505"/>
                      <a:pt x="1497703" y="1186824"/>
                      <a:pt x="1500188" y="1188244"/>
                    </a:cubicBezTo>
                    <a:cubicBezTo>
                      <a:pt x="1503759" y="1190284"/>
                      <a:pt x="1512143" y="1194601"/>
                      <a:pt x="1516856" y="1195387"/>
                    </a:cubicBezTo>
                    <a:cubicBezTo>
                      <a:pt x="1523946" y="1196569"/>
                      <a:pt x="1531144" y="1196975"/>
                      <a:pt x="1538288" y="1197769"/>
                    </a:cubicBezTo>
                    <a:cubicBezTo>
                      <a:pt x="1540669" y="1198563"/>
                      <a:pt x="1544186" y="1197971"/>
                      <a:pt x="1545431" y="1200150"/>
                    </a:cubicBezTo>
                    <a:cubicBezTo>
                      <a:pt x="1547826" y="1204342"/>
                      <a:pt x="1546766" y="1209724"/>
                      <a:pt x="1547813" y="1214437"/>
                    </a:cubicBezTo>
                    <a:cubicBezTo>
                      <a:pt x="1548358" y="1216887"/>
                      <a:pt x="1549400" y="1219200"/>
                      <a:pt x="1550194" y="1221581"/>
                    </a:cubicBezTo>
                    <a:cubicBezTo>
                      <a:pt x="1549400" y="1236662"/>
                      <a:pt x="1549180" y="1251785"/>
                      <a:pt x="1547813" y="1266825"/>
                    </a:cubicBezTo>
                    <a:cubicBezTo>
                      <a:pt x="1547586" y="1269325"/>
                      <a:pt x="1546999" y="1272009"/>
                      <a:pt x="1545431" y="1273969"/>
                    </a:cubicBezTo>
                    <a:cubicBezTo>
                      <a:pt x="1543643" y="1276204"/>
                      <a:pt x="1540669" y="1277144"/>
                      <a:pt x="1538288" y="1278731"/>
                    </a:cubicBezTo>
                    <a:cubicBezTo>
                      <a:pt x="1535902" y="1285888"/>
                      <a:pt x="1536271" y="1286866"/>
                      <a:pt x="1531144" y="1293019"/>
                    </a:cubicBezTo>
                    <a:cubicBezTo>
                      <a:pt x="1528988" y="1295606"/>
                      <a:pt x="1526067" y="1297504"/>
                      <a:pt x="1524000" y="1300162"/>
                    </a:cubicBezTo>
                    <a:cubicBezTo>
                      <a:pt x="1520486" y="1304680"/>
                      <a:pt x="1517650" y="1309687"/>
                      <a:pt x="1514475" y="1314450"/>
                    </a:cubicBezTo>
                    <a:cubicBezTo>
                      <a:pt x="1507507" y="1324902"/>
                      <a:pt x="1511436" y="1319296"/>
                      <a:pt x="1502569" y="1331119"/>
                    </a:cubicBezTo>
                    <a:cubicBezTo>
                      <a:pt x="1504320" y="1367901"/>
                      <a:pt x="1507167" y="1394349"/>
                      <a:pt x="1502569" y="1431131"/>
                    </a:cubicBezTo>
                    <a:cubicBezTo>
                      <a:pt x="1501757" y="1437628"/>
                      <a:pt x="1494650" y="1439714"/>
                      <a:pt x="1490663" y="1443037"/>
                    </a:cubicBezTo>
                    <a:cubicBezTo>
                      <a:pt x="1483787" y="1448767"/>
                      <a:pt x="1483439" y="1450301"/>
                      <a:pt x="1478756" y="1457325"/>
                    </a:cubicBezTo>
                    <a:cubicBezTo>
                      <a:pt x="1477124" y="1462222"/>
                      <a:pt x="1474658" y="1469011"/>
                      <a:pt x="1473994" y="1473994"/>
                    </a:cubicBezTo>
                    <a:cubicBezTo>
                      <a:pt x="1472835" y="1482684"/>
                      <a:pt x="1474022" y="1491757"/>
                      <a:pt x="1471613" y="1500187"/>
                    </a:cubicBezTo>
                    <a:cubicBezTo>
                      <a:pt x="1470688" y="1503425"/>
                      <a:pt x="1466850" y="1504950"/>
                      <a:pt x="1464469" y="1507331"/>
                    </a:cubicBezTo>
                    <a:lnTo>
                      <a:pt x="1462088" y="1509712"/>
                    </a:lnTo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sz="1799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01" name="Freeform 220">
                <a:extLst>
                  <a:ext uri="{FF2B5EF4-FFF2-40B4-BE49-F238E27FC236}">
                    <a16:creationId xmlns:a16="http://schemas.microsoft.com/office/drawing/2014/main" xmlns="" id="{3CF758C0-343A-5B41-8642-A61CF7C872BD}"/>
                  </a:ext>
                </a:extLst>
              </p:cNvPr>
              <p:cNvSpPr/>
              <p:nvPr/>
            </p:nvSpPr>
            <p:spPr bwMode="auto">
              <a:xfrm>
                <a:off x="3246876" y="4638675"/>
                <a:ext cx="1482287" cy="790575"/>
              </a:xfrm>
              <a:custGeom>
                <a:avLst/>
                <a:gdLst>
                  <a:gd name="connsiteX0" fmla="*/ 65443 w 1482287"/>
                  <a:gd name="connsiteY0" fmla="*/ 85725 h 790575"/>
                  <a:gd name="connsiteX1" fmla="*/ 67824 w 1482287"/>
                  <a:gd name="connsiteY1" fmla="*/ 111919 h 790575"/>
                  <a:gd name="connsiteX2" fmla="*/ 70205 w 1482287"/>
                  <a:gd name="connsiteY2" fmla="*/ 119063 h 790575"/>
                  <a:gd name="connsiteX3" fmla="*/ 72587 w 1482287"/>
                  <a:gd name="connsiteY3" fmla="*/ 128588 h 790575"/>
                  <a:gd name="connsiteX4" fmla="*/ 77349 w 1482287"/>
                  <a:gd name="connsiteY4" fmla="*/ 142875 h 790575"/>
                  <a:gd name="connsiteX5" fmla="*/ 79730 w 1482287"/>
                  <a:gd name="connsiteY5" fmla="*/ 154781 h 790575"/>
                  <a:gd name="connsiteX6" fmla="*/ 86874 w 1482287"/>
                  <a:gd name="connsiteY6" fmla="*/ 176213 h 790575"/>
                  <a:gd name="connsiteX7" fmla="*/ 89255 w 1482287"/>
                  <a:gd name="connsiteY7" fmla="*/ 183356 h 790575"/>
                  <a:gd name="connsiteX8" fmla="*/ 91637 w 1482287"/>
                  <a:gd name="connsiteY8" fmla="*/ 192881 h 790575"/>
                  <a:gd name="connsiteX9" fmla="*/ 98780 w 1482287"/>
                  <a:gd name="connsiteY9" fmla="*/ 207169 h 790575"/>
                  <a:gd name="connsiteX10" fmla="*/ 103543 w 1482287"/>
                  <a:gd name="connsiteY10" fmla="*/ 216694 h 790575"/>
                  <a:gd name="connsiteX11" fmla="*/ 117830 w 1482287"/>
                  <a:gd name="connsiteY11" fmla="*/ 230981 h 790575"/>
                  <a:gd name="connsiteX12" fmla="*/ 120212 w 1482287"/>
                  <a:gd name="connsiteY12" fmla="*/ 238125 h 790575"/>
                  <a:gd name="connsiteX13" fmla="*/ 124974 w 1482287"/>
                  <a:gd name="connsiteY13" fmla="*/ 245269 h 790575"/>
                  <a:gd name="connsiteX14" fmla="*/ 129737 w 1482287"/>
                  <a:gd name="connsiteY14" fmla="*/ 259556 h 790575"/>
                  <a:gd name="connsiteX15" fmla="*/ 132118 w 1482287"/>
                  <a:gd name="connsiteY15" fmla="*/ 266700 h 790575"/>
                  <a:gd name="connsiteX16" fmla="*/ 129737 w 1482287"/>
                  <a:gd name="connsiteY16" fmla="*/ 359569 h 790575"/>
                  <a:gd name="connsiteX17" fmla="*/ 127355 w 1482287"/>
                  <a:gd name="connsiteY17" fmla="*/ 366713 h 790575"/>
                  <a:gd name="connsiteX18" fmla="*/ 113068 w 1482287"/>
                  <a:gd name="connsiteY18" fmla="*/ 378619 h 790575"/>
                  <a:gd name="connsiteX19" fmla="*/ 94018 w 1482287"/>
                  <a:gd name="connsiteY19" fmla="*/ 400050 h 790575"/>
                  <a:gd name="connsiteX20" fmla="*/ 86874 w 1482287"/>
                  <a:gd name="connsiteY20" fmla="*/ 407194 h 790575"/>
                  <a:gd name="connsiteX21" fmla="*/ 63062 w 1482287"/>
                  <a:gd name="connsiteY21" fmla="*/ 414338 h 790575"/>
                  <a:gd name="connsiteX22" fmla="*/ 46393 w 1482287"/>
                  <a:gd name="connsiteY22" fmla="*/ 419100 h 790575"/>
                  <a:gd name="connsiteX23" fmla="*/ 22580 w 1482287"/>
                  <a:gd name="connsiteY23" fmla="*/ 442913 h 790575"/>
                  <a:gd name="connsiteX24" fmla="*/ 17818 w 1482287"/>
                  <a:gd name="connsiteY24" fmla="*/ 450056 h 790575"/>
                  <a:gd name="connsiteX25" fmla="*/ 13055 w 1482287"/>
                  <a:gd name="connsiteY25" fmla="*/ 457200 h 790575"/>
                  <a:gd name="connsiteX26" fmla="*/ 10674 w 1482287"/>
                  <a:gd name="connsiteY26" fmla="*/ 466725 h 790575"/>
                  <a:gd name="connsiteX27" fmla="*/ 1149 w 1482287"/>
                  <a:gd name="connsiteY27" fmla="*/ 476250 h 790575"/>
                  <a:gd name="connsiteX28" fmla="*/ 3530 w 1482287"/>
                  <a:gd name="connsiteY28" fmla="*/ 485775 h 790575"/>
                  <a:gd name="connsiteX29" fmla="*/ 8293 w 1482287"/>
                  <a:gd name="connsiteY29" fmla="*/ 502444 h 790575"/>
                  <a:gd name="connsiteX30" fmla="*/ 10674 w 1482287"/>
                  <a:gd name="connsiteY30" fmla="*/ 571500 h 790575"/>
                  <a:gd name="connsiteX31" fmla="*/ 22580 w 1482287"/>
                  <a:gd name="connsiteY31" fmla="*/ 592931 h 790575"/>
                  <a:gd name="connsiteX32" fmla="*/ 32105 w 1482287"/>
                  <a:gd name="connsiteY32" fmla="*/ 600075 h 790575"/>
                  <a:gd name="connsiteX33" fmla="*/ 36868 w 1482287"/>
                  <a:gd name="connsiteY33" fmla="*/ 607219 h 790575"/>
                  <a:gd name="connsiteX34" fmla="*/ 60680 w 1482287"/>
                  <a:gd name="connsiteY34" fmla="*/ 621506 h 790575"/>
                  <a:gd name="connsiteX35" fmla="*/ 65443 w 1482287"/>
                  <a:gd name="connsiteY35" fmla="*/ 628650 h 790575"/>
                  <a:gd name="connsiteX36" fmla="*/ 86874 w 1482287"/>
                  <a:gd name="connsiteY36" fmla="*/ 638175 h 790575"/>
                  <a:gd name="connsiteX37" fmla="*/ 94018 w 1482287"/>
                  <a:gd name="connsiteY37" fmla="*/ 640556 h 790575"/>
                  <a:gd name="connsiteX38" fmla="*/ 101162 w 1482287"/>
                  <a:gd name="connsiteY38" fmla="*/ 647700 h 790575"/>
                  <a:gd name="connsiteX39" fmla="*/ 115449 w 1482287"/>
                  <a:gd name="connsiteY39" fmla="*/ 657225 h 790575"/>
                  <a:gd name="connsiteX40" fmla="*/ 129737 w 1482287"/>
                  <a:gd name="connsiteY40" fmla="*/ 669131 h 790575"/>
                  <a:gd name="connsiteX41" fmla="*/ 141643 w 1482287"/>
                  <a:gd name="connsiteY41" fmla="*/ 683419 h 790575"/>
                  <a:gd name="connsiteX42" fmla="*/ 144024 w 1482287"/>
                  <a:gd name="connsiteY42" fmla="*/ 690563 h 790575"/>
                  <a:gd name="connsiteX43" fmla="*/ 148787 w 1482287"/>
                  <a:gd name="connsiteY43" fmla="*/ 709613 h 790575"/>
                  <a:gd name="connsiteX44" fmla="*/ 153549 w 1482287"/>
                  <a:gd name="connsiteY44" fmla="*/ 716756 h 790575"/>
                  <a:gd name="connsiteX45" fmla="*/ 160693 w 1482287"/>
                  <a:gd name="connsiteY45" fmla="*/ 726281 h 790575"/>
                  <a:gd name="connsiteX46" fmla="*/ 174980 w 1482287"/>
                  <a:gd name="connsiteY46" fmla="*/ 733425 h 790575"/>
                  <a:gd name="connsiteX47" fmla="*/ 217843 w 1482287"/>
                  <a:gd name="connsiteY47" fmla="*/ 735806 h 790575"/>
                  <a:gd name="connsiteX48" fmla="*/ 267849 w 1482287"/>
                  <a:gd name="connsiteY48" fmla="*/ 735806 h 790575"/>
                  <a:gd name="connsiteX49" fmla="*/ 286899 w 1482287"/>
                  <a:gd name="connsiteY49" fmla="*/ 740569 h 790575"/>
                  <a:gd name="connsiteX50" fmla="*/ 301187 w 1482287"/>
                  <a:gd name="connsiteY50" fmla="*/ 752475 h 790575"/>
                  <a:gd name="connsiteX51" fmla="*/ 308330 w 1482287"/>
                  <a:gd name="connsiteY51" fmla="*/ 757238 h 790575"/>
                  <a:gd name="connsiteX52" fmla="*/ 322618 w 1482287"/>
                  <a:gd name="connsiteY52" fmla="*/ 785813 h 790575"/>
                  <a:gd name="connsiteX53" fmla="*/ 329762 w 1482287"/>
                  <a:gd name="connsiteY53" fmla="*/ 790575 h 790575"/>
                  <a:gd name="connsiteX54" fmla="*/ 334524 w 1482287"/>
                  <a:gd name="connsiteY54" fmla="*/ 783431 h 790575"/>
                  <a:gd name="connsiteX55" fmla="*/ 341668 w 1482287"/>
                  <a:gd name="connsiteY55" fmla="*/ 776288 h 790575"/>
                  <a:gd name="connsiteX56" fmla="*/ 348812 w 1482287"/>
                  <a:gd name="connsiteY56" fmla="*/ 752475 h 790575"/>
                  <a:gd name="connsiteX57" fmla="*/ 353574 w 1482287"/>
                  <a:gd name="connsiteY57" fmla="*/ 738188 h 790575"/>
                  <a:gd name="connsiteX58" fmla="*/ 365480 w 1482287"/>
                  <a:gd name="connsiteY58" fmla="*/ 723900 h 790575"/>
                  <a:gd name="connsiteX59" fmla="*/ 370243 w 1482287"/>
                  <a:gd name="connsiteY59" fmla="*/ 716756 h 790575"/>
                  <a:gd name="connsiteX60" fmla="*/ 384530 w 1482287"/>
                  <a:gd name="connsiteY60" fmla="*/ 709613 h 790575"/>
                  <a:gd name="connsiteX61" fmla="*/ 391674 w 1482287"/>
                  <a:gd name="connsiteY61" fmla="*/ 702469 h 790575"/>
                  <a:gd name="connsiteX62" fmla="*/ 398818 w 1482287"/>
                  <a:gd name="connsiteY62" fmla="*/ 697706 h 790575"/>
                  <a:gd name="connsiteX63" fmla="*/ 403580 w 1482287"/>
                  <a:gd name="connsiteY63" fmla="*/ 690563 h 790575"/>
                  <a:gd name="connsiteX64" fmla="*/ 413105 w 1482287"/>
                  <a:gd name="connsiteY64" fmla="*/ 683419 h 790575"/>
                  <a:gd name="connsiteX65" fmla="*/ 425012 w 1482287"/>
                  <a:gd name="connsiteY65" fmla="*/ 669131 h 790575"/>
                  <a:gd name="connsiteX66" fmla="*/ 436918 w 1482287"/>
                  <a:gd name="connsiteY66" fmla="*/ 659606 h 790575"/>
                  <a:gd name="connsiteX67" fmla="*/ 441680 w 1482287"/>
                  <a:gd name="connsiteY67" fmla="*/ 652463 h 790575"/>
                  <a:gd name="connsiteX68" fmla="*/ 448824 w 1482287"/>
                  <a:gd name="connsiteY68" fmla="*/ 645319 h 790575"/>
                  <a:gd name="connsiteX69" fmla="*/ 451205 w 1482287"/>
                  <a:gd name="connsiteY69" fmla="*/ 638175 h 790575"/>
                  <a:gd name="connsiteX70" fmla="*/ 448824 w 1482287"/>
                  <a:gd name="connsiteY70" fmla="*/ 607219 h 790575"/>
                  <a:gd name="connsiteX71" fmla="*/ 441680 w 1482287"/>
                  <a:gd name="connsiteY71" fmla="*/ 602456 h 790575"/>
                  <a:gd name="connsiteX72" fmla="*/ 422630 w 1482287"/>
                  <a:gd name="connsiteY72" fmla="*/ 585788 h 790575"/>
                  <a:gd name="connsiteX73" fmla="*/ 403580 w 1482287"/>
                  <a:gd name="connsiteY73" fmla="*/ 573881 h 790575"/>
                  <a:gd name="connsiteX74" fmla="*/ 389293 w 1482287"/>
                  <a:gd name="connsiteY74" fmla="*/ 564356 h 790575"/>
                  <a:gd name="connsiteX75" fmla="*/ 386912 w 1482287"/>
                  <a:gd name="connsiteY75" fmla="*/ 557213 h 790575"/>
                  <a:gd name="connsiteX76" fmla="*/ 401199 w 1482287"/>
                  <a:gd name="connsiteY76" fmla="*/ 533400 h 790575"/>
                  <a:gd name="connsiteX77" fmla="*/ 408343 w 1482287"/>
                  <a:gd name="connsiteY77" fmla="*/ 528638 h 790575"/>
                  <a:gd name="connsiteX78" fmla="*/ 413105 w 1482287"/>
                  <a:gd name="connsiteY78" fmla="*/ 514350 h 790575"/>
                  <a:gd name="connsiteX79" fmla="*/ 415487 w 1482287"/>
                  <a:gd name="connsiteY79" fmla="*/ 495300 h 790575"/>
                  <a:gd name="connsiteX80" fmla="*/ 417868 w 1482287"/>
                  <a:gd name="connsiteY80" fmla="*/ 483394 h 790575"/>
                  <a:gd name="connsiteX81" fmla="*/ 422630 w 1482287"/>
                  <a:gd name="connsiteY81" fmla="*/ 457200 h 790575"/>
                  <a:gd name="connsiteX82" fmla="*/ 425012 w 1482287"/>
                  <a:gd name="connsiteY82" fmla="*/ 450056 h 790575"/>
                  <a:gd name="connsiteX83" fmla="*/ 439299 w 1482287"/>
                  <a:gd name="connsiteY83" fmla="*/ 440531 h 790575"/>
                  <a:gd name="connsiteX84" fmla="*/ 475018 w 1482287"/>
                  <a:gd name="connsiteY84" fmla="*/ 442913 h 790575"/>
                  <a:gd name="connsiteX85" fmla="*/ 482162 w 1482287"/>
                  <a:gd name="connsiteY85" fmla="*/ 447675 h 790575"/>
                  <a:gd name="connsiteX86" fmla="*/ 484543 w 1482287"/>
                  <a:gd name="connsiteY86" fmla="*/ 476250 h 790575"/>
                  <a:gd name="connsiteX87" fmla="*/ 486924 w 1482287"/>
                  <a:gd name="connsiteY87" fmla="*/ 483394 h 790575"/>
                  <a:gd name="connsiteX88" fmla="*/ 501212 w 1482287"/>
                  <a:gd name="connsiteY88" fmla="*/ 488156 h 790575"/>
                  <a:gd name="connsiteX89" fmla="*/ 525024 w 1482287"/>
                  <a:gd name="connsiteY89" fmla="*/ 492919 h 790575"/>
                  <a:gd name="connsiteX90" fmla="*/ 563124 w 1482287"/>
                  <a:gd name="connsiteY90" fmla="*/ 500063 h 790575"/>
                  <a:gd name="connsiteX91" fmla="*/ 575030 w 1482287"/>
                  <a:gd name="connsiteY91" fmla="*/ 502444 h 790575"/>
                  <a:gd name="connsiteX92" fmla="*/ 620274 w 1482287"/>
                  <a:gd name="connsiteY92" fmla="*/ 504825 h 790575"/>
                  <a:gd name="connsiteX93" fmla="*/ 644087 w 1482287"/>
                  <a:gd name="connsiteY93" fmla="*/ 511969 h 790575"/>
                  <a:gd name="connsiteX94" fmla="*/ 663137 w 1482287"/>
                  <a:gd name="connsiteY94" fmla="*/ 516731 h 790575"/>
                  <a:gd name="connsiteX95" fmla="*/ 701237 w 1482287"/>
                  <a:gd name="connsiteY95" fmla="*/ 519113 h 790575"/>
                  <a:gd name="connsiteX96" fmla="*/ 727430 w 1482287"/>
                  <a:gd name="connsiteY96" fmla="*/ 519113 h 790575"/>
                  <a:gd name="connsiteX97" fmla="*/ 732193 w 1482287"/>
                  <a:gd name="connsiteY97" fmla="*/ 511969 h 790575"/>
                  <a:gd name="connsiteX98" fmla="*/ 739337 w 1482287"/>
                  <a:gd name="connsiteY98" fmla="*/ 507206 h 790575"/>
                  <a:gd name="connsiteX99" fmla="*/ 741718 w 1482287"/>
                  <a:gd name="connsiteY99" fmla="*/ 500063 h 790575"/>
                  <a:gd name="connsiteX100" fmla="*/ 748862 w 1482287"/>
                  <a:gd name="connsiteY100" fmla="*/ 485775 h 790575"/>
                  <a:gd name="connsiteX101" fmla="*/ 751243 w 1482287"/>
                  <a:gd name="connsiteY101" fmla="*/ 464344 h 790575"/>
                  <a:gd name="connsiteX102" fmla="*/ 758387 w 1482287"/>
                  <a:gd name="connsiteY102" fmla="*/ 450056 h 790575"/>
                  <a:gd name="connsiteX103" fmla="*/ 765530 w 1482287"/>
                  <a:gd name="connsiteY103" fmla="*/ 442913 h 790575"/>
                  <a:gd name="connsiteX104" fmla="*/ 770293 w 1482287"/>
                  <a:gd name="connsiteY104" fmla="*/ 435769 h 790575"/>
                  <a:gd name="connsiteX105" fmla="*/ 772674 w 1482287"/>
                  <a:gd name="connsiteY105" fmla="*/ 428625 h 790575"/>
                  <a:gd name="connsiteX106" fmla="*/ 779818 w 1482287"/>
                  <a:gd name="connsiteY106" fmla="*/ 409575 h 790575"/>
                  <a:gd name="connsiteX107" fmla="*/ 786962 w 1482287"/>
                  <a:gd name="connsiteY107" fmla="*/ 407194 h 790575"/>
                  <a:gd name="connsiteX108" fmla="*/ 803630 w 1482287"/>
                  <a:gd name="connsiteY108" fmla="*/ 397669 h 790575"/>
                  <a:gd name="connsiteX109" fmla="*/ 827443 w 1482287"/>
                  <a:gd name="connsiteY109" fmla="*/ 383381 h 790575"/>
                  <a:gd name="connsiteX110" fmla="*/ 856018 w 1482287"/>
                  <a:gd name="connsiteY110" fmla="*/ 376238 h 790575"/>
                  <a:gd name="connsiteX111" fmla="*/ 863162 w 1482287"/>
                  <a:gd name="connsiteY111" fmla="*/ 373856 h 790575"/>
                  <a:gd name="connsiteX112" fmla="*/ 867924 w 1482287"/>
                  <a:gd name="connsiteY112" fmla="*/ 359569 h 790575"/>
                  <a:gd name="connsiteX113" fmla="*/ 870305 w 1482287"/>
                  <a:gd name="connsiteY113" fmla="*/ 323850 h 790575"/>
                  <a:gd name="connsiteX114" fmla="*/ 884593 w 1482287"/>
                  <a:gd name="connsiteY114" fmla="*/ 295275 h 790575"/>
                  <a:gd name="connsiteX115" fmla="*/ 889355 w 1482287"/>
                  <a:gd name="connsiteY115" fmla="*/ 288131 h 790575"/>
                  <a:gd name="connsiteX116" fmla="*/ 896499 w 1482287"/>
                  <a:gd name="connsiteY116" fmla="*/ 280988 h 790575"/>
                  <a:gd name="connsiteX117" fmla="*/ 910787 w 1482287"/>
                  <a:gd name="connsiteY117" fmla="*/ 264319 h 790575"/>
                  <a:gd name="connsiteX118" fmla="*/ 925074 w 1482287"/>
                  <a:gd name="connsiteY118" fmla="*/ 254794 h 790575"/>
                  <a:gd name="connsiteX119" fmla="*/ 932218 w 1482287"/>
                  <a:gd name="connsiteY119" fmla="*/ 250031 h 790575"/>
                  <a:gd name="connsiteX120" fmla="*/ 936980 w 1482287"/>
                  <a:gd name="connsiteY120" fmla="*/ 242888 h 790575"/>
                  <a:gd name="connsiteX121" fmla="*/ 951268 w 1482287"/>
                  <a:gd name="connsiteY121" fmla="*/ 233363 h 790575"/>
                  <a:gd name="connsiteX122" fmla="*/ 1041755 w 1482287"/>
                  <a:gd name="connsiteY122" fmla="*/ 235744 h 790575"/>
                  <a:gd name="connsiteX123" fmla="*/ 1056043 w 1482287"/>
                  <a:gd name="connsiteY123" fmla="*/ 245269 h 790575"/>
                  <a:gd name="connsiteX124" fmla="*/ 1070330 w 1482287"/>
                  <a:gd name="connsiteY124" fmla="*/ 254794 h 790575"/>
                  <a:gd name="connsiteX125" fmla="*/ 1077474 w 1482287"/>
                  <a:gd name="connsiteY125" fmla="*/ 259556 h 790575"/>
                  <a:gd name="connsiteX126" fmla="*/ 1094143 w 1482287"/>
                  <a:gd name="connsiteY126" fmla="*/ 264319 h 790575"/>
                  <a:gd name="connsiteX127" fmla="*/ 1110812 w 1482287"/>
                  <a:gd name="connsiteY127" fmla="*/ 266700 h 790575"/>
                  <a:gd name="connsiteX128" fmla="*/ 1127480 w 1482287"/>
                  <a:gd name="connsiteY128" fmla="*/ 271463 h 790575"/>
                  <a:gd name="connsiteX129" fmla="*/ 1144149 w 1482287"/>
                  <a:gd name="connsiteY129" fmla="*/ 273844 h 790575"/>
                  <a:gd name="connsiteX130" fmla="*/ 1160818 w 1482287"/>
                  <a:gd name="connsiteY130" fmla="*/ 278606 h 790575"/>
                  <a:gd name="connsiteX131" fmla="*/ 1167962 w 1482287"/>
                  <a:gd name="connsiteY131" fmla="*/ 283369 h 790575"/>
                  <a:gd name="connsiteX132" fmla="*/ 1189393 w 1482287"/>
                  <a:gd name="connsiteY132" fmla="*/ 288131 h 790575"/>
                  <a:gd name="connsiteX133" fmla="*/ 1227493 w 1482287"/>
                  <a:gd name="connsiteY133" fmla="*/ 292894 h 790575"/>
                  <a:gd name="connsiteX134" fmla="*/ 1265593 w 1482287"/>
                  <a:gd name="connsiteY134" fmla="*/ 290513 h 790575"/>
                  <a:gd name="connsiteX135" fmla="*/ 1279880 w 1482287"/>
                  <a:gd name="connsiteY135" fmla="*/ 285750 h 790575"/>
                  <a:gd name="connsiteX136" fmla="*/ 1287024 w 1482287"/>
                  <a:gd name="connsiteY136" fmla="*/ 283369 h 790575"/>
                  <a:gd name="connsiteX137" fmla="*/ 1353699 w 1482287"/>
                  <a:gd name="connsiteY137" fmla="*/ 280988 h 790575"/>
                  <a:gd name="connsiteX138" fmla="*/ 1370368 w 1482287"/>
                  <a:gd name="connsiteY138" fmla="*/ 276225 h 790575"/>
                  <a:gd name="connsiteX139" fmla="*/ 1377512 w 1482287"/>
                  <a:gd name="connsiteY139" fmla="*/ 271463 h 790575"/>
                  <a:gd name="connsiteX140" fmla="*/ 1410849 w 1482287"/>
                  <a:gd name="connsiteY140" fmla="*/ 261938 h 790575"/>
                  <a:gd name="connsiteX141" fmla="*/ 1441805 w 1482287"/>
                  <a:gd name="connsiteY141" fmla="*/ 254794 h 790575"/>
                  <a:gd name="connsiteX142" fmla="*/ 1448949 w 1482287"/>
                  <a:gd name="connsiteY142" fmla="*/ 247650 h 790575"/>
                  <a:gd name="connsiteX143" fmla="*/ 1463237 w 1482287"/>
                  <a:gd name="connsiteY143" fmla="*/ 238125 h 790575"/>
                  <a:gd name="connsiteX144" fmla="*/ 1482287 w 1482287"/>
                  <a:gd name="connsiteY144" fmla="*/ 216694 h 790575"/>
                  <a:gd name="connsiteX145" fmla="*/ 1479905 w 1482287"/>
                  <a:gd name="connsiteY145" fmla="*/ 200025 h 790575"/>
                  <a:gd name="connsiteX146" fmla="*/ 1460855 w 1482287"/>
                  <a:gd name="connsiteY146" fmla="*/ 190500 h 790575"/>
                  <a:gd name="connsiteX147" fmla="*/ 1451330 w 1482287"/>
                  <a:gd name="connsiteY147" fmla="*/ 183356 h 790575"/>
                  <a:gd name="connsiteX148" fmla="*/ 1441805 w 1482287"/>
                  <a:gd name="connsiteY148" fmla="*/ 180975 h 790575"/>
                  <a:gd name="connsiteX149" fmla="*/ 1434662 w 1482287"/>
                  <a:gd name="connsiteY149" fmla="*/ 178594 h 790575"/>
                  <a:gd name="connsiteX150" fmla="*/ 1427518 w 1482287"/>
                  <a:gd name="connsiteY150" fmla="*/ 145256 h 790575"/>
                  <a:gd name="connsiteX151" fmla="*/ 1422755 w 1482287"/>
                  <a:gd name="connsiteY151" fmla="*/ 130969 h 790575"/>
                  <a:gd name="connsiteX152" fmla="*/ 1417993 w 1482287"/>
                  <a:gd name="connsiteY152" fmla="*/ 114300 h 790575"/>
                  <a:gd name="connsiteX153" fmla="*/ 1422755 w 1482287"/>
                  <a:gd name="connsiteY153" fmla="*/ 57150 h 790575"/>
                  <a:gd name="connsiteX154" fmla="*/ 1425137 w 1482287"/>
                  <a:gd name="connsiteY154" fmla="*/ 45244 h 790575"/>
                  <a:gd name="connsiteX155" fmla="*/ 1432280 w 1482287"/>
                  <a:gd name="connsiteY155" fmla="*/ 40481 h 790575"/>
                  <a:gd name="connsiteX156" fmla="*/ 1437043 w 1482287"/>
                  <a:gd name="connsiteY156" fmla="*/ 33338 h 790575"/>
                  <a:gd name="connsiteX157" fmla="*/ 1444187 w 1482287"/>
                  <a:gd name="connsiteY157" fmla="*/ 28575 h 790575"/>
                  <a:gd name="connsiteX158" fmla="*/ 1446568 w 1482287"/>
                  <a:gd name="connsiteY158" fmla="*/ 21431 h 790575"/>
                  <a:gd name="connsiteX159" fmla="*/ 1456093 w 1482287"/>
                  <a:gd name="connsiteY159" fmla="*/ 7144 h 790575"/>
                  <a:gd name="connsiteX160" fmla="*/ 1456093 w 1482287"/>
                  <a:gd name="connsiteY160" fmla="*/ 7144 h 790575"/>
                  <a:gd name="connsiteX161" fmla="*/ 1463237 w 1482287"/>
                  <a:gd name="connsiteY161" fmla="*/ 0 h 790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</a:cxnLst>
                <a:rect l="l" t="t" r="r" b="b"/>
                <a:pathLst>
                  <a:path w="1482287" h="790575">
                    <a:moveTo>
                      <a:pt x="65443" y="85725"/>
                    </a:moveTo>
                    <a:cubicBezTo>
                      <a:pt x="66237" y="94456"/>
                      <a:pt x="66584" y="103240"/>
                      <a:pt x="67824" y="111919"/>
                    </a:cubicBezTo>
                    <a:cubicBezTo>
                      <a:pt x="68179" y="114404"/>
                      <a:pt x="69515" y="116649"/>
                      <a:pt x="70205" y="119063"/>
                    </a:cubicBezTo>
                    <a:cubicBezTo>
                      <a:pt x="71104" y="122210"/>
                      <a:pt x="71647" y="125453"/>
                      <a:pt x="72587" y="128588"/>
                    </a:cubicBezTo>
                    <a:cubicBezTo>
                      <a:pt x="74030" y="133396"/>
                      <a:pt x="76365" y="137953"/>
                      <a:pt x="77349" y="142875"/>
                    </a:cubicBezTo>
                    <a:cubicBezTo>
                      <a:pt x="78143" y="146844"/>
                      <a:pt x="78665" y="150876"/>
                      <a:pt x="79730" y="154781"/>
                    </a:cubicBezTo>
                    <a:cubicBezTo>
                      <a:pt x="81711" y="162046"/>
                      <a:pt x="84493" y="169069"/>
                      <a:pt x="86874" y="176213"/>
                    </a:cubicBezTo>
                    <a:cubicBezTo>
                      <a:pt x="87668" y="178594"/>
                      <a:pt x="88646" y="180921"/>
                      <a:pt x="89255" y="183356"/>
                    </a:cubicBezTo>
                    <a:cubicBezTo>
                      <a:pt x="90049" y="186531"/>
                      <a:pt x="90738" y="189734"/>
                      <a:pt x="91637" y="192881"/>
                    </a:cubicBezTo>
                    <a:cubicBezTo>
                      <a:pt x="94756" y="203796"/>
                      <a:pt x="92816" y="196732"/>
                      <a:pt x="98780" y="207169"/>
                    </a:cubicBezTo>
                    <a:cubicBezTo>
                      <a:pt x="100541" y="210251"/>
                      <a:pt x="101325" y="213922"/>
                      <a:pt x="103543" y="216694"/>
                    </a:cubicBezTo>
                    <a:cubicBezTo>
                      <a:pt x="107750" y="221953"/>
                      <a:pt x="117830" y="230981"/>
                      <a:pt x="117830" y="230981"/>
                    </a:cubicBezTo>
                    <a:cubicBezTo>
                      <a:pt x="118624" y="233362"/>
                      <a:pt x="119089" y="235880"/>
                      <a:pt x="120212" y="238125"/>
                    </a:cubicBezTo>
                    <a:cubicBezTo>
                      <a:pt x="121492" y="240685"/>
                      <a:pt x="123812" y="242654"/>
                      <a:pt x="124974" y="245269"/>
                    </a:cubicBezTo>
                    <a:cubicBezTo>
                      <a:pt x="127013" y="249856"/>
                      <a:pt x="128149" y="254794"/>
                      <a:pt x="129737" y="259556"/>
                    </a:cubicBezTo>
                    <a:lnTo>
                      <a:pt x="132118" y="266700"/>
                    </a:lnTo>
                    <a:cubicBezTo>
                      <a:pt x="131324" y="297656"/>
                      <a:pt x="131210" y="328638"/>
                      <a:pt x="129737" y="359569"/>
                    </a:cubicBezTo>
                    <a:cubicBezTo>
                      <a:pt x="129618" y="362076"/>
                      <a:pt x="128747" y="364624"/>
                      <a:pt x="127355" y="366713"/>
                    </a:cubicBezTo>
                    <a:cubicBezTo>
                      <a:pt x="123688" y="372213"/>
                      <a:pt x="118339" y="375105"/>
                      <a:pt x="113068" y="378619"/>
                    </a:cubicBezTo>
                    <a:cubicBezTo>
                      <a:pt x="104569" y="391367"/>
                      <a:pt x="110329" y="383739"/>
                      <a:pt x="94018" y="400050"/>
                    </a:cubicBezTo>
                    <a:cubicBezTo>
                      <a:pt x="91637" y="402431"/>
                      <a:pt x="90069" y="406129"/>
                      <a:pt x="86874" y="407194"/>
                    </a:cubicBezTo>
                    <a:cubicBezTo>
                      <a:pt x="52930" y="418508"/>
                      <a:pt x="88248" y="407141"/>
                      <a:pt x="63062" y="414338"/>
                    </a:cubicBezTo>
                    <a:cubicBezTo>
                      <a:pt x="39189" y="421160"/>
                      <a:pt x="76117" y="411670"/>
                      <a:pt x="46393" y="419100"/>
                    </a:cubicBezTo>
                    <a:cubicBezTo>
                      <a:pt x="27342" y="431800"/>
                      <a:pt x="35280" y="423862"/>
                      <a:pt x="22580" y="442913"/>
                    </a:cubicBezTo>
                    <a:lnTo>
                      <a:pt x="17818" y="450056"/>
                    </a:lnTo>
                    <a:lnTo>
                      <a:pt x="13055" y="457200"/>
                    </a:lnTo>
                    <a:cubicBezTo>
                      <a:pt x="12261" y="460375"/>
                      <a:pt x="12408" y="463950"/>
                      <a:pt x="10674" y="466725"/>
                    </a:cubicBezTo>
                    <a:cubicBezTo>
                      <a:pt x="8294" y="470533"/>
                      <a:pt x="2726" y="472046"/>
                      <a:pt x="1149" y="476250"/>
                    </a:cubicBezTo>
                    <a:cubicBezTo>
                      <a:pt x="0" y="479314"/>
                      <a:pt x="2631" y="482628"/>
                      <a:pt x="3530" y="485775"/>
                    </a:cubicBezTo>
                    <a:cubicBezTo>
                      <a:pt x="10363" y="509688"/>
                      <a:pt x="850" y="472669"/>
                      <a:pt x="8293" y="502444"/>
                    </a:cubicBezTo>
                    <a:cubicBezTo>
                      <a:pt x="9087" y="525463"/>
                      <a:pt x="8707" y="548552"/>
                      <a:pt x="10674" y="571500"/>
                    </a:cubicBezTo>
                    <a:cubicBezTo>
                      <a:pt x="11619" y="582519"/>
                      <a:pt x="15162" y="586573"/>
                      <a:pt x="22580" y="592931"/>
                    </a:cubicBezTo>
                    <a:cubicBezTo>
                      <a:pt x="25593" y="595514"/>
                      <a:pt x="29299" y="597269"/>
                      <a:pt x="32105" y="600075"/>
                    </a:cubicBezTo>
                    <a:cubicBezTo>
                      <a:pt x="34129" y="602099"/>
                      <a:pt x="34714" y="605334"/>
                      <a:pt x="36868" y="607219"/>
                    </a:cubicBezTo>
                    <a:cubicBezTo>
                      <a:pt x="44533" y="613926"/>
                      <a:pt x="51974" y="617154"/>
                      <a:pt x="60680" y="621506"/>
                    </a:cubicBezTo>
                    <a:cubicBezTo>
                      <a:pt x="62268" y="623887"/>
                      <a:pt x="63419" y="626626"/>
                      <a:pt x="65443" y="628650"/>
                    </a:cubicBezTo>
                    <a:cubicBezTo>
                      <a:pt x="71104" y="634311"/>
                      <a:pt x="79798" y="635817"/>
                      <a:pt x="86874" y="638175"/>
                    </a:cubicBezTo>
                    <a:lnTo>
                      <a:pt x="94018" y="640556"/>
                    </a:lnTo>
                    <a:cubicBezTo>
                      <a:pt x="96399" y="642937"/>
                      <a:pt x="98504" y="645632"/>
                      <a:pt x="101162" y="647700"/>
                    </a:cubicBezTo>
                    <a:cubicBezTo>
                      <a:pt x="105680" y="651214"/>
                      <a:pt x="111402" y="653178"/>
                      <a:pt x="115449" y="657225"/>
                    </a:cubicBezTo>
                    <a:cubicBezTo>
                      <a:pt x="136329" y="678105"/>
                      <a:pt x="109838" y="652548"/>
                      <a:pt x="129737" y="669131"/>
                    </a:cubicBezTo>
                    <a:cubicBezTo>
                      <a:pt x="136610" y="674858"/>
                      <a:pt x="136962" y="676397"/>
                      <a:pt x="141643" y="683419"/>
                    </a:cubicBezTo>
                    <a:cubicBezTo>
                      <a:pt x="142437" y="685800"/>
                      <a:pt x="143415" y="688128"/>
                      <a:pt x="144024" y="690563"/>
                    </a:cubicBezTo>
                    <a:cubicBezTo>
                      <a:pt x="145384" y="696004"/>
                      <a:pt x="146063" y="704166"/>
                      <a:pt x="148787" y="709613"/>
                    </a:cubicBezTo>
                    <a:cubicBezTo>
                      <a:pt x="150067" y="712172"/>
                      <a:pt x="151886" y="714427"/>
                      <a:pt x="153549" y="716756"/>
                    </a:cubicBezTo>
                    <a:cubicBezTo>
                      <a:pt x="155856" y="719986"/>
                      <a:pt x="157887" y="723475"/>
                      <a:pt x="160693" y="726281"/>
                    </a:cubicBezTo>
                    <a:cubicBezTo>
                      <a:pt x="163566" y="729154"/>
                      <a:pt x="170698" y="733017"/>
                      <a:pt x="174980" y="733425"/>
                    </a:cubicBezTo>
                    <a:cubicBezTo>
                      <a:pt x="189225" y="734782"/>
                      <a:pt x="203555" y="735012"/>
                      <a:pt x="217843" y="735806"/>
                    </a:cubicBezTo>
                    <a:cubicBezTo>
                      <a:pt x="249247" y="733391"/>
                      <a:pt x="242198" y="731859"/>
                      <a:pt x="267849" y="735806"/>
                    </a:cubicBezTo>
                    <a:cubicBezTo>
                      <a:pt x="271770" y="736409"/>
                      <a:pt x="282394" y="738317"/>
                      <a:pt x="286899" y="740569"/>
                    </a:cubicBezTo>
                    <a:cubicBezTo>
                      <a:pt x="295767" y="745002"/>
                      <a:pt x="293288" y="745892"/>
                      <a:pt x="301187" y="752475"/>
                    </a:cubicBezTo>
                    <a:cubicBezTo>
                      <a:pt x="303385" y="754307"/>
                      <a:pt x="305949" y="755650"/>
                      <a:pt x="308330" y="757238"/>
                    </a:cubicBezTo>
                    <a:cubicBezTo>
                      <a:pt x="311046" y="765386"/>
                      <a:pt x="314706" y="780539"/>
                      <a:pt x="322618" y="785813"/>
                    </a:cubicBezTo>
                    <a:lnTo>
                      <a:pt x="329762" y="790575"/>
                    </a:lnTo>
                    <a:cubicBezTo>
                      <a:pt x="331349" y="788194"/>
                      <a:pt x="332692" y="785630"/>
                      <a:pt x="334524" y="783431"/>
                    </a:cubicBezTo>
                    <a:cubicBezTo>
                      <a:pt x="336680" y="780844"/>
                      <a:pt x="340033" y="779232"/>
                      <a:pt x="341668" y="776288"/>
                    </a:cubicBezTo>
                    <a:cubicBezTo>
                      <a:pt x="345323" y="769708"/>
                      <a:pt x="346608" y="759821"/>
                      <a:pt x="348812" y="752475"/>
                    </a:cubicBezTo>
                    <a:cubicBezTo>
                      <a:pt x="350255" y="747667"/>
                      <a:pt x="350789" y="742365"/>
                      <a:pt x="353574" y="738188"/>
                    </a:cubicBezTo>
                    <a:cubicBezTo>
                      <a:pt x="365400" y="720450"/>
                      <a:pt x="350201" y="742236"/>
                      <a:pt x="365480" y="723900"/>
                    </a:cubicBezTo>
                    <a:cubicBezTo>
                      <a:pt x="367312" y="721701"/>
                      <a:pt x="368219" y="718780"/>
                      <a:pt x="370243" y="716756"/>
                    </a:cubicBezTo>
                    <a:cubicBezTo>
                      <a:pt x="374858" y="712141"/>
                      <a:pt x="378721" y="711549"/>
                      <a:pt x="384530" y="709613"/>
                    </a:cubicBezTo>
                    <a:cubicBezTo>
                      <a:pt x="386911" y="707232"/>
                      <a:pt x="389087" y="704625"/>
                      <a:pt x="391674" y="702469"/>
                    </a:cubicBezTo>
                    <a:cubicBezTo>
                      <a:pt x="393873" y="700637"/>
                      <a:pt x="396794" y="699730"/>
                      <a:pt x="398818" y="697706"/>
                    </a:cubicBezTo>
                    <a:cubicBezTo>
                      <a:pt x="400841" y="695683"/>
                      <a:pt x="401557" y="692586"/>
                      <a:pt x="403580" y="690563"/>
                    </a:cubicBezTo>
                    <a:cubicBezTo>
                      <a:pt x="406386" y="687757"/>
                      <a:pt x="409930" y="685800"/>
                      <a:pt x="413105" y="683419"/>
                    </a:cubicBezTo>
                    <a:cubicBezTo>
                      <a:pt x="423323" y="662985"/>
                      <a:pt x="411548" y="682595"/>
                      <a:pt x="425012" y="669131"/>
                    </a:cubicBezTo>
                    <a:cubicBezTo>
                      <a:pt x="435783" y="658360"/>
                      <a:pt x="423010" y="664243"/>
                      <a:pt x="436918" y="659606"/>
                    </a:cubicBezTo>
                    <a:cubicBezTo>
                      <a:pt x="438505" y="657225"/>
                      <a:pt x="439848" y="654661"/>
                      <a:pt x="441680" y="652463"/>
                    </a:cubicBezTo>
                    <a:cubicBezTo>
                      <a:pt x="443836" y="649876"/>
                      <a:pt x="446956" y="648121"/>
                      <a:pt x="448824" y="645319"/>
                    </a:cubicBezTo>
                    <a:cubicBezTo>
                      <a:pt x="450216" y="643230"/>
                      <a:pt x="450411" y="640556"/>
                      <a:pt x="451205" y="638175"/>
                    </a:cubicBezTo>
                    <a:cubicBezTo>
                      <a:pt x="450411" y="627856"/>
                      <a:pt x="451491" y="617219"/>
                      <a:pt x="448824" y="607219"/>
                    </a:cubicBezTo>
                    <a:cubicBezTo>
                      <a:pt x="448087" y="604454"/>
                      <a:pt x="443704" y="604480"/>
                      <a:pt x="441680" y="602456"/>
                    </a:cubicBezTo>
                    <a:cubicBezTo>
                      <a:pt x="428582" y="589358"/>
                      <a:pt x="449623" y="599286"/>
                      <a:pt x="422630" y="585788"/>
                    </a:cubicBezTo>
                    <a:cubicBezTo>
                      <a:pt x="406790" y="577867"/>
                      <a:pt x="419037" y="584701"/>
                      <a:pt x="403580" y="573881"/>
                    </a:cubicBezTo>
                    <a:cubicBezTo>
                      <a:pt x="398891" y="570599"/>
                      <a:pt x="389293" y="564356"/>
                      <a:pt x="389293" y="564356"/>
                    </a:cubicBezTo>
                    <a:cubicBezTo>
                      <a:pt x="388499" y="561975"/>
                      <a:pt x="386912" y="559723"/>
                      <a:pt x="386912" y="557213"/>
                    </a:cubicBezTo>
                    <a:cubicBezTo>
                      <a:pt x="386912" y="547705"/>
                      <a:pt x="394401" y="539065"/>
                      <a:pt x="401199" y="533400"/>
                    </a:cubicBezTo>
                    <a:cubicBezTo>
                      <a:pt x="403398" y="531568"/>
                      <a:pt x="405962" y="530225"/>
                      <a:pt x="408343" y="528638"/>
                    </a:cubicBezTo>
                    <a:cubicBezTo>
                      <a:pt x="409930" y="523875"/>
                      <a:pt x="412482" y="519331"/>
                      <a:pt x="413105" y="514350"/>
                    </a:cubicBezTo>
                    <a:cubicBezTo>
                      <a:pt x="413899" y="508000"/>
                      <a:pt x="414514" y="501625"/>
                      <a:pt x="415487" y="495300"/>
                    </a:cubicBezTo>
                    <a:cubicBezTo>
                      <a:pt x="416102" y="491300"/>
                      <a:pt x="417122" y="487372"/>
                      <a:pt x="417868" y="483394"/>
                    </a:cubicBezTo>
                    <a:cubicBezTo>
                      <a:pt x="419503" y="474672"/>
                      <a:pt x="420771" y="465877"/>
                      <a:pt x="422630" y="457200"/>
                    </a:cubicBezTo>
                    <a:cubicBezTo>
                      <a:pt x="423156" y="454746"/>
                      <a:pt x="423237" y="451831"/>
                      <a:pt x="425012" y="450056"/>
                    </a:cubicBezTo>
                    <a:cubicBezTo>
                      <a:pt x="429059" y="446009"/>
                      <a:pt x="439299" y="440531"/>
                      <a:pt x="439299" y="440531"/>
                    </a:cubicBezTo>
                    <a:cubicBezTo>
                      <a:pt x="451205" y="441325"/>
                      <a:pt x="463248" y="440951"/>
                      <a:pt x="475018" y="442913"/>
                    </a:cubicBezTo>
                    <a:cubicBezTo>
                      <a:pt x="477841" y="443384"/>
                      <a:pt x="481376" y="444923"/>
                      <a:pt x="482162" y="447675"/>
                    </a:cubicBezTo>
                    <a:cubicBezTo>
                      <a:pt x="484788" y="456865"/>
                      <a:pt x="483280" y="466776"/>
                      <a:pt x="484543" y="476250"/>
                    </a:cubicBezTo>
                    <a:cubicBezTo>
                      <a:pt x="484875" y="478738"/>
                      <a:pt x="484881" y="481935"/>
                      <a:pt x="486924" y="483394"/>
                    </a:cubicBezTo>
                    <a:cubicBezTo>
                      <a:pt x="491009" y="486312"/>
                      <a:pt x="496449" y="486568"/>
                      <a:pt x="501212" y="488156"/>
                    </a:cubicBezTo>
                    <a:cubicBezTo>
                      <a:pt x="513688" y="492315"/>
                      <a:pt x="505852" y="490180"/>
                      <a:pt x="525024" y="492919"/>
                    </a:cubicBezTo>
                    <a:cubicBezTo>
                      <a:pt x="549901" y="501210"/>
                      <a:pt x="529516" y="495581"/>
                      <a:pt x="563124" y="500063"/>
                    </a:cubicBezTo>
                    <a:cubicBezTo>
                      <a:pt x="567136" y="500598"/>
                      <a:pt x="570997" y="502108"/>
                      <a:pt x="575030" y="502444"/>
                    </a:cubicBezTo>
                    <a:cubicBezTo>
                      <a:pt x="590080" y="503698"/>
                      <a:pt x="605193" y="504031"/>
                      <a:pt x="620274" y="504825"/>
                    </a:cubicBezTo>
                    <a:cubicBezTo>
                      <a:pt x="634671" y="508424"/>
                      <a:pt x="626693" y="506171"/>
                      <a:pt x="644087" y="511969"/>
                    </a:cubicBezTo>
                    <a:cubicBezTo>
                      <a:pt x="651151" y="514324"/>
                      <a:pt x="655089" y="515964"/>
                      <a:pt x="663137" y="516731"/>
                    </a:cubicBezTo>
                    <a:cubicBezTo>
                      <a:pt x="675804" y="517938"/>
                      <a:pt x="688537" y="518319"/>
                      <a:pt x="701237" y="519113"/>
                    </a:cubicBezTo>
                    <a:cubicBezTo>
                      <a:pt x="707931" y="520069"/>
                      <a:pt x="720166" y="523956"/>
                      <a:pt x="727430" y="519113"/>
                    </a:cubicBezTo>
                    <a:cubicBezTo>
                      <a:pt x="729811" y="517525"/>
                      <a:pt x="730169" y="513993"/>
                      <a:pt x="732193" y="511969"/>
                    </a:cubicBezTo>
                    <a:cubicBezTo>
                      <a:pt x="734217" y="509945"/>
                      <a:pt x="736956" y="508794"/>
                      <a:pt x="739337" y="507206"/>
                    </a:cubicBezTo>
                    <a:cubicBezTo>
                      <a:pt x="740131" y="504825"/>
                      <a:pt x="740596" y="502308"/>
                      <a:pt x="741718" y="500063"/>
                    </a:cubicBezTo>
                    <a:cubicBezTo>
                      <a:pt x="750952" y="481594"/>
                      <a:pt x="742873" y="503736"/>
                      <a:pt x="748862" y="485775"/>
                    </a:cubicBezTo>
                    <a:cubicBezTo>
                      <a:pt x="749656" y="478631"/>
                      <a:pt x="750061" y="471434"/>
                      <a:pt x="751243" y="464344"/>
                    </a:cubicBezTo>
                    <a:cubicBezTo>
                      <a:pt x="752138" y="458973"/>
                      <a:pt x="754958" y="454171"/>
                      <a:pt x="758387" y="450056"/>
                    </a:cubicBezTo>
                    <a:cubicBezTo>
                      <a:pt x="760543" y="447469"/>
                      <a:pt x="763374" y="445500"/>
                      <a:pt x="765530" y="442913"/>
                    </a:cubicBezTo>
                    <a:cubicBezTo>
                      <a:pt x="767362" y="440714"/>
                      <a:pt x="768705" y="438150"/>
                      <a:pt x="770293" y="435769"/>
                    </a:cubicBezTo>
                    <a:cubicBezTo>
                      <a:pt x="771087" y="433388"/>
                      <a:pt x="772065" y="431060"/>
                      <a:pt x="772674" y="428625"/>
                    </a:cubicBezTo>
                    <a:cubicBezTo>
                      <a:pt x="774368" y="421847"/>
                      <a:pt x="773692" y="414475"/>
                      <a:pt x="779818" y="409575"/>
                    </a:cubicBezTo>
                    <a:cubicBezTo>
                      <a:pt x="781778" y="408007"/>
                      <a:pt x="784581" y="407988"/>
                      <a:pt x="786962" y="407194"/>
                    </a:cubicBezTo>
                    <a:cubicBezTo>
                      <a:pt x="811637" y="390740"/>
                      <a:pt x="773462" y="415769"/>
                      <a:pt x="803630" y="397669"/>
                    </a:cubicBezTo>
                    <a:cubicBezTo>
                      <a:pt x="814806" y="390964"/>
                      <a:pt x="816560" y="387734"/>
                      <a:pt x="827443" y="383381"/>
                    </a:cubicBezTo>
                    <a:cubicBezTo>
                      <a:pt x="840918" y="377991"/>
                      <a:pt x="841965" y="378580"/>
                      <a:pt x="856018" y="376238"/>
                    </a:cubicBezTo>
                    <a:cubicBezTo>
                      <a:pt x="858399" y="375444"/>
                      <a:pt x="861703" y="375899"/>
                      <a:pt x="863162" y="373856"/>
                    </a:cubicBezTo>
                    <a:cubicBezTo>
                      <a:pt x="866080" y="369771"/>
                      <a:pt x="867924" y="359569"/>
                      <a:pt x="867924" y="359569"/>
                    </a:cubicBezTo>
                    <a:cubicBezTo>
                      <a:pt x="868718" y="347663"/>
                      <a:pt x="868617" y="335663"/>
                      <a:pt x="870305" y="323850"/>
                    </a:cubicBezTo>
                    <a:cubicBezTo>
                      <a:pt x="872097" y="311304"/>
                      <a:pt x="877735" y="305563"/>
                      <a:pt x="884593" y="295275"/>
                    </a:cubicBezTo>
                    <a:cubicBezTo>
                      <a:pt x="886180" y="292894"/>
                      <a:pt x="887331" y="290155"/>
                      <a:pt x="889355" y="288131"/>
                    </a:cubicBezTo>
                    <a:cubicBezTo>
                      <a:pt x="891736" y="285750"/>
                      <a:pt x="894307" y="283545"/>
                      <a:pt x="896499" y="280988"/>
                    </a:cubicBezTo>
                    <a:cubicBezTo>
                      <a:pt x="902892" y="273531"/>
                      <a:pt x="903189" y="270229"/>
                      <a:pt x="910787" y="264319"/>
                    </a:cubicBezTo>
                    <a:cubicBezTo>
                      <a:pt x="915305" y="260805"/>
                      <a:pt x="920312" y="257969"/>
                      <a:pt x="925074" y="254794"/>
                    </a:cubicBezTo>
                    <a:lnTo>
                      <a:pt x="932218" y="250031"/>
                    </a:lnTo>
                    <a:cubicBezTo>
                      <a:pt x="933805" y="247650"/>
                      <a:pt x="934826" y="244772"/>
                      <a:pt x="936980" y="242888"/>
                    </a:cubicBezTo>
                    <a:cubicBezTo>
                      <a:pt x="941288" y="239119"/>
                      <a:pt x="951268" y="233363"/>
                      <a:pt x="951268" y="233363"/>
                    </a:cubicBezTo>
                    <a:lnTo>
                      <a:pt x="1041755" y="235744"/>
                    </a:lnTo>
                    <a:cubicBezTo>
                      <a:pt x="1047442" y="236390"/>
                      <a:pt x="1051280" y="242094"/>
                      <a:pt x="1056043" y="245269"/>
                    </a:cubicBezTo>
                    <a:lnTo>
                      <a:pt x="1070330" y="254794"/>
                    </a:lnTo>
                    <a:cubicBezTo>
                      <a:pt x="1072711" y="256382"/>
                      <a:pt x="1074759" y="258651"/>
                      <a:pt x="1077474" y="259556"/>
                    </a:cubicBezTo>
                    <a:cubicBezTo>
                      <a:pt x="1083598" y="261598"/>
                      <a:pt x="1087560" y="263122"/>
                      <a:pt x="1094143" y="264319"/>
                    </a:cubicBezTo>
                    <a:cubicBezTo>
                      <a:pt x="1099665" y="265323"/>
                      <a:pt x="1105256" y="265906"/>
                      <a:pt x="1110812" y="266700"/>
                    </a:cubicBezTo>
                    <a:cubicBezTo>
                      <a:pt x="1116928" y="268739"/>
                      <a:pt x="1120908" y="270268"/>
                      <a:pt x="1127480" y="271463"/>
                    </a:cubicBezTo>
                    <a:cubicBezTo>
                      <a:pt x="1133002" y="272467"/>
                      <a:pt x="1138627" y="272840"/>
                      <a:pt x="1144149" y="273844"/>
                    </a:cubicBezTo>
                    <a:cubicBezTo>
                      <a:pt x="1150727" y="275040"/>
                      <a:pt x="1154698" y="276566"/>
                      <a:pt x="1160818" y="278606"/>
                    </a:cubicBezTo>
                    <a:cubicBezTo>
                      <a:pt x="1163199" y="280194"/>
                      <a:pt x="1165402" y="282089"/>
                      <a:pt x="1167962" y="283369"/>
                    </a:cubicBezTo>
                    <a:cubicBezTo>
                      <a:pt x="1173507" y="286142"/>
                      <a:pt x="1184516" y="287521"/>
                      <a:pt x="1189393" y="288131"/>
                    </a:cubicBezTo>
                    <a:lnTo>
                      <a:pt x="1227493" y="292894"/>
                    </a:lnTo>
                    <a:cubicBezTo>
                      <a:pt x="1240193" y="292100"/>
                      <a:pt x="1252985" y="292232"/>
                      <a:pt x="1265593" y="290513"/>
                    </a:cubicBezTo>
                    <a:cubicBezTo>
                      <a:pt x="1270567" y="289835"/>
                      <a:pt x="1275118" y="287338"/>
                      <a:pt x="1279880" y="285750"/>
                    </a:cubicBezTo>
                    <a:cubicBezTo>
                      <a:pt x="1282261" y="284956"/>
                      <a:pt x="1284515" y="283459"/>
                      <a:pt x="1287024" y="283369"/>
                    </a:cubicBezTo>
                    <a:lnTo>
                      <a:pt x="1353699" y="280988"/>
                    </a:lnTo>
                    <a:cubicBezTo>
                      <a:pt x="1356746" y="280226"/>
                      <a:pt x="1366955" y="277931"/>
                      <a:pt x="1370368" y="276225"/>
                    </a:cubicBezTo>
                    <a:cubicBezTo>
                      <a:pt x="1372928" y="274945"/>
                      <a:pt x="1374897" y="272625"/>
                      <a:pt x="1377512" y="271463"/>
                    </a:cubicBezTo>
                    <a:cubicBezTo>
                      <a:pt x="1391286" y="265341"/>
                      <a:pt x="1395694" y="266990"/>
                      <a:pt x="1410849" y="261938"/>
                    </a:cubicBezTo>
                    <a:cubicBezTo>
                      <a:pt x="1430461" y="255400"/>
                      <a:pt x="1420167" y="257885"/>
                      <a:pt x="1441805" y="254794"/>
                    </a:cubicBezTo>
                    <a:cubicBezTo>
                      <a:pt x="1444186" y="252413"/>
                      <a:pt x="1446291" y="249718"/>
                      <a:pt x="1448949" y="247650"/>
                    </a:cubicBezTo>
                    <a:cubicBezTo>
                      <a:pt x="1453467" y="244136"/>
                      <a:pt x="1459190" y="242172"/>
                      <a:pt x="1463237" y="238125"/>
                    </a:cubicBezTo>
                    <a:cubicBezTo>
                      <a:pt x="1479548" y="221814"/>
                      <a:pt x="1473788" y="229442"/>
                      <a:pt x="1482287" y="216694"/>
                    </a:cubicBezTo>
                    <a:cubicBezTo>
                      <a:pt x="1481493" y="211138"/>
                      <a:pt x="1482185" y="205154"/>
                      <a:pt x="1479905" y="200025"/>
                    </a:cubicBezTo>
                    <a:cubicBezTo>
                      <a:pt x="1478308" y="196433"/>
                      <a:pt x="1461820" y="191036"/>
                      <a:pt x="1460855" y="190500"/>
                    </a:cubicBezTo>
                    <a:cubicBezTo>
                      <a:pt x="1457386" y="188573"/>
                      <a:pt x="1454880" y="185131"/>
                      <a:pt x="1451330" y="183356"/>
                    </a:cubicBezTo>
                    <a:cubicBezTo>
                      <a:pt x="1448403" y="181892"/>
                      <a:pt x="1444952" y="181874"/>
                      <a:pt x="1441805" y="180975"/>
                    </a:cubicBezTo>
                    <a:cubicBezTo>
                      <a:pt x="1439392" y="180286"/>
                      <a:pt x="1437043" y="179388"/>
                      <a:pt x="1434662" y="178594"/>
                    </a:cubicBezTo>
                    <a:cubicBezTo>
                      <a:pt x="1423161" y="144093"/>
                      <a:pt x="1436531" y="187314"/>
                      <a:pt x="1427518" y="145256"/>
                    </a:cubicBezTo>
                    <a:cubicBezTo>
                      <a:pt x="1426466" y="140347"/>
                      <a:pt x="1424343" y="135731"/>
                      <a:pt x="1422755" y="130969"/>
                    </a:cubicBezTo>
                    <a:cubicBezTo>
                      <a:pt x="1419341" y="120728"/>
                      <a:pt x="1420980" y="126250"/>
                      <a:pt x="1417993" y="114300"/>
                    </a:cubicBezTo>
                    <a:cubicBezTo>
                      <a:pt x="1421512" y="43906"/>
                      <a:pt x="1416319" y="86111"/>
                      <a:pt x="1422755" y="57150"/>
                    </a:cubicBezTo>
                    <a:cubicBezTo>
                      <a:pt x="1423633" y="53199"/>
                      <a:pt x="1423129" y="48758"/>
                      <a:pt x="1425137" y="45244"/>
                    </a:cubicBezTo>
                    <a:cubicBezTo>
                      <a:pt x="1426557" y="42759"/>
                      <a:pt x="1429899" y="42069"/>
                      <a:pt x="1432280" y="40481"/>
                    </a:cubicBezTo>
                    <a:cubicBezTo>
                      <a:pt x="1433868" y="38100"/>
                      <a:pt x="1435019" y="35362"/>
                      <a:pt x="1437043" y="33338"/>
                    </a:cubicBezTo>
                    <a:cubicBezTo>
                      <a:pt x="1439067" y="31314"/>
                      <a:pt x="1442399" y="30810"/>
                      <a:pt x="1444187" y="28575"/>
                    </a:cubicBezTo>
                    <a:cubicBezTo>
                      <a:pt x="1445755" y="26615"/>
                      <a:pt x="1445349" y="23625"/>
                      <a:pt x="1446568" y="21431"/>
                    </a:cubicBezTo>
                    <a:cubicBezTo>
                      <a:pt x="1449348" y="16428"/>
                      <a:pt x="1452918" y="11906"/>
                      <a:pt x="1456093" y="7144"/>
                    </a:cubicBezTo>
                    <a:lnTo>
                      <a:pt x="1456093" y="7144"/>
                    </a:lnTo>
                    <a:lnTo>
                      <a:pt x="1463237" y="0"/>
                    </a:lnTo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sz="1799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16" name="Freeform 280">
              <a:extLst>
                <a:ext uri="{FF2B5EF4-FFF2-40B4-BE49-F238E27FC236}">
                  <a16:creationId xmlns:a16="http://schemas.microsoft.com/office/drawing/2014/main" xmlns="" id="{6AE9C8AD-ED2A-224F-9F8D-997A3EC5C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338" y="4727391"/>
              <a:ext cx="371475" cy="461962"/>
            </a:xfrm>
            <a:custGeom>
              <a:avLst/>
              <a:gdLst>
                <a:gd name="T0" fmla="*/ 2147483647 w 241"/>
                <a:gd name="T1" fmla="*/ 2147483647 h 309"/>
                <a:gd name="T2" fmla="*/ 2147483647 w 241"/>
                <a:gd name="T3" fmla="*/ 2147483647 h 309"/>
                <a:gd name="T4" fmla="*/ 2147483647 w 241"/>
                <a:gd name="T5" fmla="*/ 2147483647 h 309"/>
                <a:gd name="T6" fmla="*/ 2147483647 w 241"/>
                <a:gd name="T7" fmla="*/ 2147483647 h 309"/>
                <a:gd name="T8" fmla="*/ 2147483647 w 241"/>
                <a:gd name="T9" fmla="*/ 2147483647 h 309"/>
                <a:gd name="T10" fmla="*/ 2147483647 w 241"/>
                <a:gd name="T11" fmla="*/ 2147483647 h 309"/>
                <a:gd name="T12" fmla="*/ 2147483647 w 241"/>
                <a:gd name="T13" fmla="*/ 2147483647 h 309"/>
                <a:gd name="T14" fmla="*/ 2147483647 w 241"/>
                <a:gd name="T15" fmla="*/ 2147483647 h 309"/>
                <a:gd name="T16" fmla="*/ 2147483647 w 241"/>
                <a:gd name="T17" fmla="*/ 2147483647 h 309"/>
                <a:gd name="T18" fmla="*/ 2147483647 w 241"/>
                <a:gd name="T19" fmla="*/ 2147483647 h 309"/>
                <a:gd name="T20" fmla="*/ 0 w 241"/>
                <a:gd name="T21" fmla="*/ 2147483647 h 309"/>
                <a:gd name="T22" fmla="*/ 0 w 241"/>
                <a:gd name="T23" fmla="*/ 2147483647 h 309"/>
                <a:gd name="T24" fmla="*/ 2147483647 w 241"/>
                <a:gd name="T25" fmla="*/ 2147483647 h 309"/>
                <a:gd name="T26" fmla="*/ 2147483647 w 241"/>
                <a:gd name="T27" fmla="*/ 2147483647 h 309"/>
                <a:gd name="T28" fmla="*/ 2147483647 w 241"/>
                <a:gd name="T29" fmla="*/ 2147483647 h 309"/>
                <a:gd name="T30" fmla="*/ 2147483647 w 241"/>
                <a:gd name="T31" fmla="*/ 2147483647 h 309"/>
                <a:gd name="T32" fmla="*/ 2147483647 w 241"/>
                <a:gd name="T33" fmla="*/ 2147483647 h 309"/>
                <a:gd name="T34" fmla="*/ 2147483647 w 241"/>
                <a:gd name="T35" fmla="*/ 2147483647 h 309"/>
                <a:gd name="T36" fmla="*/ 2147483647 w 241"/>
                <a:gd name="T37" fmla="*/ 2147483647 h 309"/>
                <a:gd name="T38" fmla="*/ 2147483647 w 241"/>
                <a:gd name="T39" fmla="*/ 2147483647 h 309"/>
                <a:gd name="T40" fmla="*/ 2147483647 w 241"/>
                <a:gd name="T41" fmla="*/ 2147483647 h 309"/>
                <a:gd name="T42" fmla="*/ 2147483647 w 241"/>
                <a:gd name="T43" fmla="*/ 2147483647 h 309"/>
                <a:gd name="T44" fmla="*/ 2147483647 w 241"/>
                <a:gd name="T45" fmla="*/ 2147483647 h 309"/>
                <a:gd name="T46" fmla="*/ 2147483647 w 241"/>
                <a:gd name="T47" fmla="*/ 2147483647 h 309"/>
                <a:gd name="T48" fmla="*/ 2147483647 w 241"/>
                <a:gd name="T49" fmla="*/ 0 h 309"/>
                <a:gd name="T50" fmla="*/ 2147483647 w 241"/>
                <a:gd name="T51" fmla="*/ 2147483647 h 309"/>
                <a:gd name="T52" fmla="*/ 2147483647 w 241"/>
                <a:gd name="T53" fmla="*/ 2147483647 h 309"/>
                <a:gd name="T54" fmla="*/ 2147483647 w 241"/>
                <a:gd name="T55" fmla="*/ 2147483647 h 309"/>
                <a:gd name="T56" fmla="*/ 2147483647 w 241"/>
                <a:gd name="T57" fmla="*/ 2147483647 h 309"/>
                <a:gd name="T58" fmla="*/ 2147483647 w 241"/>
                <a:gd name="T59" fmla="*/ 2147483647 h 309"/>
                <a:gd name="T60" fmla="*/ 2147483647 w 241"/>
                <a:gd name="T61" fmla="*/ 2147483647 h 309"/>
                <a:gd name="T62" fmla="*/ 2147483647 w 241"/>
                <a:gd name="T63" fmla="*/ 2147483647 h 309"/>
                <a:gd name="T64" fmla="*/ 2147483647 w 241"/>
                <a:gd name="T65" fmla="*/ 2147483647 h 309"/>
                <a:gd name="T66" fmla="*/ 2147483647 w 241"/>
                <a:gd name="T67" fmla="*/ 2147483647 h 309"/>
                <a:gd name="T68" fmla="*/ 2147483647 w 241"/>
                <a:gd name="T69" fmla="*/ 2147483647 h 309"/>
                <a:gd name="T70" fmla="*/ 2147483647 w 241"/>
                <a:gd name="T71" fmla="*/ 2147483647 h 309"/>
                <a:gd name="T72" fmla="*/ 2147483647 w 241"/>
                <a:gd name="T73" fmla="*/ 2147483647 h 309"/>
                <a:gd name="T74" fmla="*/ 2147483647 w 241"/>
                <a:gd name="T75" fmla="*/ 2147483647 h 309"/>
                <a:gd name="T76" fmla="*/ 2147483647 w 241"/>
                <a:gd name="T77" fmla="*/ 2147483647 h 309"/>
                <a:gd name="T78" fmla="*/ 2147483647 w 241"/>
                <a:gd name="T79" fmla="*/ 2147483647 h 309"/>
                <a:gd name="T80" fmla="*/ 2147483647 w 241"/>
                <a:gd name="T81" fmla="*/ 2147483647 h 309"/>
                <a:gd name="T82" fmla="*/ 2147483647 w 241"/>
                <a:gd name="T83" fmla="*/ 2147483647 h 309"/>
                <a:gd name="T84" fmla="*/ 2147483647 w 241"/>
                <a:gd name="T85" fmla="*/ 2147483647 h 309"/>
                <a:gd name="T86" fmla="*/ 2147483647 w 241"/>
                <a:gd name="T87" fmla="*/ 2147483647 h 309"/>
                <a:gd name="T88" fmla="*/ 2147483647 w 241"/>
                <a:gd name="T89" fmla="*/ 2147483647 h 309"/>
                <a:gd name="T90" fmla="*/ 2147483647 w 241"/>
                <a:gd name="T91" fmla="*/ 2147483647 h 309"/>
                <a:gd name="T92" fmla="*/ 2147483647 w 241"/>
                <a:gd name="T93" fmla="*/ 2147483647 h 309"/>
                <a:gd name="T94" fmla="*/ 2147483647 w 241"/>
                <a:gd name="T95" fmla="*/ 2147483647 h 30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41"/>
                <a:gd name="T145" fmla="*/ 0 h 309"/>
                <a:gd name="T146" fmla="*/ 241 w 241"/>
                <a:gd name="T147" fmla="*/ 309 h 30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41" h="309">
                  <a:moveTo>
                    <a:pt x="159" y="309"/>
                  </a:moveTo>
                  <a:lnTo>
                    <a:pt x="155" y="307"/>
                  </a:lnTo>
                  <a:lnTo>
                    <a:pt x="153" y="305"/>
                  </a:lnTo>
                  <a:lnTo>
                    <a:pt x="145" y="301"/>
                  </a:lnTo>
                  <a:lnTo>
                    <a:pt x="140" y="299"/>
                  </a:lnTo>
                  <a:lnTo>
                    <a:pt x="136" y="297"/>
                  </a:lnTo>
                  <a:lnTo>
                    <a:pt x="134" y="296"/>
                  </a:lnTo>
                  <a:lnTo>
                    <a:pt x="128" y="292"/>
                  </a:lnTo>
                  <a:lnTo>
                    <a:pt x="115" y="292"/>
                  </a:lnTo>
                  <a:lnTo>
                    <a:pt x="101" y="292"/>
                  </a:lnTo>
                  <a:lnTo>
                    <a:pt x="95" y="296"/>
                  </a:lnTo>
                  <a:lnTo>
                    <a:pt x="94" y="297"/>
                  </a:lnTo>
                  <a:lnTo>
                    <a:pt x="92" y="299"/>
                  </a:lnTo>
                  <a:lnTo>
                    <a:pt x="88" y="299"/>
                  </a:lnTo>
                  <a:lnTo>
                    <a:pt x="86" y="299"/>
                  </a:lnTo>
                  <a:lnTo>
                    <a:pt x="82" y="294"/>
                  </a:lnTo>
                  <a:lnTo>
                    <a:pt x="78" y="290"/>
                  </a:lnTo>
                  <a:lnTo>
                    <a:pt x="71" y="290"/>
                  </a:lnTo>
                  <a:lnTo>
                    <a:pt x="57" y="290"/>
                  </a:lnTo>
                  <a:lnTo>
                    <a:pt x="51" y="290"/>
                  </a:lnTo>
                  <a:lnTo>
                    <a:pt x="47" y="290"/>
                  </a:lnTo>
                  <a:lnTo>
                    <a:pt x="42" y="271"/>
                  </a:lnTo>
                  <a:lnTo>
                    <a:pt x="38" y="251"/>
                  </a:lnTo>
                  <a:lnTo>
                    <a:pt x="32" y="226"/>
                  </a:lnTo>
                  <a:lnTo>
                    <a:pt x="28" y="202"/>
                  </a:lnTo>
                  <a:lnTo>
                    <a:pt x="23" y="188"/>
                  </a:lnTo>
                  <a:lnTo>
                    <a:pt x="19" y="173"/>
                  </a:lnTo>
                  <a:lnTo>
                    <a:pt x="13" y="150"/>
                  </a:lnTo>
                  <a:lnTo>
                    <a:pt x="9" y="125"/>
                  </a:lnTo>
                  <a:lnTo>
                    <a:pt x="3" y="102"/>
                  </a:lnTo>
                  <a:lnTo>
                    <a:pt x="0" y="77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0" y="61"/>
                  </a:lnTo>
                  <a:lnTo>
                    <a:pt x="0" y="58"/>
                  </a:lnTo>
                  <a:lnTo>
                    <a:pt x="0" y="48"/>
                  </a:lnTo>
                  <a:lnTo>
                    <a:pt x="0" y="38"/>
                  </a:lnTo>
                  <a:lnTo>
                    <a:pt x="9" y="38"/>
                  </a:lnTo>
                  <a:lnTo>
                    <a:pt x="19" y="38"/>
                  </a:lnTo>
                  <a:lnTo>
                    <a:pt x="19" y="42"/>
                  </a:lnTo>
                  <a:lnTo>
                    <a:pt x="19" y="48"/>
                  </a:lnTo>
                  <a:lnTo>
                    <a:pt x="23" y="48"/>
                  </a:lnTo>
                  <a:lnTo>
                    <a:pt x="28" y="48"/>
                  </a:lnTo>
                  <a:lnTo>
                    <a:pt x="32" y="58"/>
                  </a:lnTo>
                  <a:lnTo>
                    <a:pt x="38" y="67"/>
                  </a:lnTo>
                  <a:lnTo>
                    <a:pt x="42" y="71"/>
                  </a:lnTo>
                  <a:lnTo>
                    <a:pt x="47" y="77"/>
                  </a:lnTo>
                  <a:lnTo>
                    <a:pt x="47" y="71"/>
                  </a:lnTo>
                  <a:lnTo>
                    <a:pt x="47" y="67"/>
                  </a:lnTo>
                  <a:lnTo>
                    <a:pt x="57" y="67"/>
                  </a:lnTo>
                  <a:lnTo>
                    <a:pt x="67" y="67"/>
                  </a:lnTo>
                  <a:lnTo>
                    <a:pt x="71" y="61"/>
                  </a:lnTo>
                  <a:lnTo>
                    <a:pt x="76" y="58"/>
                  </a:lnTo>
                  <a:lnTo>
                    <a:pt x="76" y="52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6" y="48"/>
                  </a:lnTo>
                  <a:lnTo>
                    <a:pt x="90" y="48"/>
                  </a:lnTo>
                  <a:lnTo>
                    <a:pt x="95" y="48"/>
                  </a:lnTo>
                  <a:lnTo>
                    <a:pt x="99" y="48"/>
                  </a:lnTo>
                  <a:lnTo>
                    <a:pt x="105" y="48"/>
                  </a:lnTo>
                  <a:lnTo>
                    <a:pt x="115" y="52"/>
                  </a:lnTo>
                  <a:lnTo>
                    <a:pt x="124" y="58"/>
                  </a:lnTo>
                  <a:lnTo>
                    <a:pt x="130" y="52"/>
                  </a:lnTo>
                  <a:lnTo>
                    <a:pt x="134" y="48"/>
                  </a:lnTo>
                  <a:lnTo>
                    <a:pt x="134" y="42"/>
                  </a:lnTo>
                  <a:lnTo>
                    <a:pt x="134" y="38"/>
                  </a:lnTo>
                  <a:lnTo>
                    <a:pt x="134" y="33"/>
                  </a:lnTo>
                  <a:lnTo>
                    <a:pt x="134" y="29"/>
                  </a:lnTo>
                  <a:lnTo>
                    <a:pt x="130" y="29"/>
                  </a:lnTo>
                  <a:lnTo>
                    <a:pt x="124" y="29"/>
                  </a:lnTo>
                  <a:lnTo>
                    <a:pt x="124" y="14"/>
                  </a:lnTo>
                  <a:lnTo>
                    <a:pt x="124" y="0"/>
                  </a:lnTo>
                  <a:lnTo>
                    <a:pt x="130" y="0"/>
                  </a:lnTo>
                  <a:lnTo>
                    <a:pt x="134" y="0"/>
                  </a:lnTo>
                  <a:lnTo>
                    <a:pt x="140" y="4"/>
                  </a:lnTo>
                  <a:lnTo>
                    <a:pt x="143" y="10"/>
                  </a:lnTo>
                  <a:lnTo>
                    <a:pt x="153" y="14"/>
                  </a:lnTo>
                  <a:lnTo>
                    <a:pt x="163" y="19"/>
                  </a:lnTo>
                  <a:lnTo>
                    <a:pt x="168" y="23"/>
                  </a:lnTo>
                  <a:lnTo>
                    <a:pt x="172" y="29"/>
                  </a:lnTo>
                  <a:lnTo>
                    <a:pt x="178" y="29"/>
                  </a:lnTo>
                  <a:lnTo>
                    <a:pt x="182" y="29"/>
                  </a:lnTo>
                  <a:lnTo>
                    <a:pt x="182" y="33"/>
                  </a:lnTo>
                  <a:lnTo>
                    <a:pt x="182" y="38"/>
                  </a:lnTo>
                  <a:lnTo>
                    <a:pt x="186" y="42"/>
                  </a:lnTo>
                  <a:lnTo>
                    <a:pt x="188" y="48"/>
                  </a:lnTo>
                  <a:lnTo>
                    <a:pt x="189" y="50"/>
                  </a:lnTo>
                  <a:lnTo>
                    <a:pt x="191" y="52"/>
                  </a:lnTo>
                  <a:lnTo>
                    <a:pt x="205" y="56"/>
                  </a:lnTo>
                  <a:lnTo>
                    <a:pt x="216" y="58"/>
                  </a:lnTo>
                  <a:lnTo>
                    <a:pt x="218" y="60"/>
                  </a:lnTo>
                  <a:lnTo>
                    <a:pt x="220" y="63"/>
                  </a:lnTo>
                  <a:lnTo>
                    <a:pt x="224" y="65"/>
                  </a:lnTo>
                  <a:lnTo>
                    <a:pt x="226" y="67"/>
                  </a:lnTo>
                  <a:lnTo>
                    <a:pt x="228" y="69"/>
                  </a:lnTo>
                  <a:lnTo>
                    <a:pt x="232" y="73"/>
                  </a:lnTo>
                  <a:lnTo>
                    <a:pt x="232" y="86"/>
                  </a:lnTo>
                  <a:lnTo>
                    <a:pt x="232" y="102"/>
                  </a:lnTo>
                  <a:lnTo>
                    <a:pt x="228" y="104"/>
                  </a:lnTo>
                  <a:lnTo>
                    <a:pt x="226" y="106"/>
                  </a:lnTo>
                  <a:lnTo>
                    <a:pt x="224" y="109"/>
                  </a:lnTo>
                  <a:lnTo>
                    <a:pt x="222" y="115"/>
                  </a:lnTo>
                  <a:lnTo>
                    <a:pt x="224" y="123"/>
                  </a:lnTo>
                  <a:lnTo>
                    <a:pt x="226" y="125"/>
                  </a:lnTo>
                  <a:lnTo>
                    <a:pt x="228" y="127"/>
                  </a:lnTo>
                  <a:lnTo>
                    <a:pt x="232" y="131"/>
                  </a:lnTo>
                  <a:lnTo>
                    <a:pt x="234" y="136"/>
                  </a:lnTo>
                  <a:lnTo>
                    <a:pt x="236" y="144"/>
                  </a:lnTo>
                  <a:lnTo>
                    <a:pt x="237" y="148"/>
                  </a:lnTo>
                  <a:lnTo>
                    <a:pt x="241" y="150"/>
                  </a:lnTo>
                  <a:lnTo>
                    <a:pt x="241" y="154"/>
                  </a:lnTo>
                  <a:lnTo>
                    <a:pt x="241" y="159"/>
                  </a:lnTo>
                  <a:lnTo>
                    <a:pt x="237" y="161"/>
                  </a:lnTo>
                  <a:lnTo>
                    <a:pt x="236" y="163"/>
                  </a:lnTo>
                  <a:lnTo>
                    <a:pt x="232" y="173"/>
                  </a:lnTo>
                  <a:lnTo>
                    <a:pt x="226" y="184"/>
                  </a:lnTo>
                  <a:lnTo>
                    <a:pt x="224" y="180"/>
                  </a:lnTo>
                  <a:lnTo>
                    <a:pt x="220" y="179"/>
                  </a:lnTo>
                  <a:lnTo>
                    <a:pt x="216" y="179"/>
                  </a:lnTo>
                  <a:lnTo>
                    <a:pt x="212" y="179"/>
                  </a:lnTo>
                  <a:lnTo>
                    <a:pt x="209" y="180"/>
                  </a:lnTo>
                  <a:lnTo>
                    <a:pt x="207" y="184"/>
                  </a:lnTo>
                  <a:lnTo>
                    <a:pt x="205" y="186"/>
                  </a:lnTo>
                  <a:lnTo>
                    <a:pt x="203" y="188"/>
                  </a:lnTo>
                  <a:lnTo>
                    <a:pt x="199" y="190"/>
                  </a:lnTo>
                  <a:lnTo>
                    <a:pt x="197" y="194"/>
                  </a:lnTo>
                  <a:lnTo>
                    <a:pt x="197" y="207"/>
                  </a:lnTo>
                  <a:lnTo>
                    <a:pt x="197" y="223"/>
                  </a:lnTo>
                  <a:lnTo>
                    <a:pt x="199" y="225"/>
                  </a:lnTo>
                  <a:lnTo>
                    <a:pt x="203" y="226"/>
                  </a:lnTo>
                  <a:lnTo>
                    <a:pt x="203" y="246"/>
                  </a:lnTo>
                  <a:lnTo>
                    <a:pt x="203" y="265"/>
                  </a:lnTo>
                  <a:lnTo>
                    <a:pt x="199" y="269"/>
                  </a:lnTo>
                  <a:lnTo>
                    <a:pt x="197" y="271"/>
                  </a:lnTo>
                  <a:lnTo>
                    <a:pt x="189" y="273"/>
                  </a:lnTo>
                  <a:lnTo>
                    <a:pt x="182" y="274"/>
                  </a:lnTo>
                  <a:lnTo>
                    <a:pt x="180" y="278"/>
                  </a:lnTo>
                  <a:lnTo>
                    <a:pt x="178" y="280"/>
                  </a:lnTo>
                  <a:lnTo>
                    <a:pt x="176" y="292"/>
                  </a:lnTo>
                  <a:lnTo>
                    <a:pt x="172" y="305"/>
                  </a:lnTo>
                  <a:lnTo>
                    <a:pt x="170" y="307"/>
                  </a:lnTo>
                  <a:lnTo>
                    <a:pt x="168" y="309"/>
                  </a:lnTo>
                  <a:lnTo>
                    <a:pt x="163" y="309"/>
                  </a:lnTo>
                  <a:lnTo>
                    <a:pt x="159" y="309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7" name="Freeform 287">
              <a:extLst>
                <a:ext uri="{FF2B5EF4-FFF2-40B4-BE49-F238E27FC236}">
                  <a16:creationId xmlns:a16="http://schemas.microsoft.com/office/drawing/2014/main" xmlns="" id="{620B62B6-F365-DC4E-A69D-28A664120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9650" y="5248091"/>
              <a:ext cx="300038" cy="509587"/>
            </a:xfrm>
            <a:custGeom>
              <a:avLst/>
              <a:gdLst>
                <a:gd name="T0" fmla="*/ 0 w 193"/>
                <a:gd name="T1" fmla="*/ 2147483647 h 340"/>
                <a:gd name="T2" fmla="*/ 2147483647 w 193"/>
                <a:gd name="T3" fmla="*/ 2147483647 h 340"/>
                <a:gd name="T4" fmla="*/ 2147483647 w 193"/>
                <a:gd name="T5" fmla="*/ 2147483647 h 340"/>
                <a:gd name="T6" fmla="*/ 2147483647 w 193"/>
                <a:gd name="T7" fmla="*/ 2147483647 h 340"/>
                <a:gd name="T8" fmla="*/ 2147483647 w 193"/>
                <a:gd name="T9" fmla="*/ 2147483647 h 340"/>
                <a:gd name="T10" fmla="*/ 2147483647 w 193"/>
                <a:gd name="T11" fmla="*/ 2147483647 h 340"/>
                <a:gd name="T12" fmla="*/ 2147483647 w 193"/>
                <a:gd name="T13" fmla="*/ 2147483647 h 340"/>
                <a:gd name="T14" fmla="*/ 2147483647 w 193"/>
                <a:gd name="T15" fmla="*/ 2147483647 h 340"/>
                <a:gd name="T16" fmla="*/ 2147483647 w 193"/>
                <a:gd name="T17" fmla="*/ 2147483647 h 340"/>
                <a:gd name="T18" fmla="*/ 2147483647 w 193"/>
                <a:gd name="T19" fmla="*/ 2147483647 h 340"/>
                <a:gd name="T20" fmla="*/ 2147483647 w 193"/>
                <a:gd name="T21" fmla="*/ 2147483647 h 340"/>
                <a:gd name="T22" fmla="*/ 2147483647 w 193"/>
                <a:gd name="T23" fmla="*/ 2147483647 h 340"/>
                <a:gd name="T24" fmla="*/ 2147483647 w 193"/>
                <a:gd name="T25" fmla="*/ 2147483647 h 340"/>
                <a:gd name="T26" fmla="*/ 2147483647 w 193"/>
                <a:gd name="T27" fmla="*/ 2147483647 h 340"/>
                <a:gd name="T28" fmla="*/ 2147483647 w 193"/>
                <a:gd name="T29" fmla="*/ 2147483647 h 340"/>
                <a:gd name="T30" fmla="*/ 2147483647 w 193"/>
                <a:gd name="T31" fmla="*/ 2147483647 h 340"/>
                <a:gd name="T32" fmla="*/ 2147483647 w 193"/>
                <a:gd name="T33" fmla="*/ 2147483647 h 340"/>
                <a:gd name="T34" fmla="*/ 2147483647 w 193"/>
                <a:gd name="T35" fmla="*/ 2147483647 h 340"/>
                <a:gd name="T36" fmla="*/ 2147483647 w 193"/>
                <a:gd name="T37" fmla="*/ 2147483647 h 340"/>
                <a:gd name="T38" fmla="*/ 2147483647 w 193"/>
                <a:gd name="T39" fmla="*/ 2147483647 h 340"/>
                <a:gd name="T40" fmla="*/ 2147483647 w 193"/>
                <a:gd name="T41" fmla="*/ 2147483647 h 340"/>
                <a:gd name="T42" fmla="*/ 2147483647 w 193"/>
                <a:gd name="T43" fmla="*/ 2147483647 h 340"/>
                <a:gd name="T44" fmla="*/ 2147483647 w 193"/>
                <a:gd name="T45" fmla="*/ 2147483647 h 340"/>
                <a:gd name="T46" fmla="*/ 2147483647 w 193"/>
                <a:gd name="T47" fmla="*/ 2147483647 h 340"/>
                <a:gd name="T48" fmla="*/ 2147483647 w 193"/>
                <a:gd name="T49" fmla="*/ 2147483647 h 340"/>
                <a:gd name="T50" fmla="*/ 2147483647 w 193"/>
                <a:gd name="T51" fmla="*/ 2147483647 h 340"/>
                <a:gd name="T52" fmla="*/ 2147483647 w 193"/>
                <a:gd name="T53" fmla="*/ 2147483647 h 340"/>
                <a:gd name="T54" fmla="*/ 2147483647 w 193"/>
                <a:gd name="T55" fmla="*/ 2147483647 h 340"/>
                <a:gd name="T56" fmla="*/ 2147483647 w 193"/>
                <a:gd name="T57" fmla="*/ 2147483647 h 340"/>
                <a:gd name="T58" fmla="*/ 2147483647 w 193"/>
                <a:gd name="T59" fmla="*/ 2147483647 h 340"/>
                <a:gd name="T60" fmla="*/ 2147483647 w 193"/>
                <a:gd name="T61" fmla="*/ 2147483647 h 340"/>
                <a:gd name="T62" fmla="*/ 2147483647 w 193"/>
                <a:gd name="T63" fmla="*/ 2147483647 h 340"/>
                <a:gd name="T64" fmla="*/ 2147483647 w 193"/>
                <a:gd name="T65" fmla="*/ 2147483647 h 340"/>
                <a:gd name="T66" fmla="*/ 2147483647 w 193"/>
                <a:gd name="T67" fmla="*/ 2147483647 h 340"/>
                <a:gd name="T68" fmla="*/ 2147483647 w 193"/>
                <a:gd name="T69" fmla="*/ 2147483647 h 340"/>
                <a:gd name="T70" fmla="*/ 2147483647 w 193"/>
                <a:gd name="T71" fmla="*/ 2147483647 h 340"/>
                <a:gd name="T72" fmla="*/ 2147483647 w 193"/>
                <a:gd name="T73" fmla="*/ 2147483647 h 340"/>
                <a:gd name="T74" fmla="*/ 2147483647 w 193"/>
                <a:gd name="T75" fmla="*/ 2147483647 h 340"/>
                <a:gd name="T76" fmla="*/ 2147483647 w 193"/>
                <a:gd name="T77" fmla="*/ 2147483647 h 340"/>
                <a:gd name="T78" fmla="*/ 2147483647 w 193"/>
                <a:gd name="T79" fmla="*/ 2147483647 h 340"/>
                <a:gd name="T80" fmla="*/ 2147483647 w 193"/>
                <a:gd name="T81" fmla="*/ 2147483647 h 340"/>
                <a:gd name="T82" fmla="*/ 2147483647 w 193"/>
                <a:gd name="T83" fmla="*/ 2147483647 h 340"/>
                <a:gd name="T84" fmla="*/ 2147483647 w 193"/>
                <a:gd name="T85" fmla="*/ 2147483647 h 340"/>
                <a:gd name="T86" fmla="*/ 2147483647 w 193"/>
                <a:gd name="T87" fmla="*/ 2147483647 h 340"/>
                <a:gd name="T88" fmla="*/ 2147483647 w 193"/>
                <a:gd name="T89" fmla="*/ 2147483647 h 340"/>
                <a:gd name="T90" fmla="*/ 2147483647 w 193"/>
                <a:gd name="T91" fmla="*/ 2147483647 h 340"/>
                <a:gd name="T92" fmla="*/ 2147483647 w 193"/>
                <a:gd name="T93" fmla="*/ 2147483647 h 340"/>
                <a:gd name="T94" fmla="*/ 2147483647 w 193"/>
                <a:gd name="T95" fmla="*/ 2147483647 h 340"/>
                <a:gd name="T96" fmla="*/ 2147483647 w 193"/>
                <a:gd name="T97" fmla="*/ 2147483647 h 34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93"/>
                <a:gd name="T148" fmla="*/ 0 h 340"/>
                <a:gd name="T149" fmla="*/ 193 w 193"/>
                <a:gd name="T150" fmla="*/ 340 h 34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93" h="340">
                  <a:moveTo>
                    <a:pt x="2" y="321"/>
                  </a:moveTo>
                  <a:lnTo>
                    <a:pt x="2" y="309"/>
                  </a:lnTo>
                  <a:lnTo>
                    <a:pt x="0" y="296"/>
                  </a:lnTo>
                  <a:lnTo>
                    <a:pt x="2" y="294"/>
                  </a:lnTo>
                  <a:lnTo>
                    <a:pt x="5" y="290"/>
                  </a:lnTo>
                  <a:lnTo>
                    <a:pt x="7" y="288"/>
                  </a:lnTo>
                  <a:lnTo>
                    <a:pt x="9" y="286"/>
                  </a:lnTo>
                  <a:lnTo>
                    <a:pt x="11" y="282"/>
                  </a:lnTo>
                  <a:lnTo>
                    <a:pt x="15" y="281"/>
                  </a:lnTo>
                  <a:lnTo>
                    <a:pt x="17" y="279"/>
                  </a:lnTo>
                  <a:lnTo>
                    <a:pt x="19" y="277"/>
                  </a:lnTo>
                  <a:lnTo>
                    <a:pt x="23" y="275"/>
                  </a:lnTo>
                  <a:lnTo>
                    <a:pt x="25" y="271"/>
                  </a:lnTo>
                  <a:lnTo>
                    <a:pt x="32" y="269"/>
                  </a:lnTo>
                  <a:lnTo>
                    <a:pt x="38" y="267"/>
                  </a:lnTo>
                  <a:lnTo>
                    <a:pt x="40" y="265"/>
                  </a:lnTo>
                  <a:lnTo>
                    <a:pt x="44" y="261"/>
                  </a:lnTo>
                  <a:lnTo>
                    <a:pt x="46" y="259"/>
                  </a:lnTo>
                  <a:lnTo>
                    <a:pt x="50" y="257"/>
                  </a:lnTo>
                  <a:lnTo>
                    <a:pt x="51" y="254"/>
                  </a:lnTo>
                  <a:lnTo>
                    <a:pt x="53" y="252"/>
                  </a:lnTo>
                  <a:lnTo>
                    <a:pt x="55" y="244"/>
                  </a:lnTo>
                  <a:lnTo>
                    <a:pt x="57" y="238"/>
                  </a:lnTo>
                  <a:lnTo>
                    <a:pt x="61" y="234"/>
                  </a:lnTo>
                  <a:lnTo>
                    <a:pt x="63" y="233"/>
                  </a:lnTo>
                  <a:lnTo>
                    <a:pt x="63" y="223"/>
                  </a:lnTo>
                  <a:lnTo>
                    <a:pt x="63" y="213"/>
                  </a:lnTo>
                  <a:lnTo>
                    <a:pt x="61" y="211"/>
                  </a:lnTo>
                  <a:lnTo>
                    <a:pt x="57" y="210"/>
                  </a:lnTo>
                  <a:lnTo>
                    <a:pt x="55" y="192"/>
                  </a:lnTo>
                  <a:lnTo>
                    <a:pt x="53" y="175"/>
                  </a:lnTo>
                  <a:lnTo>
                    <a:pt x="51" y="171"/>
                  </a:lnTo>
                  <a:lnTo>
                    <a:pt x="50" y="169"/>
                  </a:lnTo>
                  <a:lnTo>
                    <a:pt x="50" y="165"/>
                  </a:lnTo>
                  <a:lnTo>
                    <a:pt x="50" y="160"/>
                  </a:lnTo>
                  <a:lnTo>
                    <a:pt x="51" y="158"/>
                  </a:lnTo>
                  <a:lnTo>
                    <a:pt x="53" y="156"/>
                  </a:lnTo>
                  <a:lnTo>
                    <a:pt x="55" y="154"/>
                  </a:lnTo>
                  <a:lnTo>
                    <a:pt x="57" y="150"/>
                  </a:lnTo>
                  <a:lnTo>
                    <a:pt x="61" y="148"/>
                  </a:lnTo>
                  <a:lnTo>
                    <a:pt x="63" y="146"/>
                  </a:lnTo>
                  <a:lnTo>
                    <a:pt x="65" y="142"/>
                  </a:lnTo>
                  <a:lnTo>
                    <a:pt x="67" y="140"/>
                  </a:lnTo>
                  <a:lnTo>
                    <a:pt x="71" y="139"/>
                  </a:lnTo>
                  <a:lnTo>
                    <a:pt x="73" y="137"/>
                  </a:lnTo>
                  <a:lnTo>
                    <a:pt x="73" y="121"/>
                  </a:lnTo>
                  <a:lnTo>
                    <a:pt x="73" y="108"/>
                  </a:lnTo>
                  <a:lnTo>
                    <a:pt x="71" y="104"/>
                  </a:lnTo>
                  <a:lnTo>
                    <a:pt x="67" y="102"/>
                  </a:lnTo>
                  <a:lnTo>
                    <a:pt x="61" y="100"/>
                  </a:lnTo>
                  <a:lnTo>
                    <a:pt x="53" y="98"/>
                  </a:lnTo>
                  <a:lnTo>
                    <a:pt x="51" y="94"/>
                  </a:lnTo>
                  <a:lnTo>
                    <a:pt x="50" y="92"/>
                  </a:lnTo>
                  <a:lnTo>
                    <a:pt x="44" y="73"/>
                  </a:lnTo>
                  <a:lnTo>
                    <a:pt x="38" y="54"/>
                  </a:lnTo>
                  <a:lnTo>
                    <a:pt x="40" y="52"/>
                  </a:lnTo>
                  <a:lnTo>
                    <a:pt x="44" y="48"/>
                  </a:lnTo>
                  <a:lnTo>
                    <a:pt x="46" y="46"/>
                  </a:lnTo>
                  <a:lnTo>
                    <a:pt x="48" y="39"/>
                  </a:lnTo>
                  <a:lnTo>
                    <a:pt x="46" y="33"/>
                  </a:lnTo>
                  <a:lnTo>
                    <a:pt x="44" y="29"/>
                  </a:lnTo>
                  <a:lnTo>
                    <a:pt x="40" y="27"/>
                  </a:lnTo>
                  <a:lnTo>
                    <a:pt x="38" y="25"/>
                  </a:lnTo>
                  <a:lnTo>
                    <a:pt x="38" y="16"/>
                  </a:lnTo>
                  <a:lnTo>
                    <a:pt x="38" y="6"/>
                  </a:lnTo>
                  <a:lnTo>
                    <a:pt x="40" y="2"/>
                  </a:lnTo>
                  <a:lnTo>
                    <a:pt x="44" y="0"/>
                  </a:lnTo>
                  <a:lnTo>
                    <a:pt x="46" y="2"/>
                  </a:lnTo>
                  <a:lnTo>
                    <a:pt x="50" y="6"/>
                  </a:lnTo>
                  <a:lnTo>
                    <a:pt x="51" y="12"/>
                  </a:lnTo>
                  <a:lnTo>
                    <a:pt x="53" y="20"/>
                  </a:lnTo>
                  <a:lnTo>
                    <a:pt x="55" y="21"/>
                  </a:lnTo>
                  <a:lnTo>
                    <a:pt x="57" y="25"/>
                  </a:lnTo>
                  <a:lnTo>
                    <a:pt x="61" y="27"/>
                  </a:lnTo>
                  <a:lnTo>
                    <a:pt x="63" y="29"/>
                  </a:lnTo>
                  <a:lnTo>
                    <a:pt x="65" y="33"/>
                  </a:lnTo>
                  <a:lnTo>
                    <a:pt x="67" y="35"/>
                  </a:lnTo>
                  <a:lnTo>
                    <a:pt x="94" y="37"/>
                  </a:lnTo>
                  <a:lnTo>
                    <a:pt x="121" y="39"/>
                  </a:lnTo>
                  <a:lnTo>
                    <a:pt x="122" y="43"/>
                  </a:lnTo>
                  <a:lnTo>
                    <a:pt x="126" y="45"/>
                  </a:lnTo>
                  <a:lnTo>
                    <a:pt x="128" y="46"/>
                  </a:lnTo>
                  <a:lnTo>
                    <a:pt x="130" y="48"/>
                  </a:lnTo>
                  <a:lnTo>
                    <a:pt x="132" y="52"/>
                  </a:lnTo>
                  <a:lnTo>
                    <a:pt x="136" y="54"/>
                  </a:lnTo>
                  <a:lnTo>
                    <a:pt x="138" y="56"/>
                  </a:lnTo>
                  <a:lnTo>
                    <a:pt x="140" y="58"/>
                  </a:lnTo>
                  <a:lnTo>
                    <a:pt x="144" y="62"/>
                  </a:lnTo>
                  <a:lnTo>
                    <a:pt x="146" y="64"/>
                  </a:lnTo>
                  <a:lnTo>
                    <a:pt x="147" y="66"/>
                  </a:lnTo>
                  <a:lnTo>
                    <a:pt x="149" y="69"/>
                  </a:lnTo>
                  <a:lnTo>
                    <a:pt x="151" y="71"/>
                  </a:lnTo>
                  <a:lnTo>
                    <a:pt x="155" y="73"/>
                  </a:lnTo>
                  <a:lnTo>
                    <a:pt x="157" y="91"/>
                  </a:lnTo>
                  <a:lnTo>
                    <a:pt x="159" y="108"/>
                  </a:lnTo>
                  <a:lnTo>
                    <a:pt x="163" y="110"/>
                  </a:lnTo>
                  <a:lnTo>
                    <a:pt x="165" y="112"/>
                  </a:lnTo>
                  <a:lnTo>
                    <a:pt x="167" y="114"/>
                  </a:lnTo>
                  <a:lnTo>
                    <a:pt x="169" y="117"/>
                  </a:lnTo>
                  <a:lnTo>
                    <a:pt x="172" y="119"/>
                  </a:lnTo>
                  <a:lnTo>
                    <a:pt x="174" y="121"/>
                  </a:lnTo>
                  <a:lnTo>
                    <a:pt x="176" y="133"/>
                  </a:lnTo>
                  <a:lnTo>
                    <a:pt x="178" y="146"/>
                  </a:lnTo>
                  <a:lnTo>
                    <a:pt x="182" y="148"/>
                  </a:lnTo>
                  <a:lnTo>
                    <a:pt x="184" y="150"/>
                  </a:lnTo>
                  <a:lnTo>
                    <a:pt x="186" y="158"/>
                  </a:lnTo>
                  <a:lnTo>
                    <a:pt x="188" y="165"/>
                  </a:lnTo>
                  <a:lnTo>
                    <a:pt x="192" y="167"/>
                  </a:lnTo>
                  <a:lnTo>
                    <a:pt x="193" y="169"/>
                  </a:lnTo>
                  <a:lnTo>
                    <a:pt x="192" y="171"/>
                  </a:lnTo>
                  <a:lnTo>
                    <a:pt x="188" y="175"/>
                  </a:lnTo>
                  <a:lnTo>
                    <a:pt x="184" y="179"/>
                  </a:lnTo>
                  <a:lnTo>
                    <a:pt x="182" y="186"/>
                  </a:lnTo>
                  <a:lnTo>
                    <a:pt x="178" y="202"/>
                  </a:lnTo>
                  <a:lnTo>
                    <a:pt x="174" y="229"/>
                  </a:lnTo>
                  <a:lnTo>
                    <a:pt x="172" y="231"/>
                  </a:lnTo>
                  <a:lnTo>
                    <a:pt x="169" y="233"/>
                  </a:lnTo>
                  <a:lnTo>
                    <a:pt x="167" y="234"/>
                  </a:lnTo>
                  <a:lnTo>
                    <a:pt x="165" y="238"/>
                  </a:lnTo>
                  <a:lnTo>
                    <a:pt x="163" y="240"/>
                  </a:lnTo>
                  <a:lnTo>
                    <a:pt x="159" y="242"/>
                  </a:lnTo>
                  <a:lnTo>
                    <a:pt x="153" y="244"/>
                  </a:lnTo>
                  <a:lnTo>
                    <a:pt x="146" y="248"/>
                  </a:lnTo>
                  <a:lnTo>
                    <a:pt x="144" y="250"/>
                  </a:lnTo>
                  <a:lnTo>
                    <a:pt x="140" y="252"/>
                  </a:lnTo>
                  <a:lnTo>
                    <a:pt x="138" y="259"/>
                  </a:lnTo>
                  <a:lnTo>
                    <a:pt x="136" y="267"/>
                  </a:lnTo>
                  <a:lnTo>
                    <a:pt x="132" y="269"/>
                  </a:lnTo>
                  <a:lnTo>
                    <a:pt x="130" y="271"/>
                  </a:lnTo>
                  <a:lnTo>
                    <a:pt x="119" y="271"/>
                  </a:lnTo>
                  <a:lnTo>
                    <a:pt x="107" y="271"/>
                  </a:lnTo>
                  <a:lnTo>
                    <a:pt x="107" y="279"/>
                  </a:lnTo>
                  <a:lnTo>
                    <a:pt x="107" y="286"/>
                  </a:lnTo>
                  <a:lnTo>
                    <a:pt x="103" y="288"/>
                  </a:lnTo>
                  <a:lnTo>
                    <a:pt x="101" y="290"/>
                  </a:lnTo>
                  <a:lnTo>
                    <a:pt x="94" y="304"/>
                  </a:lnTo>
                  <a:lnTo>
                    <a:pt x="88" y="315"/>
                  </a:lnTo>
                  <a:lnTo>
                    <a:pt x="84" y="317"/>
                  </a:lnTo>
                  <a:lnTo>
                    <a:pt x="82" y="319"/>
                  </a:lnTo>
                  <a:lnTo>
                    <a:pt x="53" y="325"/>
                  </a:lnTo>
                  <a:lnTo>
                    <a:pt x="40" y="328"/>
                  </a:lnTo>
                  <a:lnTo>
                    <a:pt x="32" y="330"/>
                  </a:lnTo>
                  <a:lnTo>
                    <a:pt x="28" y="334"/>
                  </a:lnTo>
                  <a:lnTo>
                    <a:pt x="27" y="336"/>
                  </a:lnTo>
                  <a:lnTo>
                    <a:pt x="25" y="340"/>
                  </a:lnTo>
                  <a:lnTo>
                    <a:pt x="7" y="327"/>
                  </a:lnTo>
                  <a:lnTo>
                    <a:pt x="2" y="321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8" name="Freeform 288">
              <a:extLst>
                <a:ext uri="{FF2B5EF4-FFF2-40B4-BE49-F238E27FC236}">
                  <a16:creationId xmlns:a16="http://schemas.microsoft.com/office/drawing/2014/main" xmlns="" id="{1C9DD648-8A01-3043-92AB-DE0132E5FA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9613" y="5594166"/>
              <a:ext cx="436562" cy="390525"/>
            </a:xfrm>
            <a:custGeom>
              <a:avLst/>
              <a:gdLst>
                <a:gd name="T0" fmla="*/ 2147483647 w 282"/>
                <a:gd name="T1" fmla="*/ 2147483647 h 260"/>
                <a:gd name="T2" fmla="*/ 2147483647 w 282"/>
                <a:gd name="T3" fmla="*/ 2147483647 h 260"/>
                <a:gd name="T4" fmla="*/ 2147483647 w 282"/>
                <a:gd name="T5" fmla="*/ 2147483647 h 260"/>
                <a:gd name="T6" fmla="*/ 2147483647 w 282"/>
                <a:gd name="T7" fmla="*/ 2147483647 h 260"/>
                <a:gd name="T8" fmla="*/ 2147483647 w 282"/>
                <a:gd name="T9" fmla="*/ 2147483647 h 260"/>
                <a:gd name="T10" fmla="*/ 2147483647 w 282"/>
                <a:gd name="T11" fmla="*/ 2147483647 h 260"/>
                <a:gd name="T12" fmla="*/ 2147483647 w 282"/>
                <a:gd name="T13" fmla="*/ 2147483647 h 260"/>
                <a:gd name="T14" fmla="*/ 2147483647 w 282"/>
                <a:gd name="T15" fmla="*/ 2147483647 h 260"/>
                <a:gd name="T16" fmla="*/ 2147483647 w 282"/>
                <a:gd name="T17" fmla="*/ 2147483647 h 260"/>
                <a:gd name="T18" fmla="*/ 2147483647 w 282"/>
                <a:gd name="T19" fmla="*/ 2147483647 h 260"/>
                <a:gd name="T20" fmla="*/ 2147483647 w 282"/>
                <a:gd name="T21" fmla="*/ 2147483647 h 260"/>
                <a:gd name="T22" fmla="*/ 2147483647 w 282"/>
                <a:gd name="T23" fmla="*/ 2147483647 h 260"/>
                <a:gd name="T24" fmla="*/ 2147483647 w 282"/>
                <a:gd name="T25" fmla="*/ 2147483647 h 260"/>
                <a:gd name="T26" fmla="*/ 2147483647 w 282"/>
                <a:gd name="T27" fmla="*/ 2147483647 h 260"/>
                <a:gd name="T28" fmla="*/ 2147483647 w 282"/>
                <a:gd name="T29" fmla="*/ 2147483647 h 260"/>
                <a:gd name="T30" fmla="*/ 2147483647 w 282"/>
                <a:gd name="T31" fmla="*/ 2147483647 h 260"/>
                <a:gd name="T32" fmla="*/ 2147483647 w 282"/>
                <a:gd name="T33" fmla="*/ 2147483647 h 260"/>
                <a:gd name="T34" fmla="*/ 2147483647 w 282"/>
                <a:gd name="T35" fmla="*/ 2147483647 h 260"/>
                <a:gd name="T36" fmla="*/ 2147483647 w 282"/>
                <a:gd name="T37" fmla="*/ 2147483647 h 260"/>
                <a:gd name="T38" fmla="*/ 2147483647 w 282"/>
                <a:gd name="T39" fmla="*/ 2147483647 h 260"/>
                <a:gd name="T40" fmla="*/ 2147483647 w 282"/>
                <a:gd name="T41" fmla="*/ 2147483647 h 260"/>
                <a:gd name="T42" fmla="*/ 2147483647 w 282"/>
                <a:gd name="T43" fmla="*/ 2147483647 h 260"/>
                <a:gd name="T44" fmla="*/ 2147483647 w 282"/>
                <a:gd name="T45" fmla="*/ 2147483647 h 260"/>
                <a:gd name="T46" fmla="*/ 2147483647 w 282"/>
                <a:gd name="T47" fmla="*/ 2147483647 h 260"/>
                <a:gd name="T48" fmla="*/ 2147483647 w 282"/>
                <a:gd name="T49" fmla="*/ 2147483647 h 260"/>
                <a:gd name="T50" fmla="*/ 2147483647 w 282"/>
                <a:gd name="T51" fmla="*/ 2147483647 h 260"/>
                <a:gd name="T52" fmla="*/ 2147483647 w 282"/>
                <a:gd name="T53" fmla="*/ 2147483647 h 260"/>
                <a:gd name="T54" fmla="*/ 0 w 282"/>
                <a:gd name="T55" fmla="*/ 2147483647 h 260"/>
                <a:gd name="T56" fmla="*/ 2147483647 w 282"/>
                <a:gd name="T57" fmla="*/ 2147483647 h 260"/>
                <a:gd name="T58" fmla="*/ 2147483647 w 282"/>
                <a:gd name="T59" fmla="*/ 2147483647 h 260"/>
                <a:gd name="T60" fmla="*/ 2147483647 w 282"/>
                <a:gd name="T61" fmla="*/ 2147483647 h 260"/>
                <a:gd name="T62" fmla="*/ 2147483647 w 282"/>
                <a:gd name="T63" fmla="*/ 2147483647 h 260"/>
                <a:gd name="T64" fmla="*/ 2147483647 w 282"/>
                <a:gd name="T65" fmla="*/ 2147483647 h 260"/>
                <a:gd name="T66" fmla="*/ 2147483647 w 282"/>
                <a:gd name="T67" fmla="*/ 2147483647 h 260"/>
                <a:gd name="T68" fmla="*/ 2147483647 w 282"/>
                <a:gd name="T69" fmla="*/ 2147483647 h 260"/>
                <a:gd name="T70" fmla="*/ 2147483647 w 282"/>
                <a:gd name="T71" fmla="*/ 2147483647 h 260"/>
                <a:gd name="T72" fmla="*/ 2147483647 w 282"/>
                <a:gd name="T73" fmla="*/ 2147483647 h 260"/>
                <a:gd name="T74" fmla="*/ 2147483647 w 282"/>
                <a:gd name="T75" fmla="*/ 2147483647 h 260"/>
                <a:gd name="T76" fmla="*/ 2147483647 w 282"/>
                <a:gd name="T77" fmla="*/ 2147483647 h 260"/>
                <a:gd name="T78" fmla="*/ 2147483647 w 282"/>
                <a:gd name="T79" fmla="*/ 2147483647 h 260"/>
                <a:gd name="T80" fmla="*/ 2147483647 w 282"/>
                <a:gd name="T81" fmla="*/ 2147483647 h 260"/>
                <a:gd name="T82" fmla="*/ 2147483647 w 282"/>
                <a:gd name="T83" fmla="*/ 2147483647 h 260"/>
                <a:gd name="T84" fmla="*/ 2147483647 w 282"/>
                <a:gd name="T85" fmla="*/ 2147483647 h 260"/>
                <a:gd name="T86" fmla="*/ 2147483647 w 282"/>
                <a:gd name="T87" fmla="*/ 2147483647 h 260"/>
                <a:gd name="T88" fmla="*/ 2147483647 w 282"/>
                <a:gd name="T89" fmla="*/ 2147483647 h 260"/>
                <a:gd name="T90" fmla="*/ 2147483647 w 282"/>
                <a:gd name="T91" fmla="*/ 2147483647 h 260"/>
                <a:gd name="T92" fmla="*/ 2147483647 w 282"/>
                <a:gd name="T93" fmla="*/ 2147483647 h 260"/>
                <a:gd name="T94" fmla="*/ 2147483647 w 282"/>
                <a:gd name="T95" fmla="*/ 2147483647 h 260"/>
                <a:gd name="T96" fmla="*/ 2147483647 w 282"/>
                <a:gd name="T97" fmla="*/ 2147483647 h 260"/>
                <a:gd name="T98" fmla="*/ 2147483647 w 282"/>
                <a:gd name="T99" fmla="*/ 2147483647 h 260"/>
                <a:gd name="T100" fmla="*/ 2147483647 w 282"/>
                <a:gd name="T101" fmla="*/ 2147483647 h 260"/>
                <a:gd name="T102" fmla="*/ 2147483647 w 282"/>
                <a:gd name="T103" fmla="*/ 2147483647 h 260"/>
                <a:gd name="T104" fmla="*/ 2147483647 w 282"/>
                <a:gd name="T105" fmla="*/ 2147483647 h 260"/>
                <a:gd name="T106" fmla="*/ 2147483647 w 282"/>
                <a:gd name="T107" fmla="*/ 2147483647 h 260"/>
                <a:gd name="T108" fmla="*/ 2147483647 w 282"/>
                <a:gd name="T109" fmla="*/ 2147483647 h 260"/>
                <a:gd name="T110" fmla="*/ 2147483647 w 282"/>
                <a:gd name="T111" fmla="*/ 2147483647 h 260"/>
                <a:gd name="T112" fmla="*/ 2147483647 w 282"/>
                <a:gd name="T113" fmla="*/ 2147483647 h 260"/>
                <a:gd name="T114" fmla="*/ 2147483647 w 282"/>
                <a:gd name="T115" fmla="*/ 2147483647 h 260"/>
                <a:gd name="T116" fmla="*/ 2147483647 w 282"/>
                <a:gd name="T117" fmla="*/ 2147483647 h 260"/>
                <a:gd name="T118" fmla="*/ 2147483647 w 282"/>
                <a:gd name="T119" fmla="*/ 2147483647 h 260"/>
                <a:gd name="T120" fmla="*/ 2147483647 w 282"/>
                <a:gd name="T121" fmla="*/ 2147483647 h 2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82"/>
                <a:gd name="T184" fmla="*/ 0 h 260"/>
                <a:gd name="T185" fmla="*/ 282 w 282"/>
                <a:gd name="T186" fmla="*/ 260 h 2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82" h="260">
                  <a:moveTo>
                    <a:pt x="194" y="103"/>
                  </a:moveTo>
                  <a:lnTo>
                    <a:pt x="199" y="105"/>
                  </a:lnTo>
                  <a:lnTo>
                    <a:pt x="207" y="109"/>
                  </a:lnTo>
                  <a:lnTo>
                    <a:pt x="217" y="111"/>
                  </a:lnTo>
                  <a:lnTo>
                    <a:pt x="222" y="111"/>
                  </a:lnTo>
                  <a:lnTo>
                    <a:pt x="224" y="109"/>
                  </a:lnTo>
                  <a:lnTo>
                    <a:pt x="228" y="107"/>
                  </a:lnTo>
                  <a:lnTo>
                    <a:pt x="232" y="111"/>
                  </a:lnTo>
                  <a:lnTo>
                    <a:pt x="238" y="117"/>
                  </a:lnTo>
                  <a:lnTo>
                    <a:pt x="240" y="119"/>
                  </a:lnTo>
                  <a:lnTo>
                    <a:pt x="244" y="120"/>
                  </a:lnTo>
                  <a:lnTo>
                    <a:pt x="245" y="132"/>
                  </a:lnTo>
                  <a:lnTo>
                    <a:pt x="247" y="145"/>
                  </a:lnTo>
                  <a:lnTo>
                    <a:pt x="249" y="147"/>
                  </a:lnTo>
                  <a:lnTo>
                    <a:pt x="251" y="149"/>
                  </a:lnTo>
                  <a:lnTo>
                    <a:pt x="255" y="153"/>
                  </a:lnTo>
                  <a:lnTo>
                    <a:pt x="257" y="155"/>
                  </a:lnTo>
                  <a:lnTo>
                    <a:pt x="259" y="157"/>
                  </a:lnTo>
                  <a:lnTo>
                    <a:pt x="261" y="159"/>
                  </a:lnTo>
                  <a:lnTo>
                    <a:pt x="265" y="163"/>
                  </a:lnTo>
                  <a:lnTo>
                    <a:pt x="267" y="165"/>
                  </a:lnTo>
                  <a:lnTo>
                    <a:pt x="269" y="166"/>
                  </a:lnTo>
                  <a:lnTo>
                    <a:pt x="272" y="168"/>
                  </a:lnTo>
                  <a:lnTo>
                    <a:pt x="274" y="176"/>
                  </a:lnTo>
                  <a:lnTo>
                    <a:pt x="276" y="184"/>
                  </a:lnTo>
                  <a:lnTo>
                    <a:pt x="278" y="186"/>
                  </a:lnTo>
                  <a:lnTo>
                    <a:pt x="282" y="189"/>
                  </a:lnTo>
                  <a:lnTo>
                    <a:pt x="276" y="195"/>
                  </a:lnTo>
                  <a:lnTo>
                    <a:pt x="272" y="203"/>
                  </a:lnTo>
                  <a:lnTo>
                    <a:pt x="267" y="203"/>
                  </a:lnTo>
                  <a:lnTo>
                    <a:pt x="261" y="203"/>
                  </a:lnTo>
                  <a:lnTo>
                    <a:pt x="257" y="213"/>
                  </a:lnTo>
                  <a:lnTo>
                    <a:pt x="251" y="222"/>
                  </a:lnTo>
                  <a:lnTo>
                    <a:pt x="242" y="226"/>
                  </a:lnTo>
                  <a:lnTo>
                    <a:pt x="232" y="232"/>
                  </a:lnTo>
                  <a:lnTo>
                    <a:pt x="205" y="236"/>
                  </a:lnTo>
                  <a:lnTo>
                    <a:pt x="182" y="241"/>
                  </a:lnTo>
                  <a:lnTo>
                    <a:pt x="161" y="249"/>
                  </a:lnTo>
                  <a:lnTo>
                    <a:pt x="136" y="260"/>
                  </a:lnTo>
                  <a:lnTo>
                    <a:pt x="130" y="251"/>
                  </a:lnTo>
                  <a:lnTo>
                    <a:pt x="127" y="241"/>
                  </a:lnTo>
                  <a:lnTo>
                    <a:pt x="121" y="237"/>
                  </a:lnTo>
                  <a:lnTo>
                    <a:pt x="117" y="232"/>
                  </a:lnTo>
                  <a:lnTo>
                    <a:pt x="98" y="230"/>
                  </a:lnTo>
                  <a:lnTo>
                    <a:pt x="79" y="226"/>
                  </a:lnTo>
                  <a:lnTo>
                    <a:pt x="57" y="224"/>
                  </a:lnTo>
                  <a:lnTo>
                    <a:pt x="40" y="222"/>
                  </a:lnTo>
                  <a:lnTo>
                    <a:pt x="38" y="211"/>
                  </a:lnTo>
                  <a:lnTo>
                    <a:pt x="38" y="205"/>
                  </a:lnTo>
                  <a:lnTo>
                    <a:pt x="34" y="203"/>
                  </a:lnTo>
                  <a:lnTo>
                    <a:pt x="29" y="203"/>
                  </a:lnTo>
                  <a:lnTo>
                    <a:pt x="29" y="188"/>
                  </a:lnTo>
                  <a:lnTo>
                    <a:pt x="29" y="174"/>
                  </a:lnTo>
                  <a:lnTo>
                    <a:pt x="15" y="174"/>
                  </a:lnTo>
                  <a:lnTo>
                    <a:pt x="0" y="174"/>
                  </a:lnTo>
                  <a:lnTo>
                    <a:pt x="0" y="170"/>
                  </a:lnTo>
                  <a:lnTo>
                    <a:pt x="0" y="168"/>
                  </a:lnTo>
                  <a:lnTo>
                    <a:pt x="4" y="166"/>
                  </a:lnTo>
                  <a:lnTo>
                    <a:pt x="6" y="165"/>
                  </a:lnTo>
                  <a:lnTo>
                    <a:pt x="8" y="159"/>
                  </a:lnTo>
                  <a:lnTo>
                    <a:pt x="9" y="145"/>
                  </a:lnTo>
                  <a:lnTo>
                    <a:pt x="8" y="132"/>
                  </a:lnTo>
                  <a:lnTo>
                    <a:pt x="6" y="126"/>
                  </a:lnTo>
                  <a:lnTo>
                    <a:pt x="4" y="122"/>
                  </a:lnTo>
                  <a:lnTo>
                    <a:pt x="0" y="120"/>
                  </a:lnTo>
                  <a:lnTo>
                    <a:pt x="4" y="119"/>
                  </a:lnTo>
                  <a:lnTo>
                    <a:pt x="6" y="117"/>
                  </a:lnTo>
                  <a:lnTo>
                    <a:pt x="11" y="113"/>
                  </a:lnTo>
                  <a:lnTo>
                    <a:pt x="19" y="111"/>
                  </a:lnTo>
                  <a:lnTo>
                    <a:pt x="23" y="109"/>
                  </a:lnTo>
                  <a:lnTo>
                    <a:pt x="25" y="107"/>
                  </a:lnTo>
                  <a:lnTo>
                    <a:pt x="27" y="103"/>
                  </a:lnTo>
                  <a:lnTo>
                    <a:pt x="29" y="101"/>
                  </a:lnTo>
                  <a:lnTo>
                    <a:pt x="33" y="99"/>
                  </a:lnTo>
                  <a:lnTo>
                    <a:pt x="34" y="97"/>
                  </a:lnTo>
                  <a:lnTo>
                    <a:pt x="46" y="94"/>
                  </a:lnTo>
                  <a:lnTo>
                    <a:pt x="59" y="92"/>
                  </a:lnTo>
                  <a:lnTo>
                    <a:pt x="61" y="90"/>
                  </a:lnTo>
                  <a:lnTo>
                    <a:pt x="63" y="86"/>
                  </a:lnTo>
                  <a:lnTo>
                    <a:pt x="65" y="84"/>
                  </a:lnTo>
                  <a:lnTo>
                    <a:pt x="69" y="82"/>
                  </a:lnTo>
                  <a:lnTo>
                    <a:pt x="71" y="80"/>
                  </a:lnTo>
                  <a:lnTo>
                    <a:pt x="73" y="76"/>
                  </a:lnTo>
                  <a:lnTo>
                    <a:pt x="100" y="74"/>
                  </a:lnTo>
                  <a:lnTo>
                    <a:pt x="127" y="72"/>
                  </a:lnTo>
                  <a:lnTo>
                    <a:pt x="128" y="71"/>
                  </a:lnTo>
                  <a:lnTo>
                    <a:pt x="132" y="69"/>
                  </a:lnTo>
                  <a:lnTo>
                    <a:pt x="132" y="44"/>
                  </a:lnTo>
                  <a:lnTo>
                    <a:pt x="132" y="19"/>
                  </a:lnTo>
                  <a:lnTo>
                    <a:pt x="128" y="17"/>
                  </a:lnTo>
                  <a:lnTo>
                    <a:pt x="127" y="15"/>
                  </a:lnTo>
                  <a:lnTo>
                    <a:pt x="128" y="11"/>
                  </a:lnTo>
                  <a:lnTo>
                    <a:pt x="132" y="9"/>
                  </a:lnTo>
                  <a:lnTo>
                    <a:pt x="138" y="7"/>
                  </a:lnTo>
                  <a:lnTo>
                    <a:pt x="146" y="5"/>
                  </a:lnTo>
                  <a:lnTo>
                    <a:pt x="148" y="1"/>
                  </a:lnTo>
                  <a:lnTo>
                    <a:pt x="150" y="0"/>
                  </a:lnTo>
                  <a:lnTo>
                    <a:pt x="153" y="1"/>
                  </a:lnTo>
                  <a:lnTo>
                    <a:pt x="155" y="5"/>
                  </a:lnTo>
                  <a:lnTo>
                    <a:pt x="155" y="11"/>
                  </a:lnTo>
                  <a:lnTo>
                    <a:pt x="155" y="19"/>
                  </a:lnTo>
                  <a:lnTo>
                    <a:pt x="176" y="19"/>
                  </a:lnTo>
                  <a:lnTo>
                    <a:pt x="199" y="19"/>
                  </a:lnTo>
                  <a:lnTo>
                    <a:pt x="201" y="21"/>
                  </a:lnTo>
                  <a:lnTo>
                    <a:pt x="203" y="24"/>
                  </a:lnTo>
                  <a:lnTo>
                    <a:pt x="205" y="26"/>
                  </a:lnTo>
                  <a:lnTo>
                    <a:pt x="209" y="28"/>
                  </a:lnTo>
                  <a:lnTo>
                    <a:pt x="211" y="32"/>
                  </a:lnTo>
                  <a:lnTo>
                    <a:pt x="213" y="34"/>
                  </a:lnTo>
                  <a:lnTo>
                    <a:pt x="211" y="36"/>
                  </a:lnTo>
                  <a:lnTo>
                    <a:pt x="209" y="38"/>
                  </a:lnTo>
                  <a:lnTo>
                    <a:pt x="205" y="42"/>
                  </a:lnTo>
                  <a:lnTo>
                    <a:pt x="203" y="44"/>
                  </a:lnTo>
                  <a:lnTo>
                    <a:pt x="201" y="46"/>
                  </a:lnTo>
                  <a:lnTo>
                    <a:pt x="199" y="48"/>
                  </a:lnTo>
                  <a:lnTo>
                    <a:pt x="196" y="49"/>
                  </a:lnTo>
                  <a:lnTo>
                    <a:pt x="194" y="53"/>
                  </a:lnTo>
                  <a:lnTo>
                    <a:pt x="192" y="55"/>
                  </a:lnTo>
                  <a:lnTo>
                    <a:pt x="190" y="57"/>
                  </a:lnTo>
                  <a:lnTo>
                    <a:pt x="186" y="67"/>
                  </a:lnTo>
                  <a:lnTo>
                    <a:pt x="184" y="76"/>
                  </a:lnTo>
                  <a:lnTo>
                    <a:pt x="190" y="90"/>
                  </a:lnTo>
                  <a:lnTo>
                    <a:pt x="194" y="103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9" name="Freeform 289">
              <a:extLst>
                <a:ext uri="{FF2B5EF4-FFF2-40B4-BE49-F238E27FC236}">
                  <a16:creationId xmlns:a16="http://schemas.microsoft.com/office/drawing/2014/main" xmlns="" id="{82E39C25-058C-FA48-AAEF-56D3C2F85E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0613" y="5452878"/>
              <a:ext cx="776287" cy="430213"/>
            </a:xfrm>
            <a:custGeom>
              <a:avLst/>
              <a:gdLst>
                <a:gd name="T0" fmla="*/ 2147483647 w 502"/>
                <a:gd name="T1" fmla="*/ 2147483647 h 289"/>
                <a:gd name="T2" fmla="*/ 2147483647 w 502"/>
                <a:gd name="T3" fmla="*/ 2147483647 h 289"/>
                <a:gd name="T4" fmla="*/ 2147483647 w 502"/>
                <a:gd name="T5" fmla="*/ 2147483647 h 289"/>
                <a:gd name="T6" fmla="*/ 2147483647 w 502"/>
                <a:gd name="T7" fmla="*/ 2147483647 h 289"/>
                <a:gd name="T8" fmla="*/ 2147483647 w 502"/>
                <a:gd name="T9" fmla="*/ 2147483647 h 289"/>
                <a:gd name="T10" fmla="*/ 2147483647 w 502"/>
                <a:gd name="T11" fmla="*/ 2147483647 h 289"/>
                <a:gd name="T12" fmla="*/ 2147483647 w 502"/>
                <a:gd name="T13" fmla="*/ 2147483647 h 289"/>
                <a:gd name="T14" fmla="*/ 2147483647 w 502"/>
                <a:gd name="T15" fmla="*/ 2147483647 h 289"/>
                <a:gd name="T16" fmla="*/ 2147483647 w 502"/>
                <a:gd name="T17" fmla="*/ 2147483647 h 289"/>
                <a:gd name="T18" fmla="*/ 2147483647 w 502"/>
                <a:gd name="T19" fmla="*/ 2147483647 h 289"/>
                <a:gd name="T20" fmla="*/ 2147483647 w 502"/>
                <a:gd name="T21" fmla="*/ 2147483647 h 289"/>
                <a:gd name="T22" fmla="*/ 0 w 502"/>
                <a:gd name="T23" fmla="*/ 2147483647 h 289"/>
                <a:gd name="T24" fmla="*/ 2147483647 w 502"/>
                <a:gd name="T25" fmla="*/ 2147483647 h 289"/>
                <a:gd name="T26" fmla="*/ 2147483647 w 502"/>
                <a:gd name="T27" fmla="*/ 2147483647 h 289"/>
                <a:gd name="T28" fmla="*/ 2147483647 w 502"/>
                <a:gd name="T29" fmla="*/ 2147483647 h 289"/>
                <a:gd name="T30" fmla="*/ 2147483647 w 502"/>
                <a:gd name="T31" fmla="*/ 2147483647 h 289"/>
                <a:gd name="T32" fmla="*/ 2147483647 w 502"/>
                <a:gd name="T33" fmla="*/ 2147483647 h 289"/>
                <a:gd name="T34" fmla="*/ 2147483647 w 502"/>
                <a:gd name="T35" fmla="*/ 2147483647 h 289"/>
                <a:gd name="T36" fmla="*/ 2147483647 w 502"/>
                <a:gd name="T37" fmla="*/ 2147483647 h 289"/>
                <a:gd name="T38" fmla="*/ 2147483647 w 502"/>
                <a:gd name="T39" fmla="*/ 2147483647 h 289"/>
                <a:gd name="T40" fmla="*/ 2147483647 w 502"/>
                <a:gd name="T41" fmla="*/ 2147483647 h 289"/>
                <a:gd name="T42" fmla="*/ 2147483647 w 502"/>
                <a:gd name="T43" fmla="*/ 2147483647 h 289"/>
                <a:gd name="T44" fmla="*/ 2147483647 w 502"/>
                <a:gd name="T45" fmla="*/ 2147483647 h 289"/>
                <a:gd name="T46" fmla="*/ 2147483647 w 502"/>
                <a:gd name="T47" fmla="*/ 2147483647 h 289"/>
                <a:gd name="T48" fmla="*/ 2147483647 w 502"/>
                <a:gd name="T49" fmla="*/ 2147483647 h 289"/>
                <a:gd name="T50" fmla="*/ 2147483647 w 502"/>
                <a:gd name="T51" fmla="*/ 2147483647 h 289"/>
                <a:gd name="T52" fmla="*/ 2147483647 w 502"/>
                <a:gd name="T53" fmla="*/ 2147483647 h 289"/>
                <a:gd name="T54" fmla="*/ 2147483647 w 502"/>
                <a:gd name="T55" fmla="*/ 2147483647 h 289"/>
                <a:gd name="T56" fmla="*/ 2147483647 w 502"/>
                <a:gd name="T57" fmla="*/ 2147483647 h 289"/>
                <a:gd name="T58" fmla="*/ 2147483647 w 502"/>
                <a:gd name="T59" fmla="*/ 2147483647 h 289"/>
                <a:gd name="T60" fmla="*/ 2147483647 w 502"/>
                <a:gd name="T61" fmla="*/ 2147483647 h 289"/>
                <a:gd name="T62" fmla="*/ 2147483647 w 502"/>
                <a:gd name="T63" fmla="*/ 2147483647 h 289"/>
                <a:gd name="T64" fmla="*/ 2147483647 w 502"/>
                <a:gd name="T65" fmla="*/ 2147483647 h 289"/>
                <a:gd name="T66" fmla="*/ 2147483647 w 502"/>
                <a:gd name="T67" fmla="*/ 2147483647 h 289"/>
                <a:gd name="T68" fmla="*/ 2147483647 w 502"/>
                <a:gd name="T69" fmla="*/ 0 h 289"/>
                <a:gd name="T70" fmla="*/ 2147483647 w 502"/>
                <a:gd name="T71" fmla="*/ 2147483647 h 289"/>
                <a:gd name="T72" fmla="*/ 2147483647 w 502"/>
                <a:gd name="T73" fmla="*/ 2147483647 h 289"/>
                <a:gd name="T74" fmla="*/ 2147483647 w 502"/>
                <a:gd name="T75" fmla="*/ 2147483647 h 289"/>
                <a:gd name="T76" fmla="*/ 2147483647 w 502"/>
                <a:gd name="T77" fmla="*/ 2147483647 h 289"/>
                <a:gd name="T78" fmla="*/ 2147483647 w 502"/>
                <a:gd name="T79" fmla="*/ 2147483647 h 289"/>
                <a:gd name="T80" fmla="*/ 2147483647 w 502"/>
                <a:gd name="T81" fmla="*/ 2147483647 h 289"/>
                <a:gd name="T82" fmla="*/ 2147483647 w 502"/>
                <a:gd name="T83" fmla="*/ 2147483647 h 289"/>
                <a:gd name="T84" fmla="*/ 2147483647 w 502"/>
                <a:gd name="T85" fmla="*/ 2147483647 h 289"/>
                <a:gd name="T86" fmla="*/ 2147483647 w 502"/>
                <a:gd name="T87" fmla="*/ 2147483647 h 289"/>
                <a:gd name="T88" fmla="*/ 2147483647 w 502"/>
                <a:gd name="T89" fmla="*/ 2147483647 h 289"/>
                <a:gd name="T90" fmla="*/ 2147483647 w 502"/>
                <a:gd name="T91" fmla="*/ 2147483647 h 289"/>
                <a:gd name="T92" fmla="*/ 2147483647 w 502"/>
                <a:gd name="T93" fmla="*/ 2147483647 h 289"/>
                <a:gd name="T94" fmla="*/ 2147483647 w 502"/>
                <a:gd name="T95" fmla="*/ 2147483647 h 289"/>
                <a:gd name="T96" fmla="*/ 2147483647 w 502"/>
                <a:gd name="T97" fmla="*/ 2147483647 h 289"/>
                <a:gd name="T98" fmla="*/ 2147483647 w 502"/>
                <a:gd name="T99" fmla="*/ 2147483647 h 289"/>
                <a:gd name="T100" fmla="*/ 2147483647 w 502"/>
                <a:gd name="T101" fmla="*/ 2147483647 h 28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02"/>
                <a:gd name="T154" fmla="*/ 0 h 289"/>
                <a:gd name="T155" fmla="*/ 502 w 502"/>
                <a:gd name="T156" fmla="*/ 289 h 28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02" h="289">
                  <a:moveTo>
                    <a:pt x="289" y="280"/>
                  </a:moveTo>
                  <a:lnTo>
                    <a:pt x="293" y="272"/>
                  </a:lnTo>
                  <a:lnTo>
                    <a:pt x="299" y="264"/>
                  </a:lnTo>
                  <a:lnTo>
                    <a:pt x="285" y="253"/>
                  </a:lnTo>
                  <a:lnTo>
                    <a:pt x="270" y="243"/>
                  </a:lnTo>
                  <a:lnTo>
                    <a:pt x="257" y="236"/>
                  </a:lnTo>
                  <a:lnTo>
                    <a:pt x="239" y="230"/>
                  </a:lnTo>
                  <a:lnTo>
                    <a:pt x="224" y="228"/>
                  </a:lnTo>
                  <a:lnTo>
                    <a:pt x="209" y="226"/>
                  </a:lnTo>
                  <a:lnTo>
                    <a:pt x="191" y="228"/>
                  </a:lnTo>
                  <a:lnTo>
                    <a:pt x="174" y="230"/>
                  </a:lnTo>
                  <a:lnTo>
                    <a:pt x="142" y="238"/>
                  </a:lnTo>
                  <a:lnTo>
                    <a:pt x="109" y="251"/>
                  </a:lnTo>
                  <a:lnTo>
                    <a:pt x="76" y="264"/>
                  </a:lnTo>
                  <a:lnTo>
                    <a:pt x="48" y="280"/>
                  </a:lnTo>
                  <a:lnTo>
                    <a:pt x="44" y="280"/>
                  </a:lnTo>
                  <a:lnTo>
                    <a:pt x="42" y="280"/>
                  </a:lnTo>
                  <a:lnTo>
                    <a:pt x="40" y="278"/>
                  </a:lnTo>
                  <a:lnTo>
                    <a:pt x="38" y="274"/>
                  </a:lnTo>
                  <a:lnTo>
                    <a:pt x="34" y="268"/>
                  </a:lnTo>
                  <a:lnTo>
                    <a:pt x="32" y="261"/>
                  </a:lnTo>
                  <a:lnTo>
                    <a:pt x="30" y="259"/>
                  </a:lnTo>
                  <a:lnTo>
                    <a:pt x="28" y="255"/>
                  </a:lnTo>
                  <a:lnTo>
                    <a:pt x="25" y="253"/>
                  </a:lnTo>
                  <a:lnTo>
                    <a:pt x="23" y="251"/>
                  </a:lnTo>
                  <a:lnTo>
                    <a:pt x="21" y="249"/>
                  </a:lnTo>
                  <a:lnTo>
                    <a:pt x="17" y="245"/>
                  </a:lnTo>
                  <a:lnTo>
                    <a:pt x="15" y="243"/>
                  </a:lnTo>
                  <a:lnTo>
                    <a:pt x="13" y="241"/>
                  </a:lnTo>
                  <a:lnTo>
                    <a:pt x="11" y="238"/>
                  </a:lnTo>
                  <a:lnTo>
                    <a:pt x="7" y="236"/>
                  </a:lnTo>
                  <a:lnTo>
                    <a:pt x="5" y="224"/>
                  </a:lnTo>
                  <a:lnTo>
                    <a:pt x="3" y="213"/>
                  </a:lnTo>
                  <a:lnTo>
                    <a:pt x="1" y="209"/>
                  </a:lnTo>
                  <a:lnTo>
                    <a:pt x="0" y="207"/>
                  </a:lnTo>
                  <a:lnTo>
                    <a:pt x="0" y="199"/>
                  </a:lnTo>
                  <a:lnTo>
                    <a:pt x="0" y="193"/>
                  </a:lnTo>
                  <a:lnTo>
                    <a:pt x="17" y="190"/>
                  </a:lnTo>
                  <a:lnTo>
                    <a:pt x="38" y="188"/>
                  </a:lnTo>
                  <a:lnTo>
                    <a:pt x="40" y="186"/>
                  </a:lnTo>
                  <a:lnTo>
                    <a:pt x="42" y="182"/>
                  </a:lnTo>
                  <a:lnTo>
                    <a:pt x="49" y="182"/>
                  </a:lnTo>
                  <a:lnTo>
                    <a:pt x="57" y="182"/>
                  </a:lnTo>
                  <a:lnTo>
                    <a:pt x="57" y="170"/>
                  </a:lnTo>
                  <a:lnTo>
                    <a:pt x="57" y="159"/>
                  </a:lnTo>
                  <a:lnTo>
                    <a:pt x="59" y="157"/>
                  </a:lnTo>
                  <a:lnTo>
                    <a:pt x="61" y="153"/>
                  </a:lnTo>
                  <a:lnTo>
                    <a:pt x="71" y="149"/>
                  </a:lnTo>
                  <a:lnTo>
                    <a:pt x="80" y="144"/>
                  </a:lnTo>
                  <a:lnTo>
                    <a:pt x="82" y="145"/>
                  </a:lnTo>
                  <a:lnTo>
                    <a:pt x="86" y="149"/>
                  </a:lnTo>
                  <a:lnTo>
                    <a:pt x="88" y="151"/>
                  </a:lnTo>
                  <a:lnTo>
                    <a:pt x="90" y="153"/>
                  </a:lnTo>
                  <a:lnTo>
                    <a:pt x="94" y="157"/>
                  </a:lnTo>
                  <a:lnTo>
                    <a:pt x="96" y="159"/>
                  </a:lnTo>
                  <a:lnTo>
                    <a:pt x="113" y="161"/>
                  </a:lnTo>
                  <a:lnTo>
                    <a:pt x="128" y="165"/>
                  </a:lnTo>
                  <a:lnTo>
                    <a:pt x="132" y="167"/>
                  </a:lnTo>
                  <a:lnTo>
                    <a:pt x="134" y="168"/>
                  </a:lnTo>
                  <a:lnTo>
                    <a:pt x="151" y="168"/>
                  </a:lnTo>
                  <a:lnTo>
                    <a:pt x="168" y="168"/>
                  </a:lnTo>
                  <a:lnTo>
                    <a:pt x="184" y="168"/>
                  </a:lnTo>
                  <a:lnTo>
                    <a:pt x="201" y="168"/>
                  </a:lnTo>
                  <a:lnTo>
                    <a:pt x="205" y="167"/>
                  </a:lnTo>
                  <a:lnTo>
                    <a:pt x="207" y="165"/>
                  </a:lnTo>
                  <a:lnTo>
                    <a:pt x="209" y="161"/>
                  </a:lnTo>
                  <a:lnTo>
                    <a:pt x="211" y="159"/>
                  </a:lnTo>
                  <a:lnTo>
                    <a:pt x="213" y="157"/>
                  </a:lnTo>
                  <a:lnTo>
                    <a:pt x="216" y="153"/>
                  </a:lnTo>
                  <a:lnTo>
                    <a:pt x="218" y="151"/>
                  </a:lnTo>
                  <a:lnTo>
                    <a:pt x="220" y="149"/>
                  </a:lnTo>
                  <a:lnTo>
                    <a:pt x="222" y="145"/>
                  </a:lnTo>
                  <a:lnTo>
                    <a:pt x="226" y="144"/>
                  </a:lnTo>
                  <a:lnTo>
                    <a:pt x="228" y="142"/>
                  </a:lnTo>
                  <a:lnTo>
                    <a:pt x="230" y="140"/>
                  </a:lnTo>
                  <a:lnTo>
                    <a:pt x="234" y="138"/>
                  </a:lnTo>
                  <a:lnTo>
                    <a:pt x="236" y="134"/>
                  </a:lnTo>
                  <a:lnTo>
                    <a:pt x="237" y="126"/>
                  </a:lnTo>
                  <a:lnTo>
                    <a:pt x="239" y="120"/>
                  </a:lnTo>
                  <a:lnTo>
                    <a:pt x="243" y="117"/>
                  </a:lnTo>
                  <a:lnTo>
                    <a:pt x="245" y="115"/>
                  </a:lnTo>
                  <a:lnTo>
                    <a:pt x="247" y="107"/>
                  </a:lnTo>
                  <a:lnTo>
                    <a:pt x="249" y="101"/>
                  </a:lnTo>
                  <a:lnTo>
                    <a:pt x="253" y="97"/>
                  </a:lnTo>
                  <a:lnTo>
                    <a:pt x="255" y="96"/>
                  </a:lnTo>
                  <a:lnTo>
                    <a:pt x="262" y="88"/>
                  </a:lnTo>
                  <a:lnTo>
                    <a:pt x="270" y="82"/>
                  </a:lnTo>
                  <a:lnTo>
                    <a:pt x="272" y="78"/>
                  </a:lnTo>
                  <a:lnTo>
                    <a:pt x="274" y="76"/>
                  </a:lnTo>
                  <a:lnTo>
                    <a:pt x="276" y="65"/>
                  </a:lnTo>
                  <a:lnTo>
                    <a:pt x="280" y="53"/>
                  </a:lnTo>
                  <a:lnTo>
                    <a:pt x="282" y="49"/>
                  </a:lnTo>
                  <a:lnTo>
                    <a:pt x="284" y="48"/>
                  </a:lnTo>
                  <a:lnTo>
                    <a:pt x="285" y="40"/>
                  </a:lnTo>
                  <a:lnTo>
                    <a:pt x="289" y="32"/>
                  </a:lnTo>
                  <a:lnTo>
                    <a:pt x="291" y="30"/>
                  </a:lnTo>
                  <a:lnTo>
                    <a:pt x="293" y="28"/>
                  </a:lnTo>
                  <a:lnTo>
                    <a:pt x="310" y="26"/>
                  </a:lnTo>
                  <a:lnTo>
                    <a:pt x="328" y="23"/>
                  </a:lnTo>
                  <a:lnTo>
                    <a:pt x="330" y="21"/>
                  </a:lnTo>
                  <a:lnTo>
                    <a:pt x="331" y="19"/>
                  </a:lnTo>
                  <a:lnTo>
                    <a:pt x="355" y="19"/>
                  </a:lnTo>
                  <a:lnTo>
                    <a:pt x="376" y="19"/>
                  </a:lnTo>
                  <a:lnTo>
                    <a:pt x="376" y="9"/>
                  </a:lnTo>
                  <a:lnTo>
                    <a:pt x="376" y="0"/>
                  </a:lnTo>
                  <a:lnTo>
                    <a:pt x="383" y="0"/>
                  </a:lnTo>
                  <a:lnTo>
                    <a:pt x="391" y="0"/>
                  </a:lnTo>
                  <a:lnTo>
                    <a:pt x="393" y="2"/>
                  </a:lnTo>
                  <a:lnTo>
                    <a:pt x="395" y="3"/>
                  </a:lnTo>
                  <a:lnTo>
                    <a:pt x="402" y="5"/>
                  </a:lnTo>
                  <a:lnTo>
                    <a:pt x="410" y="9"/>
                  </a:lnTo>
                  <a:lnTo>
                    <a:pt x="412" y="11"/>
                  </a:lnTo>
                  <a:lnTo>
                    <a:pt x="414" y="13"/>
                  </a:lnTo>
                  <a:lnTo>
                    <a:pt x="416" y="17"/>
                  </a:lnTo>
                  <a:lnTo>
                    <a:pt x="420" y="19"/>
                  </a:lnTo>
                  <a:lnTo>
                    <a:pt x="422" y="21"/>
                  </a:lnTo>
                  <a:lnTo>
                    <a:pt x="424" y="23"/>
                  </a:lnTo>
                  <a:lnTo>
                    <a:pt x="431" y="26"/>
                  </a:lnTo>
                  <a:lnTo>
                    <a:pt x="439" y="28"/>
                  </a:lnTo>
                  <a:lnTo>
                    <a:pt x="441" y="30"/>
                  </a:lnTo>
                  <a:lnTo>
                    <a:pt x="443" y="32"/>
                  </a:lnTo>
                  <a:lnTo>
                    <a:pt x="470" y="34"/>
                  </a:lnTo>
                  <a:lnTo>
                    <a:pt x="496" y="38"/>
                  </a:lnTo>
                  <a:lnTo>
                    <a:pt x="498" y="40"/>
                  </a:lnTo>
                  <a:lnTo>
                    <a:pt x="502" y="44"/>
                  </a:lnTo>
                  <a:lnTo>
                    <a:pt x="496" y="57"/>
                  </a:lnTo>
                  <a:lnTo>
                    <a:pt x="491" y="73"/>
                  </a:lnTo>
                  <a:lnTo>
                    <a:pt x="489" y="74"/>
                  </a:lnTo>
                  <a:lnTo>
                    <a:pt x="487" y="76"/>
                  </a:lnTo>
                  <a:lnTo>
                    <a:pt x="485" y="86"/>
                  </a:lnTo>
                  <a:lnTo>
                    <a:pt x="481" y="96"/>
                  </a:lnTo>
                  <a:lnTo>
                    <a:pt x="470" y="111"/>
                  </a:lnTo>
                  <a:lnTo>
                    <a:pt x="458" y="126"/>
                  </a:lnTo>
                  <a:lnTo>
                    <a:pt x="449" y="144"/>
                  </a:lnTo>
                  <a:lnTo>
                    <a:pt x="441" y="161"/>
                  </a:lnTo>
                  <a:lnTo>
                    <a:pt x="439" y="168"/>
                  </a:lnTo>
                  <a:lnTo>
                    <a:pt x="437" y="178"/>
                  </a:lnTo>
                  <a:lnTo>
                    <a:pt x="437" y="188"/>
                  </a:lnTo>
                  <a:lnTo>
                    <a:pt x="437" y="195"/>
                  </a:lnTo>
                  <a:lnTo>
                    <a:pt x="439" y="205"/>
                  </a:lnTo>
                  <a:lnTo>
                    <a:pt x="443" y="215"/>
                  </a:lnTo>
                  <a:lnTo>
                    <a:pt x="447" y="222"/>
                  </a:lnTo>
                  <a:lnTo>
                    <a:pt x="452" y="232"/>
                  </a:lnTo>
                  <a:lnTo>
                    <a:pt x="458" y="236"/>
                  </a:lnTo>
                  <a:lnTo>
                    <a:pt x="462" y="241"/>
                  </a:lnTo>
                  <a:lnTo>
                    <a:pt x="458" y="261"/>
                  </a:lnTo>
                  <a:lnTo>
                    <a:pt x="452" y="280"/>
                  </a:lnTo>
                  <a:lnTo>
                    <a:pt x="429" y="284"/>
                  </a:lnTo>
                  <a:lnTo>
                    <a:pt x="404" y="289"/>
                  </a:lnTo>
                  <a:lnTo>
                    <a:pt x="376" y="287"/>
                  </a:lnTo>
                  <a:lnTo>
                    <a:pt x="347" y="284"/>
                  </a:lnTo>
                  <a:lnTo>
                    <a:pt x="318" y="282"/>
                  </a:lnTo>
                  <a:lnTo>
                    <a:pt x="289" y="280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0" name="Freeform 290">
              <a:extLst>
                <a:ext uri="{FF2B5EF4-FFF2-40B4-BE49-F238E27FC236}">
                  <a16:creationId xmlns:a16="http://schemas.microsoft.com/office/drawing/2014/main" xmlns="" id="{EA9F31F0-D6FF-8046-B40A-FC1991FB9C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9438" y="4711516"/>
              <a:ext cx="1247775" cy="1057275"/>
            </a:xfrm>
            <a:custGeom>
              <a:avLst/>
              <a:gdLst>
                <a:gd name="T0" fmla="*/ 2147483647 w 804"/>
                <a:gd name="T1" fmla="*/ 2147483647 h 707"/>
                <a:gd name="T2" fmla="*/ 2147483647 w 804"/>
                <a:gd name="T3" fmla="*/ 2147483647 h 707"/>
                <a:gd name="T4" fmla="*/ 2147483647 w 804"/>
                <a:gd name="T5" fmla="*/ 2147483647 h 707"/>
                <a:gd name="T6" fmla="*/ 2147483647 w 804"/>
                <a:gd name="T7" fmla="*/ 2147483647 h 707"/>
                <a:gd name="T8" fmla="*/ 2147483647 w 804"/>
                <a:gd name="T9" fmla="*/ 2147483647 h 707"/>
                <a:gd name="T10" fmla="*/ 2147483647 w 804"/>
                <a:gd name="T11" fmla="*/ 2147483647 h 707"/>
                <a:gd name="T12" fmla="*/ 2147483647 w 804"/>
                <a:gd name="T13" fmla="*/ 2147483647 h 707"/>
                <a:gd name="T14" fmla="*/ 2147483647 w 804"/>
                <a:gd name="T15" fmla="*/ 2147483647 h 707"/>
                <a:gd name="T16" fmla="*/ 2147483647 w 804"/>
                <a:gd name="T17" fmla="*/ 2147483647 h 707"/>
                <a:gd name="T18" fmla="*/ 2147483647 w 804"/>
                <a:gd name="T19" fmla="*/ 2147483647 h 707"/>
                <a:gd name="T20" fmla="*/ 2147483647 w 804"/>
                <a:gd name="T21" fmla="*/ 2147483647 h 707"/>
                <a:gd name="T22" fmla="*/ 2147483647 w 804"/>
                <a:gd name="T23" fmla="*/ 2147483647 h 707"/>
                <a:gd name="T24" fmla="*/ 2147483647 w 804"/>
                <a:gd name="T25" fmla="*/ 2147483647 h 707"/>
                <a:gd name="T26" fmla="*/ 2147483647 w 804"/>
                <a:gd name="T27" fmla="*/ 2147483647 h 707"/>
                <a:gd name="T28" fmla="*/ 2147483647 w 804"/>
                <a:gd name="T29" fmla="*/ 2147483647 h 707"/>
                <a:gd name="T30" fmla="*/ 2147483647 w 804"/>
                <a:gd name="T31" fmla="*/ 2147483647 h 707"/>
                <a:gd name="T32" fmla="*/ 2147483647 w 804"/>
                <a:gd name="T33" fmla="*/ 2147483647 h 707"/>
                <a:gd name="T34" fmla="*/ 2147483647 w 804"/>
                <a:gd name="T35" fmla="*/ 2147483647 h 707"/>
                <a:gd name="T36" fmla="*/ 2147483647 w 804"/>
                <a:gd name="T37" fmla="*/ 2147483647 h 707"/>
                <a:gd name="T38" fmla="*/ 2147483647 w 804"/>
                <a:gd name="T39" fmla="*/ 2147483647 h 707"/>
                <a:gd name="T40" fmla="*/ 2147483647 w 804"/>
                <a:gd name="T41" fmla="*/ 2147483647 h 707"/>
                <a:gd name="T42" fmla="*/ 2147483647 w 804"/>
                <a:gd name="T43" fmla="*/ 2147483647 h 707"/>
                <a:gd name="T44" fmla="*/ 2147483647 w 804"/>
                <a:gd name="T45" fmla="*/ 2147483647 h 707"/>
                <a:gd name="T46" fmla="*/ 2147483647 w 804"/>
                <a:gd name="T47" fmla="*/ 2147483647 h 707"/>
                <a:gd name="T48" fmla="*/ 2147483647 w 804"/>
                <a:gd name="T49" fmla="*/ 2147483647 h 707"/>
                <a:gd name="T50" fmla="*/ 2147483647 w 804"/>
                <a:gd name="T51" fmla="*/ 2147483647 h 707"/>
                <a:gd name="T52" fmla="*/ 2147483647 w 804"/>
                <a:gd name="T53" fmla="*/ 2147483647 h 707"/>
                <a:gd name="T54" fmla="*/ 2147483647 w 804"/>
                <a:gd name="T55" fmla="*/ 2147483647 h 707"/>
                <a:gd name="T56" fmla="*/ 2147483647 w 804"/>
                <a:gd name="T57" fmla="*/ 2147483647 h 707"/>
                <a:gd name="T58" fmla="*/ 2147483647 w 804"/>
                <a:gd name="T59" fmla="*/ 2147483647 h 707"/>
                <a:gd name="T60" fmla="*/ 2147483647 w 804"/>
                <a:gd name="T61" fmla="*/ 2147483647 h 707"/>
                <a:gd name="T62" fmla="*/ 2147483647 w 804"/>
                <a:gd name="T63" fmla="*/ 2147483647 h 707"/>
                <a:gd name="T64" fmla="*/ 2147483647 w 804"/>
                <a:gd name="T65" fmla="*/ 2147483647 h 707"/>
                <a:gd name="T66" fmla="*/ 2147483647 w 804"/>
                <a:gd name="T67" fmla="*/ 2147483647 h 707"/>
                <a:gd name="T68" fmla="*/ 2147483647 w 804"/>
                <a:gd name="T69" fmla="*/ 2147483647 h 707"/>
                <a:gd name="T70" fmla="*/ 2147483647 w 804"/>
                <a:gd name="T71" fmla="*/ 2147483647 h 707"/>
                <a:gd name="T72" fmla="*/ 2147483647 w 804"/>
                <a:gd name="T73" fmla="*/ 2147483647 h 707"/>
                <a:gd name="T74" fmla="*/ 2147483647 w 804"/>
                <a:gd name="T75" fmla="*/ 2147483647 h 707"/>
                <a:gd name="T76" fmla="*/ 2147483647 w 804"/>
                <a:gd name="T77" fmla="*/ 2147483647 h 707"/>
                <a:gd name="T78" fmla="*/ 2147483647 w 804"/>
                <a:gd name="T79" fmla="*/ 2147483647 h 707"/>
                <a:gd name="T80" fmla="*/ 2147483647 w 804"/>
                <a:gd name="T81" fmla="*/ 2147483647 h 707"/>
                <a:gd name="T82" fmla="*/ 2147483647 w 804"/>
                <a:gd name="T83" fmla="*/ 2147483647 h 707"/>
                <a:gd name="T84" fmla="*/ 2147483647 w 804"/>
                <a:gd name="T85" fmla="*/ 2147483647 h 707"/>
                <a:gd name="T86" fmla="*/ 2147483647 w 804"/>
                <a:gd name="T87" fmla="*/ 2147483647 h 707"/>
                <a:gd name="T88" fmla="*/ 2147483647 w 804"/>
                <a:gd name="T89" fmla="*/ 2147483647 h 707"/>
                <a:gd name="T90" fmla="*/ 2147483647 w 804"/>
                <a:gd name="T91" fmla="*/ 2147483647 h 707"/>
                <a:gd name="T92" fmla="*/ 2147483647 w 804"/>
                <a:gd name="T93" fmla="*/ 2147483647 h 707"/>
                <a:gd name="T94" fmla="*/ 2147483647 w 804"/>
                <a:gd name="T95" fmla="*/ 2147483647 h 707"/>
                <a:gd name="T96" fmla="*/ 2147483647 w 804"/>
                <a:gd name="T97" fmla="*/ 2147483647 h 707"/>
                <a:gd name="T98" fmla="*/ 2147483647 w 804"/>
                <a:gd name="T99" fmla="*/ 2147483647 h 707"/>
                <a:gd name="T100" fmla="*/ 2147483647 w 804"/>
                <a:gd name="T101" fmla="*/ 2147483647 h 707"/>
                <a:gd name="T102" fmla="*/ 2147483647 w 804"/>
                <a:gd name="T103" fmla="*/ 2147483647 h 707"/>
                <a:gd name="T104" fmla="*/ 2147483647 w 804"/>
                <a:gd name="T105" fmla="*/ 2147483647 h 707"/>
                <a:gd name="T106" fmla="*/ 2147483647 w 804"/>
                <a:gd name="T107" fmla="*/ 2147483647 h 707"/>
                <a:gd name="T108" fmla="*/ 2147483647 w 804"/>
                <a:gd name="T109" fmla="*/ 2147483647 h 707"/>
                <a:gd name="T110" fmla="*/ 2147483647 w 804"/>
                <a:gd name="T111" fmla="*/ 2147483647 h 70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804"/>
                <a:gd name="T169" fmla="*/ 0 h 707"/>
                <a:gd name="T170" fmla="*/ 804 w 804"/>
                <a:gd name="T171" fmla="*/ 707 h 70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804" h="707">
                  <a:moveTo>
                    <a:pt x="222" y="707"/>
                  </a:moveTo>
                  <a:lnTo>
                    <a:pt x="218" y="682"/>
                  </a:lnTo>
                  <a:lnTo>
                    <a:pt x="213" y="659"/>
                  </a:lnTo>
                  <a:lnTo>
                    <a:pt x="213" y="651"/>
                  </a:lnTo>
                  <a:lnTo>
                    <a:pt x="213" y="643"/>
                  </a:lnTo>
                  <a:lnTo>
                    <a:pt x="192" y="630"/>
                  </a:lnTo>
                  <a:lnTo>
                    <a:pt x="167" y="620"/>
                  </a:lnTo>
                  <a:lnTo>
                    <a:pt x="142" y="613"/>
                  </a:lnTo>
                  <a:lnTo>
                    <a:pt x="115" y="607"/>
                  </a:lnTo>
                  <a:lnTo>
                    <a:pt x="61" y="597"/>
                  </a:lnTo>
                  <a:lnTo>
                    <a:pt x="11" y="590"/>
                  </a:lnTo>
                  <a:lnTo>
                    <a:pt x="5" y="590"/>
                  </a:lnTo>
                  <a:lnTo>
                    <a:pt x="0" y="590"/>
                  </a:lnTo>
                  <a:lnTo>
                    <a:pt x="0" y="582"/>
                  </a:lnTo>
                  <a:lnTo>
                    <a:pt x="0" y="576"/>
                  </a:lnTo>
                  <a:lnTo>
                    <a:pt x="4" y="572"/>
                  </a:lnTo>
                  <a:lnTo>
                    <a:pt x="5" y="570"/>
                  </a:lnTo>
                  <a:lnTo>
                    <a:pt x="13" y="553"/>
                  </a:lnTo>
                  <a:lnTo>
                    <a:pt x="21" y="538"/>
                  </a:lnTo>
                  <a:lnTo>
                    <a:pt x="23" y="534"/>
                  </a:lnTo>
                  <a:lnTo>
                    <a:pt x="25" y="532"/>
                  </a:lnTo>
                  <a:lnTo>
                    <a:pt x="32" y="532"/>
                  </a:lnTo>
                  <a:lnTo>
                    <a:pt x="40" y="532"/>
                  </a:lnTo>
                  <a:lnTo>
                    <a:pt x="40" y="524"/>
                  </a:lnTo>
                  <a:lnTo>
                    <a:pt x="40" y="517"/>
                  </a:lnTo>
                  <a:lnTo>
                    <a:pt x="42" y="515"/>
                  </a:lnTo>
                  <a:lnTo>
                    <a:pt x="44" y="513"/>
                  </a:lnTo>
                  <a:lnTo>
                    <a:pt x="53" y="513"/>
                  </a:lnTo>
                  <a:lnTo>
                    <a:pt x="63" y="513"/>
                  </a:lnTo>
                  <a:lnTo>
                    <a:pt x="65" y="515"/>
                  </a:lnTo>
                  <a:lnTo>
                    <a:pt x="69" y="517"/>
                  </a:lnTo>
                  <a:lnTo>
                    <a:pt x="71" y="520"/>
                  </a:lnTo>
                  <a:lnTo>
                    <a:pt x="73" y="522"/>
                  </a:lnTo>
                  <a:lnTo>
                    <a:pt x="75" y="524"/>
                  </a:lnTo>
                  <a:lnTo>
                    <a:pt x="78" y="526"/>
                  </a:lnTo>
                  <a:lnTo>
                    <a:pt x="80" y="528"/>
                  </a:lnTo>
                  <a:lnTo>
                    <a:pt x="82" y="532"/>
                  </a:lnTo>
                  <a:lnTo>
                    <a:pt x="84" y="534"/>
                  </a:lnTo>
                  <a:lnTo>
                    <a:pt x="88" y="538"/>
                  </a:lnTo>
                  <a:lnTo>
                    <a:pt x="94" y="540"/>
                  </a:lnTo>
                  <a:lnTo>
                    <a:pt x="101" y="542"/>
                  </a:lnTo>
                  <a:lnTo>
                    <a:pt x="105" y="543"/>
                  </a:lnTo>
                  <a:lnTo>
                    <a:pt x="107" y="547"/>
                  </a:lnTo>
                  <a:lnTo>
                    <a:pt x="115" y="549"/>
                  </a:lnTo>
                  <a:lnTo>
                    <a:pt x="123" y="551"/>
                  </a:lnTo>
                  <a:lnTo>
                    <a:pt x="124" y="553"/>
                  </a:lnTo>
                  <a:lnTo>
                    <a:pt x="126" y="555"/>
                  </a:lnTo>
                  <a:lnTo>
                    <a:pt x="128" y="559"/>
                  </a:lnTo>
                  <a:lnTo>
                    <a:pt x="132" y="561"/>
                  </a:lnTo>
                  <a:lnTo>
                    <a:pt x="134" y="563"/>
                  </a:lnTo>
                  <a:lnTo>
                    <a:pt x="136" y="567"/>
                  </a:lnTo>
                  <a:lnTo>
                    <a:pt x="153" y="568"/>
                  </a:lnTo>
                  <a:lnTo>
                    <a:pt x="170" y="570"/>
                  </a:lnTo>
                  <a:lnTo>
                    <a:pt x="172" y="572"/>
                  </a:lnTo>
                  <a:lnTo>
                    <a:pt x="174" y="576"/>
                  </a:lnTo>
                  <a:lnTo>
                    <a:pt x="182" y="578"/>
                  </a:lnTo>
                  <a:lnTo>
                    <a:pt x="190" y="580"/>
                  </a:lnTo>
                  <a:lnTo>
                    <a:pt x="192" y="582"/>
                  </a:lnTo>
                  <a:lnTo>
                    <a:pt x="194" y="586"/>
                  </a:lnTo>
                  <a:lnTo>
                    <a:pt x="201" y="588"/>
                  </a:lnTo>
                  <a:lnTo>
                    <a:pt x="209" y="590"/>
                  </a:lnTo>
                  <a:lnTo>
                    <a:pt x="211" y="591"/>
                  </a:lnTo>
                  <a:lnTo>
                    <a:pt x="213" y="595"/>
                  </a:lnTo>
                  <a:lnTo>
                    <a:pt x="217" y="597"/>
                  </a:lnTo>
                  <a:lnTo>
                    <a:pt x="218" y="599"/>
                  </a:lnTo>
                  <a:lnTo>
                    <a:pt x="220" y="601"/>
                  </a:lnTo>
                  <a:lnTo>
                    <a:pt x="222" y="605"/>
                  </a:lnTo>
                  <a:lnTo>
                    <a:pt x="226" y="607"/>
                  </a:lnTo>
                  <a:lnTo>
                    <a:pt x="228" y="609"/>
                  </a:lnTo>
                  <a:lnTo>
                    <a:pt x="230" y="611"/>
                  </a:lnTo>
                  <a:lnTo>
                    <a:pt x="232" y="614"/>
                  </a:lnTo>
                  <a:lnTo>
                    <a:pt x="232" y="620"/>
                  </a:lnTo>
                  <a:lnTo>
                    <a:pt x="232" y="628"/>
                  </a:lnTo>
                  <a:lnTo>
                    <a:pt x="240" y="628"/>
                  </a:lnTo>
                  <a:lnTo>
                    <a:pt x="247" y="628"/>
                  </a:lnTo>
                  <a:lnTo>
                    <a:pt x="249" y="632"/>
                  </a:lnTo>
                  <a:lnTo>
                    <a:pt x="253" y="634"/>
                  </a:lnTo>
                  <a:lnTo>
                    <a:pt x="259" y="636"/>
                  </a:lnTo>
                  <a:lnTo>
                    <a:pt x="266" y="638"/>
                  </a:lnTo>
                  <a:lnTo>
                    <a:pt x="268" y="639"/>
                  </a:lnTo>
                  <a:lnTo>
                    <a:pt x="272" y="643"/>
                  </a:lnTo>
                  <a:lnTo>
                    <a:pt x="272" y="651"/>
                  </a:lnTo>
                  <a:lnTo>
                    <a:pt x="272" y="659"/>
                  </a:lnTo>
                  <a:lnTo>
                    <a:pt x="282" y="659"/>
                  </a:lnTo>
                  <a:lnTo>
                    <a:pt x="288" y="657"/>
                  </a:lnTo>
                  <a:lnTo>
                    <a:pt x="291" y="655"/>
                  </a:lnTo>
                  <a:lnTo>
                    <a:pt x="291" y="653"/>
                  </a:lnTo>
                  <a:lnTo>
                    <a:pt x="293" y="651"/>
                  </a:lnTo>
                  <a:lnTo>
                    <a:pt x="295" y="647"/>
                  </a:lnTo>
                  <a:lnTo>
                    <a:pt x="297" y="645"/>
                  </a:lnTo>
                  <a:lnTo>
                    <a:pt x="301" y="643"/>
                  </a:lnTo>
                  <a:lnTo>
                    <a:pt x="303" y="639"/>
                  </a:lnTo>
                  <a:lnTo>
                    <a:pt x="305" y="638"/>
                  </a:lnTo>
                  <a:lnTo>
                    <a:pt x="307" y="636"/>
                  </a:lnTo>
                  <a:lnTo>
                    <a:pt x="311" y="634"/>
                  </a:lnTo>
                  <a:lnTo>
                    <a:pt x="312" y="632"/>
                  </a:lnTo>
                  <a:lnTo>
                    <a:pt x="314" y="628"/>
                  </a:lnTo>
                  <a:lnTo>
                    <a:pt x="316" y="624"/>
                  </a:lnTo>
                  <a:lnTo>
                    <a:pt x="320" y="618"/>
                  </a:lnTo>
                  <a:lnTo>
                    <a:pt x="324" y="614"/>
                  </a:lnTo>
                  <a:lnTo>
                    <a:pt x="330" y="609"/>
                  </a:lnTo>
                  <a:lnTo>
                    <a:pt x="339" y="605"/>
                  </a:lnTo>
                  <a:lnTo>
                    <a:pt x="349" y="599"/>
                  </a:lnTo>
                  <a:lnTo>
                    <a:pt x="353" y="595"/>
                  </a:lnTo>
                  <a:lnTo>
                    <a:pt x="359" y="590"/>
                  </a:lnTo>
                  <a:lnTo>
                    <a:pt x="362" y="584"/>
                  </a:lnTo>
                  <a:lnTo>
                    <a:pt x="368" y="580"/>
                  </a:lnTo>
                  <a:lnTo>
                    <a:pt x="372" y="565"/>
                  </a:lnTo>
                  <a:lnTo>
                    <a:pt x="378" y="551"/>
                  </a:lnTo>
                  <a:lnTo>
                    <a:pt x="383" y="536"/>
                  </a:lnTo>
                  <a:lnTo>
                    <a:pt x="387" y="522"/>
                  </a:lnTo>
                  <a:lnTo>
                    <a:pt x="391" y="517"/>
                  </a:lnTo>
                  <a:lnTo>
                    <a:pt x="397" y="513"/>
                  </a:lnTo>
                  <a:lnTo>
                    <a:pt x="401" y="507"/>
                  </a:lnTo>
                  <a:lnTo>
                    <a:pt x="406" y="503"/>
                  </a:lnTo>
                  <a:lnTo>
                    <a:pt x="422" y="494"/>
                  </a:lnTo>
                  <a:lnTo>
                    <a:pt x="435" y="484"/>
                  </a:lnTo>
                  <a:lnTo>
                    <a:pt x="441" y="478"/>
                  </a:lnTo>
                  <a:lnTo>
                    <a:pt x="445" y="474"/>
                  </a:lnTo>
                  <a:lnTo>
                    <a:pt x="451" y="469"/>
                  </a:lnTo>
                  <a:lnTo>
                    <a:pt x="454" y="465"/>
                  </a:lnTo>
                  <a:lnTo>
                    <a:pt x="460" y="446"/>
                  </a:lnTo>
                  <a:lnTo>
                    <a:pt x="464" y="426"/>
                  </a:lnTo>
                  <a:lnTo>
                    <a:pt x="470" y="421"/>
                  </a:lnTo>
                  <a:lnTo>
                    <a:pt x="476" y="415"/>
                  </a:lnTo>
                  <a:lnTo>
                    <a:pt x="479" y="411"/>
                  </a:lnTo>
                  <a:lnTo>
                    <a:pt x="483" y="405"/>
                  </a:lnTo>
                  <a:lnTo>
                    <a:pt x="489" y="405"/>
                  </a:lnTo>
                  <a:lnTo>
                    <a:pt x="493" y="403"/>
                  </a:lnTo>
                  <a:lnTo>
                    <a:pt x="493" y="398"/>
                  </a:lnTo>
                  <a:lnTo>
                    <a:pt x="493" y="386"/>
                  </a:lnTo>
                  <a:lnTo>
                    <a:pt x="483" y="384"/>
                  </a:lnTo>
                  <a:lnTo>
                    <a:pt x="476" y="382"/>
                  </a:lnTo>
                  <a:lnTo>
                    <a:pt x="479" y="375"/>
                  </a:lnTo>
                  <a:lnTo>
                    <a:pt x="483" y="367"/>
                  </a:lnTo>
                  <a:lnTo>
                    <a:pt x="489" y="357"/>
                  </a:lnTo>
                  <a:lnTo>
                    <a:pt x="493" y="348"/>
                  </a:lnTo>
                  <a:lnTo>
                    <a:pt x="499" y="348"/>
                  </a:lnTo>
                  <a:lnTo>
                    <a:pt x="504" y="348"/>
                  </a:lnTo>
                  <a:lnTo>
                    <a:pt x="504" y="332"/>
                  </a:lnTo>
                  <a:lnTo>
                    <a:pt x="504" y="319"/>
                  </a:lnTo>
                  <a:lnTo>
                    <a:pt x="499" y="319"/>
                  </a:lnTo>
                  <a:lnTo>
                    <a:pt x="493" y="319"/>
                  </a:lnTo>
                  <a:lnTo>
                    <a:pt x="489" y="309"/>
                  </a:lnTo>
                  <a:lnTo>
                    <a:pt x="483" y="300"/>
                  </a:lnTo>
                  <a:lnTo>
                    <a:pt x="481" y="281"/>
                  </a:lnTo>
                  <a:lnTo>
                    <a:pt x="479" y="261"/>
                  </a:lnTo>
                  <a:lnTo>
                    <a:pt x="477" y="242"/>
                  </a:lnTo>
                  <a:lnTo>
                    <a:pt x="476" y="223"/>
                  </a:lnTo>
                  <a:lnTo>
                    <a:pt x="470" y="213"/>
                  </a:lnTo>
                  <a:lnTo>
                    <a:pt x="464" y="204"/>
                  </a:lnTo>
                  <a:lnTo>
                    <a:pt x="460" y="200"/>
                  </a:lnTo>
                  <a:lnTo>
                    <a:pt x="458" y="200"/>
                  </a:lnTo>
                  <a:lnTo>
                    <a:pt x="456" y="200"/>
                  </a:lnTo>
                  <a:lnTo>
                    <a:pt x="454" y="204"/>
                  </a:lnTo>
                  <a:lnTo>
                    <a:pt x="451" y="213"/>
                  </a:lnTo>
                  <a:lnTo>
                    <a:pt x="445" y="223"/>
                  </a:lnTo>
                  <a:lnTo>
                    <a:pt x="439" y="223"/>
                  </a:lnTo>
                  <a:lnTo>
                    <a:pt x="437" y="225"/>
                  </a:lnTo>
                  <a:lnTo>
                    <a:pt x="435" y="231"/>
                  </a:lnTo>
                  <a:lnTo>
                    <a:pt x="435" y="242"/>
                  </a:lnTo>
                  <a:lnTo>
                    <a:pt x="441" y="242"/>
                  </a:lnTo>
                  <a:lnTo>
                    <a:pt x="445" y="242"/>
                  </a:lnTo>
                  <a:lnTo>
                    <a:pt x="445" y="252"/>
                  </a:lnTo>
                  <a:lnTo>
                    <a:pt x="445" y="261"/>
                  </a:lnTo>
                  <a:lnTo>
                    <a:pt x="441" y="261"/>
                  </a:lnTo>
                  <a:lnTo>
                    <a:pt x="435" y="261"/>
                  </a:lnTo>
                  <a:lnTo>
                    <a:pt x="433" y="256"/>
                  </a:lnTo>
                  <a:lnTo>
                    <a:pt x="431" y="252"/>
                  </a:lnTo>
                  <a:lnTo>
                    <a:pt x="428" y="248"/>
                  </a:lnTo>
                  <a:lnTo>
                    <a:pt x="426" y="246"/>
                  </a:lnTo>
                  <a:lnTo>
                    <a:pt x="426" y="227"/>
                  </a:lnTo>
                  <a:lnTo>
                    <a:pt x="426" y="208"/>
                  </a:lnTo>
                  <a:lnTo>
                    <a:pt x="428" y="206"/>
                  </a:lnTo>
                  <a:lnTo>
                    <a:pt x="431" y="204"/>
                  </a:lnTo>
                  <a:lnTo>
                    <a:pt x="433" y="204"/>
                  </a:lnTo>
                  <a:lnTo>
                    <a:pt x="435" y="200"/>
                  </a:lnTo>
                  <a:lnTo>
                    <a:pt x="435" y="194"/>
                  </a:lnTo>
                  <a:lnTo>
                    <a:pt x="435" y="183"/>
                  </a:lnTo>
                  <a:lnTo>
                    <a:pt x="428" y="183"/>
                  </a:lnTo>
                  <a:lnTo>
                    <a:pt x="422" y="183"/>
                  </a:lnTo>
                  <a:lnTo>
                    <a:pt x="418" y="181"/>
                  </a:lnTo>
                  <a:lnTo>
                    <a:pt x="416" y="179"/>
                  </a:lnTo>
                  <a:lnTo>
                    <a:pt x="414" y="171"/>
                  </a:lnTo>
                  <a:lnTo>
                    <a:pt x="412" y="164"/>
                  </a:lnTo>
                  <a:lnTo>
                    <a:pt x="408" y="162"/>
                  </a:lnTo>
                  <a:lnTo>
                    <a:pt x="406" y="160"/>
                  </a:lnTo>
                  <a:lnTo>
                    <a:pt x="406" y="154"/>
                  </a:lnTo>
                  <a:lnTo>
                    <a:pt x="406" y="150"/>
                  </a:lnTo>
                  <a:lnTo>
                    <a:pt x="408" y="146"/>
                  </a:lnTo>
                  <a:lnTo>
                    <a:pt x="412" y="144"/>
                  </a:lnTo>
                  <a:lnTo>
                    <a:pt x="414" y="142"/>
                  </a:lnTo>
                  <a:lnTo>
                    <a:pt x="416" y="141"/>
                  </a:lnTo>
                  <a:lnTo>
                    <a:pt x="418" y="137"/>
                  </a:lnTo>
                  <a:lnTo>
                    <a:pt x="422" y="135"/>
                  </a:lnTo>
                  <a:lnTo>
                    <a:pt x="428" y="133"/>
                  </a:lnTo>
                  <a:lnTo>
                    <a:pt x="435" y="131"/>
                  </a:lnTo>
                  <a:lnTo>
                    <a:pt x="439" y="129"/>
                  </a:lnTo>
                  <a:lnTo>
                    <a:pt x="441" y="125"/>
                  </a:lnTo>
                  <a:lnTo>
                    <a:pt x="443" y="114"/>
                  </a:lnTo>
                  <a:lnTo>
                    <a:pt x="445" y="102"/>
                  </a:lnTo>
                  <a:lnTo>
                    <a:pt x="449" y="98"/>
                  </a:lnTo>
                  <a:lnTo>
                    <a:pt x="451" y="96"/>
                  </a:lnTo>
                  <a:lnTo>
                    <a:pt x="477" y="95"/>
                  </a:lnTo>
                  <a:lnTo>
                    <a:pt x="504" y="91"/>
                  </a:lnTo>
                  <a:lnTo>
                    <a:pt x="506" y="89"/>
                  </a:lnTo>
                  <a:lnTo>
                    <a:pt x="508" y="87"/>
                  </a:lnTo>
                  <a:lnTo>
                    <a:pt x="512" y="81"/>
                  </a:lnTo>
                  <a:lnTo>
                    <a:pt x="518" y="77"/>
                  </a:lnTo>
                  <a:lnTo>
                    <a:pt x="520" y="79"/>
                  </a:lnTo>
                  <a:lnTo>
                    <a:pt x="524" y="83"/>
                  </a:lnTo>
                  <a:lnTo>
                    <a:pt x="537" y="83"/>
                  </a:lnTo>
                  <a:lnTo>
                    <a:pt x="552" y="83"/>
                  </a:lnTo>
                  <a:lnTo>
                    <a:pt x="554" y="79"/>
                  </a:lnTo>
                  <a:lnTo>
                    <a:pt x="556" y="77"/>
                  </a:lnTo>
                  <a:lnTo>
                    <a:pt x="560" y="75"/>
                  </a:lnTo>
                  <a:lnTo>
                    <a:pt x="562" y="73"/>
                  </a:lnTo>
                  <a:lnTo>
                    <a:pt x="564" y="70"/>
                  </a:lnTo>
                  <a:lnTo>
                    <a:pt x="566" y="68"/>
                  </a:lnTo>
                  <a:lnTo>
                    <a:pt x="570" y="70"/>
                  </a:lnTo>
                  <a:lnTo>
                    <a:pt x="571" y="73"/>
                  </a:lnTo>
                  <a:lnTo>
                    <a:pt x="589" y="75"/>
                  </a:lnTo>
                  <a:lnTo>
                    <a:pt x="604" y="77"/>
                  </a:lnTo>
                  <a:lnTo>
                    <a:pt x="608" y="79"/>
                  </a:lnTo>
                  <a:lnTo>
                    <a:pt x="610" y="83"/>
                  </a:lnTo>
                  <a:lnTo>
                    <a:pt x="619" y="83"/>
                  </a:lnTo>
                  <a:lnTo>
                    <a:pt x="629" y="83"/>
                  </a:lnTo>
                  <a:lnTo>
                    <a:pt x="631" y="79"/>
                  </a:lnTo>
                  <a:lnTo>
                    <a:pt x="635" y="77"/>
                  </a:lnTo>
                  <a:lnTo>
                    <a:pt x="637" y="70"/>
                  </a:lnTo>
                  <a:lnTo>
                    <a:pt x="639" y="62"/>
                  </a:lnTo>
                  <a:lnTo>
                    <a:pt x="641" y="60"/>
                  </a:lnTo>
                  <a:lnTo>
                    <a:pt x="644" y="58"/>
                  </a:lnTo>
                  <a:lnTo>
                    <a:pt x="646" y="50"/>
                  </a:lnTo>
                  <a:lnTo>
                    <a:pt x="648" y="43"/>
                  </a:lnTo>
                  <a:lnTo>
                    <a:pt x="650" y="41"/>
                  </a:lnTo>
                  <a:lnTo>
                    <a:pt x="654" y="39"/>
                  </a:lnTo>
                  <a:lnTo>
                    <a:pt x="656" y="37"/>
                  </a:lnTo>
                  <a:lnTo>
                    <a:pt x="658" y="33"/>
                  </a:lnTo>
                  <a:lnTo>
                    <a:pt x="660" y="31"/>
                  </a:lnTo>
                  <a:lnTo>
                    <a:pt x="664" y="29"/>
                  </a:lnTo>
                  <a:lnTo>
                    <a:pt x="666" y="22"/>
                  </a:lnTo>
                  <a:lnTo>
                    <a:pt x="667" y="14"/>
                  </a:lnTo>
                  <a:lnTo>
                    <a:pt x="669" y="12"/>
                  </a:lnTo>
                  <a:lnTo>
                    <a:pt x="673" y="10"/>
                  </a:lnTo>
                  <a:lnTo>
                    <a:pt x="675" y="6"/>
                  </a:lnTo>
                  <a:lnTo>
                    <a:pt x="677" y="4"/>
                  </a:lnTo>
                  <a:lnTo>
                    <a:pt x="681" y="2"/>
                  </a:lnTo>
                  <a:lnTo>
                    <a:pt x="683" y="0"/>
                  </a:lnTo>
                  <a:lnTo>
                    <a:pt x="690" y="0"/>
                  </a:lnTo>
                  <a:lnTo>
                    <a:pt x="696" y="0"/>
                  </a:lnTo>
                  <a:lnTo>
                    <a:pt x="696" y="6"/>
                  </a:lnTo>
                  <a:lnTo>
                    <a:pt x="696" y="14"/>
                  </a:lnTo>
                  <a:lnTo>
                    <a:pt x="694" y="16"/>
                  </a:lnTo>
                  <a:lnTo>
                    <a:pt x="692" y="20"/>
                  </a:lnTo>
                  <a:lnTo>
                    <a:pt x="692" y="29"/>
                  </a:lnTo>
                  <a:lnTo>
                    <a:pt x="692" y="39"/>
                  </a:lnTo>
                  <a:lnTo>
                    <a:pt x="694" y="41"/>
                  </a:lnTo>
                  <a:lnTo>
                    <a:pt x="696" y="43"/>
                  </a:lnTo>
                  <a:lnTo>
                    <a:pt x="698" y="50"/>
                  </a:lnTo>
                  <a:lnTo>
                    <a:pt x="702" y="58"/>
                  </a:lnTo>
                  <a:lnTo>
                    <a:pt x="704" y="60"/>
                  </a:lnTo>
                  <a:lnTo>
                    <a:pt x="708" y="62"/>
                  </a:lnTo>
                  <a:lnTo>
                    <a:pt x="708" y="70"/>
                  </a:lnTo>
                  <a:lnTo>
                    <a:pt x="708" y="77"/>
                  </a:lnTo>
                  <a:lnTo>
                    <a:pt x="713" y="77"/>
                  </a:lnTo>
                  <a:lnTo>
                    <a:pt x="721" y="77"/>
                  </a:lnTo>
                  <a:lnTo>
                    <a:pt x="723" y="79"/>
                  </a:lnTo>
                  <a:lnTo>
                    <a:pt x="725" y="83"/>
                  </a:lnTo>
                  <a:lnTo>
                    <a:pt x="729" y="98"/>
                  </a:lnTo>
                  <a:lnTo>
                    <a:pt x="731" y="116"/>
                  </a:lnTo>
                  <a:lnTo>
                    <a:pt x="733" y="118"/>
                  </a:lnTo>
                  <a:lnTo>
                    <a:pt x="736" y="121"/>
                  </a:lnTo>
                  <a:lnTo>
                    <a:pt x="736" y="127"/>
                  </a:lnTo>
                  <a:lnTo>
                    <a:pt x="736" y="135"/>
                  </a:lnTo>
                  <a:lnTo>
                    <a:pt x="742" y="135"/>
                  </a:lnTo>
                  <a:lnTo>
                    <a:pt x="750" y="135"/>
                  </a:lnTo>
                  <a:lnTo>
                    <a:pt x="752" y="137"/>
                  </a:lnTo>
                  <a:lnTo>
                    <a:pt x="756" y="141"/>
                  </a:lnTo>
                  <a:lnTo>
                    <a:pt x="767" y="142"/>
                  </a:lnTo>
                  <a:lnTo>
                    <a:pt x="779" y="144"/>
                  </a:lnTo>
                  <a:lnTo>
                    <a:pt x="781" y="146"/>
                  </a:lnTo>
                  <a:lnTo>
                    <a:pt x="784" y="150"/>
                  </a:lnTo>
                  <a:lnTo>
                    <a:pt x="786" y="152"/>
                  </a:lnTo>
                  <a:lnTo>
                    <a:pt x="788" y="154"/>
                  </a:lnTo>
                  <a:lnTo>
                    <a:pt x="790" y="158"/>
                  </a:lnTo>
                  <a:lnTo>
                    <a:pt x="794" y="160"/>
                  </a:lnTo>
                  <a:lnTo>
                    <a:pt x="796" y="162"/>
                  </a:lnTo>
                  <a:lnTo>
                    <a:pt x="798" y="164"/>
                  </a:lnTo>
                  <a:lnTo>
                    <a:pt x="802" y="167"/>
                  </a:lnTo>
                  <a:lnTo>
                    <a:pt x="804" y="169"/>
                  </a:lnTo>
                  <a:lnTo>
                    <a:pt x="804" y="173"/>
                  </a:lnTo>
                  <a:lnTo>
                    <a:pt x="804" y="179"/>
                  </a:lnTo>
                  <a:lnTo>
                    <a:pt x="802" y="181"/>
                  </a:lnTo>
                  <a:lnTo>
                    <a:pt x="798" y="183"/>
                  </a:lnTo>
                  <a:lnTo>
                    <a:pt x="796" y="187"/>
                  </a:lnTo>
                  <a:lnTo>
                    <a:pt x="794" y="189"/>
                  </a:lnTo>
                  <a:lnTo>
                    <a:pt x="790" y="190"/>
                  </a:lnTo>
                  <a:lnTo>
                    <a:pt x="788" y="194"/>
                  </a:lnTo>
                  <a:lnTo>
                    <a:pt x="786" y="196"/>
                  </a:lnTo>
                  <a:lnTo>
                    <a:pt x="784" y="198"/>
                  </a:lnTo>
                  <a:lnTo>
                    <a:pt x="781" y="200"/>
                  </a:lnTo>
                  <a:lnTo>
                    <a:pt x="779" y="204"/>
                  </a:lnTo>
                  <a:lnTo>
                    <a:pt x="771" y="204"/>
                  </a:lnTo>
                  <a:lnTo>
                    <a:pt x="765" y="204"/>
                  </a:lnTo>
                  <a:lnTo>
                    <a:pt x="765" y="210"/>
                  </a:lnTo>
                  <a:lnTo>
                    <a:pt x="765" y="217"/>
                  </a:lnTo>
                  <a:lnTo>
                    <a:pt x="761" y="219"/>
                  </a:lnTo>
                  <a:lnTo>
                    <a:pt x="760" y="223"/>
                  </a:lnTo>
                  <a:lnTo>
                    <a:pt x="758" y="229"/>
                  </a:lnTo>
                  <a:lnTo>
                    <a:pt x="756" y="236"/>
                  </a:lnTo>
                  <a:lnTo>
                    <a:pt x="752" y="238"/>
                  </a:lnTo>
                  <a:lnTo>
                    <a:pt x="750" y="242"/>
                  </a:lnTo>
                  <a:lnTo>
                    <a:pt x="748" y="248"/>
                  </a:lnTo>
                  <a:lnTo>
                    <a:pt x="746" y="256"/>
                  </a:lnTo>
                  <a:lnTo>
                    <a:pt x="742" y="258"/>
                  </a:lnTo>
                  <a:lnTo>
                    <a:pt x="740" y="261"/>
                  </a:lnTo>
                  <a:lnTo>
                    <a:pt x="738" y="267"/>
                  </a:lnTo>
                  <a:lnTo>
                    <a:pt x="736" y="275"/>
                  </a:lnTo>
                  <a:lnTo>
                    <a:pt x="733" y="279"/>
                  </a:lnTo>
                  <a:lnTo>
                    <a:pt x="731" y="281"/>
                  </a:lnTo>
                  <a:lnTo>
                    <a:pt x="723" y="288"/>
                  </a:lnTo>
                  <a:lnTo>
                    <a:pt x="715" y="294"/>
                  </a:lnTo>
                  <a:lnTo>
                    <a:pt x="713" y="298"/>
                  </a:lnTo>
                  <a:lnTo>
                    <a:pt x="712" y="300"/>
                  </a:lnTo>
                  <a:lnTo>
                    <a:pt x="710" y="319"/>
                  </a:lnTo>
                  <a:lnTo>
                    <a:pt x="708" y="338"/>
                  </a:lnTo>
                  <a:lnTo>
                    <a:pt x="713" y="338"/>
                  </a:lnTo>
                  <a:lnTo>
                    <a:pt x="721" y="338"/>
                  </a:lnTo>
                  <a:lnTo>
                    <a:pt x="723" y="340"/>
                  </a:lnTo>
                  <a:lnTo>
                    <a:pt x="725" y="344"/>
                  </a:lnTo>
                  <a:lnTo>
                    <a:pt x="729" y="346"/>
                  </a:lnTo>
                  <a:lnTo>
                    <a:pt x="731" y="348"/>
                  </a:lnTo>
                  <a:lnTo>
                    <a:pt x="733" y="350"/>
                  </a:lnTo>
                  <a:lnTo>
                    <a:pt x="736" y="354"/>
                  </a:lnTo>
                  <a:lnTo>
                    <a:pt x="736" y="367"/>
                  </a:lnTo>
                  <a:lnTo>
                    <a:pt x="736" y="382"/>
                  </a:lnTo>
                  <a:lnTo>
                    <a:pt x="733" y="384"/>
                  </a:lnTo>
                  <a:lnTo>
                    <a:pt x="731" y="386"/>
                  </a:lnTo>
                  <a:lnTo>
                    <a:pt x="729" y="394"/>
                  </a:lnTo>
                  <a:lnTo>
                    <a:pt x="725" y="402"/>
                  </a:lnTo>
                  <a:lnTo>
                    <a:pt x="723" y="403"/>
                  </a:lnTo>
                  <a:lnTo>
                    <a:pt x="721" y="405"/>
                  </a:lnTo>
                  <a:lnTo>
                    <a:pt x="713" y="409"/>
                  </a:lnTo>
                  <a:lnTo>
                    <a:pt x="708" y="411"/>
                  </a:lnTo>
                  <a:lnTo>
                    <a:pt x="704" y="413"/>
                  </a:lnTo>
                  <a:lnTo>
                    <a:pt x="702" y="415"/>
                  </a:lnTo>
                  <a:lnTo>
                    <a:pt x="698" y="419"/>
                  </a:lnTo>
                  <a:lnTo>
                    <a:pt x="696" y="421"/>
                  </a:lnTo>
                  <a:lnTo>
                    <a:pt x="694" y="423"/>
                  </a:lnTo>
                  <a:lnTo>
                    <a:pt x="692" y="426"/>
                  </a:lnTo>
                  <a:lnTo>
                    <a:pt x="689" y="428"/>
                  </a:lnTo>
                  <a:lnTo>
                    <a:pt x="687" y="430"/>
                  </a:lnTo>
                  <a:lnTo>
                    <a:pt x="685" y="432"/>
                  </a:lnTo>
                  <a:lnTo>
                    <a:pt x="683" y="434"/>
                  </a:lnTo>
                  <a:lnTo>
                    <a:pt x="675" y="438"/>
                  </a:lnTo>
                  <a:lnTo>
                    <a:pt x="667" y="440"/>
                  </a:lnTo>
                  <a:lnTo>
                    <a:pt x="666" y="442"/>
                  </a:lnTo>
                  <a:lnTo>
                    <a:pt x="664" y="444"/>
                  </a:lnTo>
                  <a:lnTo>
                    <a:pt x="660" y="448"/>
                  </a:lnTo>
                  <a:lnTo>
                    <a:pt x="658" y="449"/>
                  </a:lnTo>
                  <a:lnTo>
                    <a:pt x="656" y="451"/>
                  </a:lnTo>
                  <a:lnTo>
                    <a:pt x="654" y="455"/>
                  </a:lnTo>
                  <a:lnTo>
                    <a:pt x="650" y="461"/>
                  </a:lnTo>
                  <a:lnTo>
                    <a:pt x="648" y="469"/>
                  </a:lnTo>
                  <a:lnTo>
                    <a:pt x="646" y="471"/>
                  </a:lnTo>
                  <a:lnTo>
                    <a:pt x="644" y="474"/>
                  </a:lnTo>
                  <a:lnTo>
                    <a:pt x="641" y="480"/>
                  </a:lnTo>
                  <a:lnTo>
                    <a:pt x="639" y="488"/>
                  </a:lnTo>
                  <a:lnTo>
                    <a:pt x="637" y="490"/>
                  </a:lnTo>
                  <a:lnTo>
                    <a:pt x="635" y="494"/>
                  </a:lnTo>
                  <a:lnTo>
                    <a:pt x="627" y="494"/>
                  </a:lnTo>
                  <a:lnTo>
                    <a:pt x="619" y="494"/>
                  </a:lnTo>
                  <a:lnTo>
                    <a:pt x="619" y="499"/>
                  </a:lnTo>
                  <a:lnTo>
                    <a:pt x="619" y="507"/>
                  </a:lnTo>
                  <a:lnTo>
                    <a:pt x="618" y="511"/>
                  </a:lnTo>
                  <a:lnTo>
                    <a:pt x="614" y="513"/>
                  </a:lnTo>
                  <a:lnTo>
                    <a:pt x="612" y="520"/>
                  </a:lnTo>
                  <a:lnTo>
                    <a:pt x="610" y="526"/>
                  </a:lnTo>
                  <a:lnTo>
                    <a:pt x="608" y="528"/>
                  </a:lnTo>
                  <a:lnTo>
                    <a:pt x="604" y="532"/>
                  </a:lnTo>
                  <a:lnTo>
                    <a:pt x="589" y="534"/>
                  </a:lnTo>
                  <a:lnTo>
                    <a:pt x="571" y="538"/>
                  </a:lnTo>
                  <a:lnTo>
                    <a:pt x="570" y="540"/>
                  </a:lnTo>
                  <a:lnTo>
                    <a:pt x="566" y="542"/>
                  </a:lnTo>
                  <a:lnTo>
                    <a:pt x="564" y="543"/>
                  </a:lnTo>
                  <a:lnTo>
                    <a:pt x="562" y="547"/>
                  </a:lnTo>
                  <a:lnTo>
                    <a:pt x="560" y="549"/>
                  </a:lnTo>
                  <a:lnTo>
                    <a:pt x="556" y="551"/>
                  </a:lnTo>
                  <a:lnTo>
                    <a:pt x="554" y="553"/>
                  </a:lnTo>
                  <a:lnTo>
                    <a:pt x="552" y="555"/>
                  </a:lnTo>
                  <a:lnTo>
                    <a:pt x="548" y="559"/>
                  </a:lnTo>
                  <a:lnTo>
                    <a:pt x="547" y="561"/>
                  </a:lnTo>
                  <a:lnTo>
                    <a:pt x="525" y="563"/>
                  </a:lnTo>
                  <a:lnTo>
                    <a:pt x="504" y="567"/>
                  </a:lnTo>
                  <a:lnTo>
                    <a:pt x="501" y="568"/>
                  </a:lnTo>
                  <a:lnTo>
                    <a:pt x="499" y="570"/>
                  </a:lnTo>
                  <a:lnTo>
                    <a:pt x="499" y="576"/>
                  </a:lnTo>
                  <a:lnTo>
                    <a:pt x="499" y="580"/>
                  </a:lnTo>
                  <a:lnTo>
                    <a:pt x="501" y="582"/>
                  </a:lnTo>
                  <a:lnTo>
                    <a:pt x="504" y="586"/>
                  </a:lnTo>
                  <a:lnTo>
                    <a:pt x="506" y="588"/>
                  </a:lnTo>
                  <a:lnTo>
                    <a:pt x="508" y="590"/>
                  </a:lnTo>
                  <a:lnTo>
                    <a:pt x="510" y="591"/>
                  </a:lnTo>
                  <a:lnTo>
                    <a:pt x="514" y="595"/>
                  </a:lnTo>
                  <a:lnTo>
                    <a:pt x="510" y="597"/>
                  </a:lnTo>
                  <a:lnTo>
                    <a:pt x="508" y="599"/>
                  </a:lnTo>
                  <a:lnTo>
                    <a:pt x="506" y="601"/>
                  </a:lnTo>
                  <a:lnTo>
                    <a:pt x="504" y="605"/>
                  </a:lnTo>
                  <a:lnTo>
                    <a:pt x="501" y="607"/>
                  </a:lnTo>
                  <a:lnTo>
                    <a:pt x="499" y="609"/>
                  </a:lnTo>
                  <a:lnTo>
                    <a:pt x="497" y="614"/>
                  </a:lnTo>
                  <a:lnTo>
                    <a:pt x="495" y="624"/>
                  </a:lnTo>
                  <a:lnTo>
                    <a:pt x="497" y="634"/>
                  </a:lnTo>
                  <a:lnTo>
                    <a:pt x="499" y="638"/>
                  </a:lnTo>
                  <a:lnTo>
                    <a:pt x="501" y="639"/>
                  </a:lnTo>
                  <a:lnTo>
                    <a:pt x="504" y="643"/>
                  </a:lnTo>
                  <a:lnTo>
                    <a:pt x="510" y="645"/>
                  </a:lnTo>
                  <a:lnTo>
                    <a:pt x="518" y="647"/>
                  </a:lnTo>
                  <a:lnTo>
                    <a:pt x="520" y="651"/>
                  </a:lnTo>
                  <a:lnTo>
                    <a:pt x="524" y="653"/>
                  </a:lnTo>
                  <a:lnTo>
                    <a:pt x="520" y="655"/>
                  </a:lnTo>
                  <a:lnTo>
                    <a:pt x="518" y="659"/>
                  </a:lnTo>
                  <a:lnTo>
                    <a:pt x="516" y="661"/>
                  </a:lnTo>
                  <a:lnTo>
                    <a:pt x="514" y="662"/>
                  </a:lnTo>
                  <a:lnTo>
                    <a:pt x="510" y="664"/>
                  </a:lnTo>
                  <a:lnTo>
                    <a:pt x="508" y="666"/>
                  </a:lnTo>
                  <a:lnTo>
                    <a:pt x="506" y="666"/>
                  </a:lnTo>
                  <a:lnTo>
                    <a:pt x="504" y="666"/>
                  </a:lnTo>
                  <a:lnTo>
                    <a:pt x="499" y="672"/>
                  </a:lnTo>
                  <a:lnTo>
                    <a:pt x="493" y="676"/>
                  </a:lnTo>
                  <a:lnTo>
                    <a:pt x="489" y="676"/>
                  </a:lnTo>
                  <a:lnTo>
                    <a:pt x="483" y="676"/>
                  </a:lnTo>
                  <a:lnTo>
                    <a:pt x="466" y="668"/>
                  </a:lnTo>
                  <a:lnTo>
                    <a:pt x="449" y="662"/>
                  </a:lnTo>
                  <a:lnTo>
                    <a:pt x="433" y="659"/>
                  </a:lnTo>
                  <a:lnTo>
                    <a:pt x="416" y="657"/>
                  </a:lnTo>
                  <a:lnTo>
                    <a:pt x="401" y="657"/>
                  </a:lnTo>
                  <a:lnTo>
                    <a:pt x="383" y="657"/>
                  </a:lnTo>
                  <a:lnTo>
                    <a:pt x="366" y="661"/>
                  </a:lnTo>
                  <a:lnTo>
                    <a:pt x="349" y="666"/>
                  </a:lnTo>
                  <a:lnTo>
                    <a:pt x="336" y="664"/>
                  </a:lnTo>
                  <a:lnTo>
                    <a:pt x="322" y="666"/>
                  </a:lnTo>
                  <a:lnTo>
                    <a:pt x="307" y="672"/>
                  </a:lnTo>
                  <a:lnTo>
                    <a:pt x="289" y="678"/>
                  </a:lnTo>
                  <a:lnTo>
                    <a:pt x="259" y="693"/>
                  </a:lnTo>
                  <a:lnTo>
                    <a:pt x="232" y="707"/>
                  </a:lnTo>
                  <a:lnTo>
                    <a:pt x="228" y="707"/>
                  </a:lnTo>
                  <a:lnTo>
                    <a:pt x="222" y="707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xmlns="" id="{915CAA58-7BE2-AE4B-9696-61D28240DF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8613" y="4016191"/>
              <a:ext cx="1468437" cy="1663700"/>
            </a:xfrm>
            <a:custGeom>
              <a:avLst/>
              <a:gdLst>
                <a:gd name="T0" fmla="*/ 2147483647 w 947"/>
                <a:gd name="T1" fmla="*/ 2147483647 h 1111"/>
                <a:gd name="T2" fmla="*/ 2147483647 w 947"/>
                <a:gd name="T3" fmla="*/ 2147483647 h 1111"/>
                <a:gd name="T4" fmla="*/ 2147483647 w 947"/>
                <a:gd name="T5" fmla="*/ 2147483647 h 1111"/>
                <a:gd name="T6" fmla="*/ 2147483647 w 947"/>
                <a:gd name="T7" fmla="*/ 2147483647 h 1111"/>
                <a:gd name="T8" fmla="*/ 2147483647 w 947"/>
                <a:gd name="T9" fmla="*/ 2147483647 h 1111"/>
                <a:gd name="T10" fmla="*/ 2147483647 w 947"/>
                <a:gd name="T11" fmla="*/ 2147483647 h 1111"/>
                <a:gd name="T12" fmla="*/ 2147483647 w 947"/>
                <a:gd name="T13" fmla="*/ 2147483647 h 1111"/>
                <a:gd name="T14" fmla="*/ 2147483647 w 947"/>
                <a:gd name="T15" fmla="*/ 2147483647 h 1111"/>
                <a:gd name="T16" fmla="*/ 2147483647 w 947"/>
                <a:gd name="T17" fmla="*/ 2147483647 h 1111"/>
                <a:gd name="T18" fmla="*/ 2147483647 w 947"/>
                <a:gd name="T19" fmla="*/ 2147483647 h 1111"/>
                <a:gd name="T20" fmla="*/ 2147483647 w 947"/>
                <a:gd name="T21" fmla="*/ 2147483647 h 1111"/>
                <a:gd name="T22" fmla="*/ 2147483647 w 947"/>
                <a:gd name="T23" fmla="*/ 2147483647 h 1111"/>
                <a:gd name="T24" fmla="*/ 2147483647 w 947"/>
                <a:gd name="T25" fmla="*/ 2147483647 h 1111"/>
                <a:gd name="T26" fmla="*/ 2147483647 w 947"/>
                <a:gd name="T27" fmla="*/ 2147483647 h 1111"/>
                <a:gd name="T28" fmla="*/ 2147483647 w 947"/>
                <a:gd name="T29" fmla="*/ 2147483647 h 1111"/>
                <a:gd name="T30" fmla="*/ 2147483647 w 947"/>
                <a:gd name="T31" fmla="*/ 2147483647 h 1111"/>
                <a:gd name="T32" fmla="*/ 2147483647 w 947"/>
                <a:gd name="T33" fmla="*/ 2147483647 h 1111"/>
                <a:gd name="T34" fmla="*/ 2147483647 w 947"/>
                <a:gd name="T35" fmla="*/ 2147483647 h 1111"/>
                <a:gd name="T36" fmla="*/ 2147483647 w 947"/>
                <a:gd name="T37" fmla="*/ 2147483647 h 1111"/>
                <a:gd name="T38" fmla="*/ 2147483647 w 947"/>
                <a:gd name="T39" fmla="*/ 2147483647 h 1111"/>
                <a:gd name="T40" fmla="*/ 2147483647 w 947"/>
                <a:gd name="T41" fmla="*/ 2147483647 h 1111"/>
                <a:gd name="T42" fmla="*/ 2147483647 w 947"/>
                <a:gd name="T43" fmla="*/ 2147483647 h 1111"/>
                <a:gd name="T44" fmla="*/ 2147483647 w 947"/>
                <a:gd name="T45" fmla="*/ 2147483647 h 1111"/>
                <a:gd name="T46" fmla="*/ 2147483647 w 947"/>
                <a:gd name="T47" fmla="*/ 2147483647 h 1111"/>
                <a:gd name="T48" fmla="*/ 2147483647 w 947"/>
                <a:gd name="T49" fmla="*/ 2147483647 h 1111"/>
                <a:gd name="T50" fmla="*/ 2147483647 w 947"/>
                <a:gd name="T51" fmla="*/ 2147483647 h 1111"/>
                <a:gd name="T52" fmla="*/ 2147483647 w 947"/>
                <a:gd name="T53" fmla="*/ 2147483647 h 1111"/>
                <a:gd name="T54" fmla="*/ 2147483647 w 947"/>
                <a:gd name="T55" fmla="*/ 2147483647 h 1111"/>
                <a:gd name="T56" fmla="*/ 2147483647 w 947"/>
                <a:gd name="T57" fmla="*/ 2147483647 h 1111"/>
                <a:gd name="T58" fmla="*/ 2147483647 w 947"/>
                <a:gd name="T59" fmla="*/ 2147483647 h 1111"/>
                <a:gd name="T60" fmla="*/ 2147483647 w 947"/>
                <a:gd name="T61" fmla="*/ 2147483647 h 1111"/>
                <a:gd name="T62" fmla="*/ 2147483647 w 947"/>
                <a:gd name="T63" fmla="*/ 2147483647 h 1111"/>
                <a:gd name="T64" fmla="*/ 2147483647 w 947"/>
                <a:gd name="T65" fmla="*/ 2147483647 h 1111"/>
                <a:gd name="T66" fmla="*/ 2147483647 w 947"/>
                <a:gd name="T67" fmla="*/ 2147483647 h 1111"/>
                <a:gd name="T68" fmla="*/ 2147483647 w 947"/>
                <a:gd name="T69" fmla="*/ 2147483647 h 1111"/>
                <a:gd name="T70" fmla="*/ 2147483647 w 947"/>
                <a:gd name="T71" fmla="*/ 2147483647 h 1111"/>
                <a:gd name="T72" fmla="*/ 2147483647 w 947"/>
                <a:gd name="T73" fmla="*/ 2147483647 h 1111"/>
                <a:gd name="T74" fmla="*/ 2147483647 w 947"/>
                <a:gd name="T75" fmla="*/ 2147483647 h 1111"/>
                <a:gd name="T76" fmla="*/ 2147483647 w 947"/>
                <a:gd name="T77" fmla="*/ 2147483647 h 1111"/>
                <a:gd name="T78" fmla="*/ 2147483647 w 947"/>
                <a:gd name="T79" fmla="*/ 2147483647 h 1111"/>
                <a:gd name="T80" fmla="*/ 2147483647 w 947"/>
                <a:gd name="T81" fmla="*/ 2147483647 h 1111"/>
                <a:gd name="T82" fmla="*/ 2147483647 w 947"/>
                <a:gd name="T83" fmla="*/ 2147483647 h 1111"/>
                <a:gd name="T84" fmla="*/ 2147483647 w 947"/>
                <a:gd name="T85" fmla="*/ 2147483647 h 1111"/>
                <a:gd name="T86" fmla="*/ 2147483647 w 947"/>
                <a:gd name="T87" fmla="*/ 2147483647 h 1111"/>
                <a:gd name="T88" fmla="*/ 2147483647 w 947"/>
                <a:gd name="T89" fmla="*/ 2147483647 h 1111"/>
                <a:gd name="T90" fmla="*/ 2147483647 w 947"/>
                <a:gd name="T91" fmla="*/ 2147483647 h 1111"/>
                <a:gd name="T92" fmla="*/ 2147483647 w 947"/>
                <a:gd name="T93" fmla="*/ 2147483647 h 1111"/>
                <a:gd name="T94" fmla="*/ 2147483647 w 947"/>
                <a:gd name="T95" fmla="*/ 2147483647 h 1111"/>
                <a:gd name="T96" fmla="*/ 2147483647 w 947"/>
                <a:gd name="T97" fmla="*/ 2147483647 h 1111"/>
                <a:gd name="T98" fmla="*/ 2147483647 w 947"/>
                <a:gd name="T99" fmla="*/ 2147483647 h 1111"/>
                <a:gd name="T100" fmla="*/ 2147483647 w 947"/>
                <a:gd name="T101" fmla="*/ 2147483647 h 1111"/>
                <a:gd name="T102" fmla="*/ 2147483647 w 947"/>
                <a:gd name="T103" fmla="*/ 2147483647 h 1111"/>
                <a:gd name="T104" fmla="*/ 2147483647 w 947"/>
                <a:gd name="T105" fmla="*/ 2147483647 h 1111"/>
                <a:gd name="T106" fmla="*/ 2147483647 w 947"/>
                <a:gd name="T107" fmla="*/ 2147483647 h 1111"/>
                <a:gd name="T108" fmla="*/ 2147483647 w 947"/>
                <a:gd name="T109" fmla="*/ 2147483647 h 1111"/>
                <a:gd name="T110" fmla="*/ 2147483647 w 947"/>
                <a:gd name="T111" fmla="*/ 2147483647 h 1111"/>
                <a:gd name="T112" fmla="*/ 2147483647 w 947"/>
                <a:gd name="T113" fmla="*/ 2147483647 h 1111"/>
                <a:gd name="T114" fmla="*/ 2147483647 w 947"/>
                <a:gd name="T115" fmla="*/ 2147483647 h 1111"/>
                <a:gd name="T116" fmla="*/ 2147483647 w 947"/>
                <a:gd name="T117" fmla="*/ 2147483647 h 1111"/>
                <a:gd name="T118" fmla="*/ 2147483647 w 947"/>
                <a:gd name="T119" fmla="*/ 2147483647 h 1111"/>
                <a:gd name="T120" fmla="*/ 2147483647 w 947"/>
                <a:gd name="T121" fmla="*/ 2147483647 h 1111"/>
                <a:gd name="T122" fmla="*/ 2147483647 w 947"/>
                <a:gd name="T123" fmla="*/ 2147483647 h 1111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947"/>
                <a:gd name="T187" fmla="*/ 0 h 1111"/>
                <a:gd name="T188" fmla="*/ 947 w 947"/>
                <a:gd name="T189" fmla="*/ 1111 h 1111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947" h="1111">
                  <a:moveTo>
                    <a:pt x="439" y="1102"/>
                  </a:moveTo>
                  <a:lnTo>
                    <a:pt x="437" y="1100"/>
                  </a:lnTo>
                  <a:lnTo>
                    <a:pt x="435" y="1098"/>
                  </a:lnTo>
                  <a:lnTo>
                    <a:pt x="428" y="1096"/>
                  </a:lnTo>
                  <a:lnTo>
                    <a:pt x="420" y="1092"/>
                  </a:lnTo>
                  <a:lnTo>
                    <a:pt x="418" y="1090"/>
                  </a:lnTo>
                  <a:lnTo>
                    <a:pt x="416" y="1088"/>
                  </a:lnTo>
                  <a:lnTo>
                    <a:pt x="408" y="1080"/>
                  </a:lnTo>
                  <a:lnTo>
                    <a:pt x="401" y="1073"/>
                  </a:lnTo>
                  <a:lnTo>
                    <a:pt x="399" y="1071"/>
                  </a:lnTo>
                  <a:lnTo>
                    <a:pt x="395" y="1069"/>
                  </a:lnTo>
                  <a:lnTo>
                    <a:pt x="393" y="1065"/>
                  </a:lnTo>
                  <a:lnTo>
                    <a:pt x="391" y="1063"/>
                  </a:lnTo>
                  <a:lnTo>
                    <a:pt x="389" y="1061"/>
                  </a:lnTo>
                  <a:lnTo>
                    <a:pt x="385" y="1059"/>
                  </a:lnTo>
                  <a:lnTo>
                    <a:pt x="383" y="1055"/>
                  </a:lnTo>
                  <a:lnTo>
                    <a:pt x="381" y="1054"/>
                  </a:lnTo>
                  <a:lnTo>
                    <a:pt x="380" y="1052"/>
                  </a:lnTo>
                  <a:lnTo>
                    <a:pt x="376" y="1050"/>
                  </a:lnTo>
                  <a:lnTo>
                    <a:pt x="368" y="1046"/>
                  </a:lnTo>
                  <a:lnTo>
                    <a:pt x="362" y="1044"/>
                  </a:lnTo>
                  <a:lnTo>
                    <a:pt x="358" y="1042"/>
                  </a:lnTo>
                  <a:lnTo>
                    <a:pt x="357" y="1040"/>
                  </a:lnTo>
                  <a:lnTo>
                    <a:pt x="349" y="1036"/>
                  </a:lnTo>
                  <a:lnTo>
                    <a:pt x="343" y="1034"/>
                  </a:lnTo>
                  <a:lnTo>
                    <a:pt x="339" y="1032"/>
                  </a:lnTo>
                  <a:lnTo>
                    <a:pt x="337" y="1031"/>
                  </a:lnTo>
                  <a:lnTo>
                    <a:pt x="320" y="1027"/>
                  </a:lnTo>
                  <a:lnTo>
                    <a:pt x="303" y="1025"/>
                  </a:lnTo>
                  <a:lnTo>
                    <a:pt x="301" y="1023"/>
                  </a:lnTo>
                  <a:lnTo>
                    <a:pt x="299" y="1019"/>
                  </a:lnTo>
                  <a:lnTo>
                    <a:pt x="297" y="1017"/>
                  </a:lnTo>
                  <a:lnTo>
                    <a:pt x="295" y="1015"/>
                  </a:lnTo>
                  <a:lnTo>
                    <a:pt x="291" y="1013"/>
                  </a:lnTo>
                  <a:lnTo>
                    <a:pt x="289" y="1011"/>
                  </a:lnTo>
                  <a:lnTo>
                    <a:pt x="282" y="1007"/>
                  </a:lnTo>
                  <a:lnTo>
                    <a:pt x="274" y="1006"/>
                  </a:lnTo>
                  <a:lnTo>
                    <a:pt x="272" y="1004"/>
                  </a:lnTo>
                  <a:lnTo>
                    <a:pt x="270" y="1002"/>
                  </a:lnTo>
                  <a:lnTo>
                    <a:pt x="263" y="998"/>
                  </a:lnTo>
                  <a:lnTo>
                    <a:pt x="255" y="996"/>
                  </a:lnTo>
                  <a:lnTo>
                    <a:pt x="253" y="992"/>
                  </a:lnTo>
                  <a:lnTo>
                    <a:pt x="251" y="990"/>
                  </a:lnTo>
                  <a:lnTo>
                    <a:pt x="247" y="988"/>
                  </a:lnTo>
                  <a:lnTo>
                    <a:pt x="245" y="986"/>
                  </a:lnTo>
                  <a:lnTo>
                    <a:pt x="243" y="984"/>
                  </a:lnTo>
                  <a:lnTo>
                    <a:pt x="241" y="981"/>
                  </a:lnTo>
                  <a:lnTo>
                    <a:pt x="238" y="979"/>
                  </a:lnTo>
                  <a:lnTo>
                    <a:pt x="236" y="977"/>
                  </a:lnTo>
                  <a:lnTo>
                    <a:pt x="234" y="975"/>
                  </a:lnTo>
                  <a:lnTo>
                    <a:pt x="232" y="971"/>
                  </a:lnTo>
                  <a:lnTo>
                    <a:pt x="216" y="971"/>
                  </a:lnTo>
                  <a:lnTo>
                    <a:pt x="203" y="971"/>
                  </a:lnTo>
                  <a:lnTo>
                    <a:pt x="199" y="975"/>
                  </a:lnTo>
                  <a:lnTo>
                    <a:pt x="197" y="977"/>
                  </a:lnTo>
                  <a:lnTo>
                    <a:pt x="190" y="984"/>
                  </a:lnTo>
                  <a:lnTo>
                    <a:pt x="184" y="990"/>
                  </a:lnTo>
                  <a:lnTo>
                    <a:pt x="180" y="992"/>
                  </a:lnTo>
                  <a:lnTo>
                    <a:pt x="178" y="996"/>
                  </a:lnTo>
                  <a:lnTo>
                    <a:pt x="176" y="992"/>
                  </a:lnTo>
                  <a:lnTo>
                    <a:pt x="174" y="990"/>
                  </a:lnTo>
                  <a:lnTo>
                    <a:pt x="147" y="988"/>
                  </a:lnTo>
                  <a:lnTo>
                    <a:pt x="121" y="986"/>
                  </a:lnTo>
                  <a:lnTo>
                    <a:pt x="117" y="984"/>
                  </a:lnTo>
                  <a:lnTo>
                    <a:pt x="115" y="981"/>
                  </a:lnTo>
                  <a:lnTo>
                    <a:pt x="107" y="979"/>
                  </a:lnTo>
                  <a:lnTo>
                    <a:pt x="101" y="977"/>
                  </a:lnTo>
                  <a:lnTo>
                    <a:pt x="98" y="975"/>
                  </a:lnTo>
                  <a:lnTo>
                    <a:pt x="96" y="971"/>
                  </a:lnTo>
                  <a:lnTo>
                    <a:pt x="94" y="969"/>
                  </a:lnTo>
                  <a:lnTo>
                    <a:pt x="92" y="967"/>
                  </a:lnTo>
                  <a:lnTo>
                    <a:pt x="88" y="963"/>
                  </a:lnTo>
                  <a:lnTo>
                    <a:pt x="86" y="961"/>
                  </a:lnTo>
                  <a:lnTo>
                    <a:pt x="78" y="960"/>
                  </a:lnTo>
                  <a:lnTo>
                    <a:pt x="71" y="958"/>
                  </a:lnTo>
                  <a:lnTo>
                    <a:pt x="69" y="954"/>
                  </a:lnTo>
                  <a:lnTo>
                    <a:pt x="67" y="952"/>
                  </a:lnTo>
                  <a:lnTo>
                    <a:pt x="50" y="950"/>
                  </a:lnTo>
                  <a:lnTo>
                    <a:pt x="32" y="948"/>
                  </a:lnTo>
                  <a:lnTo>
                    <a:pt x="30" y="944"/>
                  </a:lnTo>
                  <a:lnTo>
                    <a:pt x="28" y="942"/>
                  </a:lnTo>
                  <a:lnTo>
                    <a:pt x="27" y="935"/>
                  </a:lnTo>
                  <a:lnTo>
                    <a:pt x="23" y="929"/>
                  </a:lnTo>
                  <a:lnTo>
                    <a:pt x="21" y="925"/>
                  </a:lnTo>
                  <a:lnTo>
                    <a:pt x="19" y="923"/>
                  </a:lnTo>
                  <a:lnTo>
                    <a:pt x="17" y="921"/>
                  </a:lnTo>
                  <a:lnTo>
                    <a:pt x="13" y="919"/>
                  </a:lnTo>
                  <a:lnTo>
                    <a:pt x="11" y="915"/>
                  </a:lnTo>
                  <a:lnTo>
                    <a:pt x="9" y="913"/>
                  </a:lnTo>
                  <a:lnTo>
                    <a:pt x="5" y="912"/>
                  </a:lnTo>
                  <a:lnTo>
                    <a:pt x="3" y="908"/>
                  </a:lnTo>
                  <a:lnTo>
                    <a:pt x="2" y="906"/>
                  </a:lnTo>
                  <a:lnTo>
                    <a:pt x="0" y="904"/>
                  </a:lnTo>
                  <a:lnTo>
                    <a:pt x="2" y="902"/>
                  </a:lnTo>
                  <a:lnTo>
                    <a:pt x="3" y="898"/>
                  </a:lnTo>
                  <a:lnTo>
                    <a:pt x="11" y="896"/>
                  </a:lnTo>
                  <a:lnTo>
                    <a:pt x="19" y="894"/>
                  </a:lnTo>
                  <a:lnTo>
                    <a:pt x="21" y="892"/>
                  </a:lnTo>
                  <a:lnTo>
                    <a:pt x="23" y="890"/>
                  </a:lnTo>
                  <a:lnTo>
                    <a:pt x="30" y="887"/>
                  </a:lnTo>
                  <a:lnTo>
                    <a:pt x="38" y="885"/>
                  </a:lnTo>
                  <a:lnTo>
                    <a:pt x="40" y="883"/>
                  </a:lnTo>
                  <a:lnTo>
                    <a:pt x="42" y="879"/>
                  </a:lnTo>
                  <a:lnTo>
                    <a:pt x="44" y="850"/>
                  </a:lnTo>
                  <a:lnTo>
                    <a:pt x="46" y="819"/>
                  </a:lnTo>
                  <a:lnTo>
                    <a:pt x="46" y="789"/>
                  </a:lnTo>
                  <a:lnTo>
                    <a:pt x="48" y="758"/>
                  </a:lnTo>
                  <a:lnTo>
                    <a:pt x="50" y="756"/>
                  </a:lnTo>
                  <a:lnTo>
                    <a:pt x="53" y="754"/>
                  </a:lnTo>
                  <a:lnTo>
                    <a:pt x="55" y="752"/>
                  </a:lnTo>
                  <a:lnTo>
                    <a:pt x="57" y="748"/>
                  </a:lnTo>
                  <a:lnTo>
                    <a:pt x="59" y="747"/>
                  </a:lnTo>
                  <a:lnTo>
                    <a:pt x="63" y="745"/>
                  </a:lnTo>
                  <a:lnTo>
                    <a:pt x="65" y="743"/>
                  </a:lnTo>
                  <a:lnTo>
                    <a:pt x="67" y="739"/>
                  </a:lnTo>
                  <a:lnTo>
                    <a:pt x="69" y="737"/>
                  </a:lnTo>
                  <a:lnTo>
                    <a:pt x="71" y="735"/>
                  </a:lnTo>
                  <a:lnTo>
                    <a:pt x="74" y="727"/>
                  </a:lnTo>
                  <a:lnTo>
                    <a:pt x="76" y="720"/>
                  </a:lnTo>
                  <a:lnTo>
                    <a:pt x="78" y="718"/>
                  </a:lnTo>
                  <a:lnTo>
                    <a:pt x="82" y="716"/>
                  </a:lnTo>
                  <a:lnTo>
                    <a:pt x="84" y="710"/>
                  </a:lnTo>
                  <a:lnTo>
                    <a:pt x="86" y="700"/>
                  </a:lnTo>
                  <a:lnTo>
                    <a:pt x="84" y="691"/>
                  </a:lnTo>
                  <a:lnTo>
                    <a:pt x="82" y="687"/>
                  </a:lnTo>
                  <a:lnTo>
                    <a:pt x="78" y="683"/>
                  </a:lnTo>
                  <a:lnTo>
                    <a:pt x="76" y="681"/>
                  </a:lnTo>
                  <a:lnTo>
                    <a:pt x="74" y="674"/>
                  </a:lnTo>
                  <a:lnTo>
                    <a:pt x="71" y="668"/>
                  </a:lnTo>
                  <a:lnTo>
                    <a:pt x="69" y="664"/>
                  </a:lnTo>
                  <a:lnTo>
                    <a:pt x="67" y="662"/>
                  </a:lnTo>
                  <a:lnTo>
                    <a:pt x="67" y="643"/>
                  </a:lnTo>
                  <a:lnTo>
                    <a:pt x="67" y="624"/>
                  </a:lnTo>
                  <a:lnTo>
                    <a:pt x="69" y="622"/>
                  </a:lnTo>
                  <a:lnTo>
                    <a:pt x="71" y="618"/>
                  </a:lnTo>
                  <a:lnTo>
                    <a:pt x="74" y="616"/>
                  </a:lnTo>
                  <a:lnTo>
                    <a:pt x="76" y="614"/>
                  </a:lnTo>
                  <a:lnTo>
                    <a:pt x="78" y="610"/>
                  </a:lnTo>
                  <a:lnTo>
                    <a:pt x="82" y="608"/>
                  </a:lnTo>
                  <a:lnTo>
                    <a:pt x="84" y="606"/>
                  </a:lnTo>
                  <a:lnTo>
                    <a:pt x="86" y="605"/>
                  </a:lnTo>
                  <a:lnTo>
                    <a:pt x="88" y="601"/>
                  </a:lnTo>
                  <a:lnTo>
                    <a:pt x="92" y="599"/>
                  </a:lnTo>
                  <a:lnTo>
                    <a:pt x="113" y="597"/>
                  </a:lnTo>
                  <a:lnTo>
                    <a:pt x="134" y="595"/>
                  </a:lnTo>
                  <a:lnTo>
                    <a:pt x="138" y="593"/>
                  </a:lnTo>
                  <a:lnTo>
                    <a:pt x="140" y="589"/>
                  </a:lnTo>
                  <a:lnTo>
                    <a:pt x="142" y="587"/>
                  </a:lnTo>
                  <a:lnTo>
                    <a:pt x="144" y="585"/>
                  </a:lnTo>
                  <a:lnTo>
                    <a:pt x="147" y="582"/>
                  </a:lnTo>
                  <a:lnTo>
                    <a:pt x="149" y="580"/>
                  </a:lnTo>
                  <a:lnTo>
                    <a:pt x="151" y="578"/>
                  </a:lnTo>
                  <a:lnTo>
                    <a:pt x="153" y="576"/>
                  </a:lnTo>
                  <a:lnTo>
                    <a:pt x="157" y="572"/>
                  </a:lnTo>
                  <a:lnTo>
                    <a:pt x="159" y="570"/>
                  </a:lnTo>
                  <a:lnTo>
                    <a:pt x="161" y="572"/>
                  </a:lnTo>
                  <a:lnTo>
                    <a:pt x="163" y="576"/>
                  </a:lnTo>
                  <a:lnTo>
                    <a:pt x="167" y="578"/>
                  </a:lnTo>
                  <a:lnTo>
                    <a:pt x="168" y="580"/>
                  </a:lnTo>
                  <a:lnTo>
                    <a:pt x="170" y="582"/>
                  </a:lnTo>
                  <a:lnTo>
                    <a:pt x="174" y="585"/>
                  </a:lnTo>
                  <a:lnTo>
                    <a:pt x="176" y="597"/>
                  </a:lnTo>
                  <a:lnTo>
                    <a:pt x="178" y="608"/>
                  </a:lnTo>
                  <a:lnTo>
                    <a:pt x="180" y="610"/>
                  </a:lnTo>
                  <a:lnTo>
                    <a:pt x="184" y="614"/>
                  </a:lnTo>
                  <a:lnTo>
                    <a:pt x="186" y="616"/>
                  </a:lnTo>
                  <a:lnTo>
                    <a:pt x="193" y="618"/>
                  </a:lnTo>
                  <a:lnTo>
                    <a:pt x="199" y="616"/>
                  </a:lnTo>
                  <a:lnTo>
                    <a:pt x="203" y="614"/>
                  </a:lnTo>
                  <a:lnTo>
                    <a:pt x="205" y="610"/>
                  </a:lnTo>
                  <a:lnTo>
                    <a:pt x="207" y="608"/>
                  </a:lnTo>
                  <a:lnTo>
                    <a:pt x="211" y="593"/>
                  </a:lnTo>
                  <a:lnTo>
                    <a:pt x="215" y="578"/>
                  </a:lnTo>
                  <a:lnTo>
                    <a:pt x="218" y="562"/>
                  </a:lnTo>
                  <a:lnTo>
                    <a:pt x="222" y="547"/>
                  </a:lnTo>
                  <a:lnTo>
                    <a:pt x="224" y="543"/>
                  </a:lnTo>
                  <a:lnTo>
                    <a:pt x="226" y="541"/>
                  </a:lnTo>
                  <a:lnTo>
                    <a:pt x="228" y="534"/>
                  </a:lnTo>
                  <a:lnTo>
                    <a:pt x="232" y="526"/>
                  </a:lnTo>
                  <a:lnTo>
                    <a:pt x="234" y="524"/>
                  </a:lnTo>
                  <a:lnTo>
                    <a:pt x="236" y="522"/>
                  </a:lnTo>
                  <a:lnTo>
                    <a:pt x="238" y="520"/>
                  </a:lnTo>
                  <a:lnTo>
                    <a:pt x="241" y="516"/>
                  </a:lnTo>
                  <a:lnTo>
                    <a:pt x="243" y="514"/>
                  </a:lnTo>
                  <a:lnTo>
                    <a:pt x="245" y="512"/>
                  </a:lnTo>
                  <a:lnTo>
                    <a:pt x="247" y="505"/>
                  </a:lnTo>
                  <a:lnTo>
                    <a:pt x="251" y="497"/>
                  </a:lnTo>
                  <a:lnTo>
                    <a:pt x="253" y="495"/>
                  </a:lnTo>
                  <a:lnTo>
                    <a:pt x="255" y="493"/>
                  </a:lnTo>
                  <a:lnTo>
                    <a:pt x="259" y="491"/>
                  </a:lnTo>
                  <a:lnTo>
                    <a:pt x="261" y="488"/>
                  </a:lnTo>
                  <a:lnTo>
                    <a:pt x="261" y="476"/>
                  </a:lnTo>
                  <a:lnTo>
                    <a:pt x="261" y="455"/>
                  </a:lnTo>
                  <a:lnTo>
                    <a:pt x="268" y="455"/>
                  </a:lnTo>
                  <a:lnTo>
                    <a:pt x="274" y="455"/>
                  </a:lnTo>
                  <a:lnTo>
                    <a:pt x="276" y="457"/>
                  </a:lnTo>
                  <a:lnTo>
                    <a:pt x="280" y="459"/>
                  </a:lnTo>
                  <a:lnTo>
                    <a:pt x="282" y="461"/>
                  </a:lnTo>
                  <a:lnTo>
                    <a:pt x="286" y="464"/>
                  </a:lnTo>
                  <a:lnTo>
                    <a:pt x="287" y="466"/>
                  </a:lnTo>
                  <a:lnTo>
                    <a:pt x="289" y="468"/>
                  </a:lnTo>
                  <a:lnTo>
                    <a:pt x="297" y="470"/>
                  </a:lnTo>
                  <a:lnTo>
                    <a:pt x="303" y="474"/>
                  </a:lnTo>
                  <a:lnTo>
                    <a:pt x="307" y="476"/>
                  </a:lnTo>
                  <a:lnTo>
                    <a:pt x="309" y="478"/>
                  </a:lnTo>
                  <a:lnTo>
                    <a:pt x="316" y="480"/>
                  </a:lnTo>
                  <a:lnTo>
                    <a:pt x="324" y="484"/>
                  </a:lnTo>
                  <a:lnTo>
                    <a:pt x="326" y="486"/>
                  </a:lnTo>
                  <a:lnTo>
                    <a:pt x="328" y="488"/>
                  </a:lnTo>
                  <a:lnTo>
                    <a:pt x="337" y="488"/>
                  </a:lnTo>
                  <a:lnTo>
                    <a:pt x="347" y="488"/>
                  </a:lnTo>
                  <a:lnTo>
                    <a:pt x="349" y="486"/>
                  </a:lnTo>
                  <a:lnTo>
                    <a:pt x="353" y="484"/>
                  </a:lnTo>
                  <a:lnTo>
                    <a:pt x="355" y="470"/>
                  </a:lnTo>
                  <a:lnTo>
                    <a:pt x="357" y="459"/>
                  </a:lnTo>
                  <a:lnTo>
                    <a:pt x="358" y="457"/>
                  </a:lnTo>
                  <a:lnTo>
                    <a:pt x="362" y="455"/>
                  </a:lnTo>
                  <a:lnTo>
                    <a:pt x="364" y="451"/>
                  </a:lnTo>
                  <a:lnTo>
                    <a:pt x="366" y="449"/>
                  </a:lnTo>
                  <a:lnTo>
                    <a:pt x="370" y="447"/>
                  </a:lnTo>
                  <a:lnTo>
                    <a:pt x="372" y="445"/>
                  </a:lnTo>
                  <a:lnTo>
                    <a:pt x="372" y="436"/>
                  </a:lnTo>
                  <a:lnTo>
                    <a:pt x="372" y="426"/>
                  </a:lnTo>
                  <a:lnTo>
                    <a:pt x="370" y="422"/>
                  </a:lnTo>
                  <a:lnTo>
                    <a:pt x="366" y="420"/>
                  </a:lnTo>
                  <a:lnTo>
                    <a:pt x="364" y="418"/>
                  </a:lnTo>
                  <a:lnTo>
                    <a:pt x="362" y="415"/>
                  </a:lnTo>
                  <a:lnTo>
                    <a:pt x="358" y="413"/>
                  </a:lnTo>
                  <a:lnTo>
                    <a:pt x="357" y="411"/>
                  </a:lnTo>
                  <a:lnTo>
                    <a:pt x="349" y="409"/>
                  </a:lnTo>
                  <a:lnTo>
                    <a:pt x="343" y="405"/>
                  </a:lnTo>
                  <a:lnTo>
                    <a:pt x="339" y="403"/>
                  </a:lnTo>
                  <a:lnTo>
                    <a:pt x="337" y="401"/>
                  </a:lnTo>
                  <a:lnTo>
                    <a:pt x="339" y="399"/>
                  </a:lnTo>
                  <a:lnTo>
                    <a:pt x="343" y="395"/>
                  </a:lnTo>
                  <a:lnTo>
                    <a:pt x="345" y="388"/>
                  </a:lnTo>
                  <a:lnTo>
                    <a:pt x="347" y="382"/>
                  </a:lnTo>
                  <a:lnTo>
                    <a:pt x="349" y="378"/>
                  </a:lnTo>
                  <a:lnTo>
                    <a:pt x="353" y="376"/>
                  </a:lnTo>
                  <a:lnTo>
                    <a:pt x="355" y="374"/>
                  </a:lnTo>
                  <a:lnTo>
                    <a:pt x="357" y="372"/>
                  </a:lnTo>
                  <a:lnTo>
                    <a:pt x="358" y="369"/>
                  </a:lnTo>
                  <a:lnTo>
                    <a:pt x="362" y="367"/>
                  </a:lnTo>
                  <a:lnTo>
                    <a:pt x="364" y="365"/>
                  </a:lnTo>
                  <a:lnTo>
                    <a:pt x="366" y="357"/>
                  </a:lnTo>
                  <a:lnTo>
                    <a:pt x="364" y="351"/>
                  </a:lnTo>
                  <a:lnTo>
                    <a:pt x="362" y="347"/>
                  </a:lnTo>
                  <a:lnTo>
                    <a:pt x="358" y="346"/>
                  </a:lnTo>
                  <a:lnTo>
                    <a:pt x="357" y="344"/>
                  </a:lnTo>
                  <a:lnTo>
                    <a:pt x="339" y="340"/>
                  </a:lnTo>
                  <a:lnTo>
                    <a:pt x="324" y="338"/>
                  </a:lnTo>
                  <a:lnTo>
                    <a:pt x="320" y="336"/>
                  </a:lnTo>
                  <a:lnTo>
                    <a:pt x="318" y="334"/>
                  </a:lnTo>
                  <a:lnTo>
                    <a:pt x="316" y="321"/>
                  </a:lnTo>
                  <a:lnTo>
                    <a:pt x="314" y="309"/>
                  </a:lnTo>
                  <a:lnTo>
                    <a:pt x="310" y="307"/>
                  </a:lnTo>
                  <a:lnTo>
                    <a:pt x="309" y="305"/>
                  </a:lnTo>
                  <a:lnTo>
                    <a:pt x="310" y="290"/>
                  </a:lnTo>
                  <a:lnTo>
                    <a:pt x="314" y="275"/>
                  </a:lnTo>
                  <a:lnTo>
                    <a:pt x="316" y="261"/>
                  </a:lnTo>
                  <a:lnTo>
                    <a:pt x="318" y="246"/>
                  </a:lnTo>
                  <a:lnTo>
                    <a:pt x="320" y="244"/>
                  </a:lnTo>
                  <a:lnTo>
                    <a:pt x="324" y="242"/>
                  </a:lnTo>
                  <a:lnTo>
                    <a:pt x="326" y="238"/>
                  </a:lnTo>
                  <a:lnTo>
                    <a:pt x="328" y="236"/>
                  </a:lnTo>
                  <a:lnTo>
                    <a:pt x="330" y="234"/>
                  </a:lnTo>
                  <a:lnTo>
                    <a:pt x="333" y="232"/>
                  </a:lnTo>
                  <a:lnTo>
                    <a:pt x="335" y="225"/>
                  </a:lnTo>
                  <a:lnTo>
                    <a:pt x="337" y="217"/>
                  </a:lnTo>
                  <a:lnTo>
                    <a:pt x="339" y="215"/>
                  </a:lnTo>
                  <a:lnTo>
                    <a:pt x="343" y="213"/>
                  </a:lnTo>
                  <a:lnTo>
                    <a:pt x="345" y="209"/>
                  </a:lnTo>
                  <a:lnTo>
                    <a:pt x="347" y="207"/>
                  </a:lnTo>
                  <a:lnTo>
                    <a:pt x="349" y="205"/>
                  </a:lnTo>
                  <a:lnTo>
                    <a:pt x="353" y="204"/>
                  </a:lnTo>
                  <a:lnTo>
                    <a:pt x="355" y="190"/>
                  </a:lnTo>
                  <a:lnTo>
                    <a:pt x="357" y="163"/>
                  </a:lnTo>
                  <a:lnTo>
                    <a:pt x="355" y="138"/>
                  </a:lnTo>
                  <a:lnTo>
                    <a:pt x="353" y="125"/>
                  </a:lnTo>
                  <a:lnTo>
                    <a:pt x="349" y="123"/>
                  </a:lnTo>
                  <a:lnTo>
                    <a:pt x="347" y="121"/>
                  </a:lnTo>
                  <a:lnTo>
                    <a:pt x="345" y="113"/>
                  </a:lnTo>
                  <a:lnTo>
                    <a:pt x="343" y="106"/>
                  </a:lnTo>
                  <a:lnTo>
                    <a:pt x="339" y="104"/>
                  </a:lnTo>
                  <a:lnTo>
                    <a:pt x="337" y="102"/>
                  </a:lnTo>
                  <a:lnTo>
                    <a:pt x="337" y="86"/>
                  </a:lnTo>
                  <a:lnTo>
                    <a:pt x="337" y="73"/>
                  </a:lnTo>
                  <a:lnTo>
                    <a:pt x="339" y="69"/>
                  </a:lnTo>
                  <a:lnTo>
                    <a:pt x="343" y="67"/>
                  </a:lnTo>
                  <a:lnTo>
                    <a:pt x="343" y="62"/>
                  </a:lnTo>
                  <a:lnTo>
                    <a:pt x="343" y="58"/>
                  </a:lnTo>
                  <a:lnTo>
                    <a:pt x="339" y="56"/>
                  </a:lnTo>
                  <a:lnTo>
                    <a:pt x="337" y="52"/>
                  </a:lnTo>
                  <a:lnTo>
                    <a:pt x="341" y="39"/>
                  </a:lnTo>
                  <a:lnTo>
                    <a:pt x="343" y="29"/>
                  </a:lnTo>
                  <a:lnTo>
                    <a:pt x="349" y="23"/>
                  </a:lnTo>
                  <a:lnTo>
                    <a:pt x="357" y="14"/>
                  </a:lnTo>
                  <a:lnTo>
                    <a:pt x="358" y="12"/>
                  </a:lnTo>
                  <a:lnTo>
                    <a:pt x="362" y="10"/>
                  </a:lnTo>
                  <a:lnTo>
                    <a:pt x="368" y="6"/>
                  </a:lnTo>
                  <a:lnTo>
                    <a:pt x="376" y="4"/>
                  </a:lnTo>
                  <a:lnTo>
                    <a:pt x="380" y="2"/>
                  </a:lnTo>
                  <a:lnTo>
                    <a:pt x="381" y="0"/>
                  </a:lnTo>
                  <a:lnTo>
                    <a:pt x="385" y="0"/>
                  </a:lnTo>
                  <a:lnTo>
                    <a:pt x="391" y="0"/>
                  </a:lnTo>
                  <a:lnTo>
                    <a:pt x="393" y="2"/>
                  </a:lnTo>
                  <a:lnTo>
                    <a:pt x="395" y="4"/>
                  </a:lnTo>
                  <a:lnTo>
                    <a:pt x="393" y="6"/>
                  </a:lnTo>
                  <a:lnTo>
                    <a:pt x="391" y="10"/>
                  </a:lnTo>
                  <a:lnTo>
                    <a:pt x="389" y="12"/>
                  </a:lnTo>
                  <a:lnTo>
                    <a:pt x="387" y="19"/>
                  </a:lnTo>
                  <a:lnTo>
                    <a:pt x="389" y="25"/>
                  </a:lnTo>
                  <a:lnTo>
                    <a:pt x="391" y="29"/>
                  </a:lnTo>
                  <a:lnTo>
                    <a:pt x="393" y="31"/>
                  </a:lnTo>
                  <a:lnTo>
                    <a:pt x="395" y="33"/>
                  </a:lnTo>
                  <a:lnTo>
                    <a:pt x="408" y="37"/>
                  </a:lnTo>
                  <a:lnTo>
                    <a:pt x="420" y="39"/>
                  </a:lnTo>
                  <a:lnTo>
                    <a:pt x="422" y="40"/>
                  </a:lnTo>
                  <a:lnTo>
                    <a:pt x="424" y="42"/>
                  </a:lnTo>
                  <a:lnTo>
                    <a:pt x="428" y="46"/>
                  </a:lnTo>
                  <a:lnTo>
                    <a:pt x="429" y="48"/>
                  </a:lnTo>
                  <a:lnTo>
                    <a:pt x="431" y="50"/>
                  </a:lnTo>
                  <a:lnTo>
                    <a:pt x="435" y="52"/>
                  </a:lnTo>
                  <a:lnTo>
                    <a:pt x="437" y="60"/>
                  </a:lnTo>
                  <a:lnTo>
                    <a:pt x="439" y="67"/>
                  </a:lnTo>
                  <a:lnTo>
                    <a:pt x="441" y="69"/>
                  </a:lnTo>
                  <a:lnTo>
                    <a:pt x="445" y="73"/>
                  </a:lnTo>
                  <a:lnTo>
                    <a:pt x="447" y="85"/>
                  </a:lnTo>
                  <a:lnTo>
                    <a:pt x="449" y="96"/>
                  </a:lnTo>
                  <a:lnTo>
                    <a:pt x="451" y="98"/>
                  </a:lnTo>
                  <a:lnTo>
                    <a:pt x="454" y="102"/>
                  </a:lnTo>
                  <a:lnTo>
                    <a:pt x="456" y="108"/>
                  </a:lnTo>
                  <a:lnTo>
                    <a:pt x="458" y="115"/>
                  </a:lnTo>
                  <a:lnTo>
                    <a:pt x="460" y="117"/>
                  </a:lnTo>
                  <a:lnTo>
                    <a:pt x="464" y="121"/>
                  </a:lnTo>
                  <a:lnTo>
                    <a:pt x="470" y="123"/>
                  </a:lnTo>
                  <a:lnTo>
                    <a:pt x="477" y="125"/>
                  </a:lnTo>
                  <a:lnTo>
                    <a:pt x="479" y="129"/>
                  </a:lnTo>
                  <a:lnTo>
                    <a:pt x="483" y="131"/>
                  </a:lnTo>
                  <a:lnTo>
                    <a:pt x="485" y="157"/>
                  </a:lnTo>
                  <a:lnTo>
                    <a:pt x="487" y="184"/>
                  </a:lnTo>
                  <a:lnTo>
                    <a:pt x="491" y="186"/>
                  </a:lnTo>
                  <a:lnTo>
                    <a:pt x="493" y="188"/>
                  </a:lnTo>
                  <a:lnTo>
                    <a:pt x="495" y="190"/>
                  </a:lnTo>
                  <a:lnTo>
                    <a:pt x="497" y="194"/>
                  </a:lnTo>
                  <a:lnTo>
                    <a:pt x="500" y="196"/>
                  </a:lnTo>
                  <a:lnTo>
                    <a:pt x="502" y="198"/>
                  </a:lnTo>
                  <a:lnTo>
                    <a:pt x="504" y="200"/>
                  </a:lnTo>
                  <a:lnTo>
                    <a:pt x="506" y="204"/>
                  </a:lnTo>
                  <a:lnTo>
                    <a:pt x="508" y="205"/>
                  </a:lnTo>
                  <a:lnTo>
                    <a:pt x="512" y="207"/>
                  </a:lnTo>
                  <a:lnTo>
                    <a:pt x="520" y="209"/>
                  </a:lnTo>
                  <a:lnTo>
                    <a:pt x="527" y="213"/>
                  </a:lnTo>
                  <a:lnTo>
                    <a:pt x="529" y="215"/>
                  </a:lnTo>
                  <a:lnTo>
                    <a:pt x="531" y="217"/>
                  </a:lnTo>
                  <a:lnTo>
                    <a:pt x="531" y="232"/>
                  </a:lnTo>
                  <a:lnTo>
                    <a:pt x="531" y="246"/>
                  </a:lnTo>
                  <a:lnTo>
                    <a:pt x="529" y="248"/>
                  </a:lnTo>
                  <a:lnTo>
                    <a:pt x="527" y="252"/>
                  </a:lnTo>
                  <a:lnTo>
                    <a:pt x="523" y="273"/>
                  </a:lnTo>
                  <a:lnTo>
                    <a:pt x="523" y="319"/>
                  </a:lnTo>
                  <a:lnTo>
                    <a:pt x="523" y="365"/>
                  </a:lnTo>
                  <a:lnTo>
                    <a:pt x="527" y="386"/>
                  </a:lnTo>
                  <a:lnTo>
                    <a:pt x="529" y="390"/>
                  </a:lnTo>
                  <a:lnTo>
                    <a:pt x="531" y="392"/>
                  </a:lnTo>
                  <a:lnTo>
                    <a:pt x="533" y="393"/>
                  </a:lnTo>
                  <a:lnTo>
                    <a:pt x="535" y="395"/>
                  </a:lnTo>
                  <a:lnTo>
                    <a:pt x="539" y="399"/>
                  </a:lnTo>
                  <a:lnTo>
                    <a:pt x="541" y="401"/>
                  </a:lnTo>
                  <a:lnTo>
                    <a:pt x="550" y="401"/>
                  </a:lnTo>
                  <a:lnTo>
                    <a:pt x="560" y="401"/>
                  </a:lnTo>
                  <a:lnTo>
                    <a:pt x="562" y="399"/>
                  </a:lnTo>
                  <a:lnTo>
                    <a:pt x="566" y="395"/>
                  </a:lnTo>
                  <a:lnTo>
                    <a:pt x="571" y="393"/>
                  </a:lnTo>
                  <a:lnTo>
                    <a:pt x="579" y="392"/>
                  </a:lnTo>
                  <a:lnTo>
                    <a:pt x="581" y="390"/>
                  </a:lnTo>
                  <a:lnTo>
                    <a:pt x="585" y="386"/>
                  </a:lnTo>
                  <a:lnTo>
                    <a:pt x="587" y="384"/>
                  </a:lnTo>
                  <a:lnTo>
                    <a:pt x="589" y="382"/>
                  </a:lnTo>
                  <a:lnTo>
                    <a:pt x="591" y="378"/>
                  </a:lnTo>
                  <a:lnTo>
                    <a:pt x="594" y="376"/>
                  </a:lnTo>
                  <a:lnTo>
                    <a:pt x="596" y="374"/>
                  </a:lnTo>
                  <a:lnTo>
                    <a:pt x="598" y="372"/>
                  </a:lnTo>
                  <a:lnTo>
                    <a:pt x="602" y="369"/>
                  </a:lnTo>
                  <a:lnTo>
                    <a:pt x="604" y="367"/>
                  </a:lnTo>
                  <a:lnTo>
                    <a:pt x="606" y="365"/>
                  </a:lnTo>
                  <a:lnTo>
                    <a:pt x="608" y="363"/>
                  </a:lnTo>
                  <a:lnTo>
                    <a:pt x="612" y="361"/>
                  </a:lnTo>
                  <a:lnTo>
                    <a:pt x="614" y="357"/>
                  </a:lnTo>
                  <a:lnTo>
                    <a:pt x="616" y="355"/>
                  </a:lnTo>
                  <a:lnTo>
                    <a:pt x="617" y="353"/>
                  </a:lnTo>
                  <a:lnTo>
                    <a:pt x="621" y="349"/>
                  </a:lnTo>
                  <a:lnTo>
                    <a:pt x="623" y="347"/>
                  </a:lnTo>
                  <a:lnTo>
                    <a:pt x="631" y="346"/>
                  </a:lnTo>
                  <a:lnTo>
                    <a:pt x="639" y="344"/>
                  </a:lnTo>
                  <a:lnTo>
                    <a:pt x="640" y="340"/>
                  </a:lnTo>
                  <a:lnTo>
                    <a:pt x="642" y="338"/>
                  </a:lnTo>
                  <a:lnTo>
                    <a:pt x="644" y="340"/>
                  </a:lnTo>
                  <a:lnTo>
                    <a:pt x="646" y="344"/>
                  </a:lnTo>
                  <a:lnTo>
                    <a:pt x="650" y="346"/>
                  </a:lnTo>
                  <a:lnTo>
                    <a:pt x="652" y="347"/>
                  </a:lnTo>
                  <a:lnTo>
                    <a:pt x="654" y="349"/>
                  </a:lnTo>
                  <a:lnTo>
                    <a:pt x="656" y="353"/>
                  </a:lnTo>
                  <a:lnTo>
                    <a:pt x="665" y="353"/>
                  </a:lnTo>
                  <a:lnTo>
                    <a:pt x="677" y="353"/>
                  </a:lnTo>
                  <a:lnTo>
                    <a:pt x="679" y="349"/>
                  </a:lnTo>
                  <a:lnTo>
                    <a:pt x="681" y="347"/>
                  </a:lnTo>
                  <a:lnTo>
                    <a:pt x="683" y="346"/>
                  </a:lnTo>
                  <a:lnTo>
                    <a:pt x="687" y="344"/>
                  </a:lnTo>
                  <a:lnTo>
                    <a:pt x="688" y="340"/>
                  </a:lnTo>
                  <a:lnTo>
                    <a:pt x="690" y="338"/>
                  </a:lnTo>
                  <a:lnTo>
                    <a:pt x="692" y="330"/>
                  </a:lnTo>
                  <a:lnTo>
                    <a:pt x="696" y="322"/>
                  </a:lnTo>
                  <a:lnTo>
                    <a:pt x="698" y="321"/>
                  </a:lnTo>
                  <a:lnTo>
                    <a:pt x="700" y="319"/>
                  </a:lnTo>
                  <a:lnTo>
                    <a:pt x="702" y="311"/>
                  </a:lnTo>
                  <a:lnTo>
                    <a:pt x="706" y="305"/>
                  </a:lnTo>
                  <a:lnTo>
                    <a:pt x="708" y="301"/>
                  </a:lnTo>
                  <a:lnTo>
                    <a:pt x="710" y="299"/>
                  </a:lnTo>
                  <a:lnTo>
                    <a:pt x="711" y="292"/>
                  </a:lnTo>
                  <a:lnTo>
                    <a:pt x="715" y="284"/>
                  </a:lnTo>
                  <a:lnTo>
                    <a:pt x="717" y="282"/>
                  </a:lnTo>
                  <a:lnTo>
                    <a:pt x="719" y="280"/>
                  </a:lnTo>
                  <a:lnTo>
                    <a:pt x="723" y="257"/>
                  </a:lnTo>
                  <a:lnTo>
                    <a:pt x="725" y="236"/>
                  </a:lnTo>
                  <a:lnTo>
                    <a:pt x="727" y="234"/>
                  </a:lnTo>
                  <a:lnTo>
                    <a:pt x="729" y="232"/>
                  </a:lnTo>
                  <a:lnTo>
                    <a:pt x="733" y="219"/>
                  </a:lnTo>
                  <a:lnTo>
                    <a:pt x="734" y="207"/>
                  </a:lnTo>
                  <a:lnTo>
                    <a:pt x="736" y="205"/>
                  </a:lnTo>
                  <a:lnTo>
                    <a:pt x="738" y="204"/>
                  </a:lnTo>
                  <a:lnTo>
                    <a:pt x="752" y="200"/>
                  </a:lnTo>
                  <a:lnTo>
                    <a:pt x="763" y="198"/>
                  </a:lnTo>
                  <a:lnTo>
                    <a:pt x="765" y="196"/>
                  </a:lnTo>
                  <a:lnTo>
                    <a:pt x="767" y="194"/>
                  </a:lnTo>
                  <a:lnTo>
                    <a:pt x="773" y="194"/>
                  </a:lnTo>
                  <a:lnTo>
                    <a:pt x="777" y="194"/>
                  </a:lnTo>
                  <a:lnTo>
                    <a:pt x="781" y="196"/>
                  </a:lnTo>
                  <a:lnTo>
                    <a:pt x="782" y="198"/>
                  </a:lnTo>
                  <a:lnTo>
                    <a:pt x="790" y="200"/>
                  </a:lnTo>
                  <a:lnTo>
                    <a:pt x="798" y="204"/>
                  </a:lnTo>
                  <a:lnTo>
                    <a:pt x="800" y="205"/>
                  </a:lnTo>
                  <a:lnTo>
                    <a:pt x="802" y="207"/>
                  </a:lnTo>
                  <a:lnTo>
                    <a:pt x="804" y="209"/>
                  </a:lnTo>
                  <a:lnTo>
                    <a:pt x="807" y="213"/>
                  </a:lnTo>
                  <a:lnTo>
                    <a:pt x="809" y="215"/>
                  </a:lnTo>
                  <a:lnTo>
                    <a:pt x="811" y="217"/>
                  </a:lnTo>
                  <a:lnTo>
                    <a:pt x="813" y="219"/>
                  </a:lnTo>
                  <a:lnTo>
                    <a:pt x="817" y="223"/>
                  </a:lnTo>
                  <a:lnTo>
                    <a:pt x="819" y="225"/>
                  </a:lnTo>
                  <a:lnTo>
                    <a:pt x="821" y="227"/>
                  </a:lnTo>
                  <a:lnTo>
                    <a:pt x="823" y="234"/>
                  </a:lnTo>
                  <a:lnTo>
                    <a:pt x="827" y="242"/>
                  </a:lnTo>
                  <a:lnTo>
                    <a:pt x="829" y="244"/>
                  </a:lnTo>
                  <a:lnTo>
                    <a:pt x="830" y="246"/>
                  </a:lnTo>
                  <a:lnTo>
                    <a:pt x="832" y="248"/>
                  </a:lnTo>
                  <a:lnTo>
                    <a:pt x="836" y="252"/>
                  </a:lnTo>
                  <a:lnTo>
                    <a:pt x="838" y="253"/>
                  </a:lnTo>
                  <a:lnTo>
                    <a:pt x="840" y="255"/>
                  </a:lnTo>
                  <a:lnTo>
                    <a:pt x="850" y="255"/>
                  </a:lnTo>
                  <a:lnTo>
                    <a:pt x="859" y="255"/>
                  </a:lnTo>
                  <a:lnTo>
                    <a:pt x="861" y="253"/>
                  </a:lnTo>
                  <a:lnTo>
                    <a:pt x="865" y="252"/>
                  </a:lnTo>
                  <a:lnTo>
                    <a:pt x="867" y="248"/>
                  </a:lnTo>
                  <a:lnTo>
                    <a:pt x="871" y="246"/>
                  </a:lnTo>
                  <a:lnTo>
                    <a:pt x="873" y="244"/>
                  </a:lnTo>
                  <a:lnTo>
                    <a:pt x="875" y="242"/>
                  </a:lnTo>
                  <a:lnTo>
                    <a:pt x="876" y="238"/>
                  </a:lnTo>
                  <a:lnTo>
                    <a:pt x="878" y="236"/>
                  </a:lnTo>
                  <a:lnTo>
                    <a:pt x="882" y="234"/>
                  </a:lnTo>
                  <a:lnTo>
                    <a:pt x="884" y="232"/>
                  </a:lnTo>
                  <a:lnTo>
                    <a:pt x="886" y="234"/>
                  </a:lnTo>
                  <a:lnTo>
                    <a:pt x="888" y="236"/>
                  </a:lnTo>
                  <a:lnTo>
                    <a:pt x="892" y="248"/>
                  </a:lnTo>
                  <a:lnTo>
                    <a:pt x="894" y="261"/>
                  </a:lnTo>
                  <a:lnTo>
                    <a:pt x="896" y="263"/>
                  </a:lnTo>
                  <a:lnTo>
                    <a:pt x="899" y="265"/>
                  </a:lnTo>
                  <a:lnTo>
                    <a:pt x="901" y="269"/>
                  </a:lnTo>
                  <a:lnTo>
                    <a:pt x="903" y="271"/>
                  </a:lnTo>
                  <a:lnTo>
                    <a:pt x="905" y="273"/>
                  </a:lnTo>
                  <a:lnTo>
                    <a:pt x="909" y="275"/>
                  </a:lnTo>
                  <a:lnTo>
                    <a:pt x="911" y="278"/>
                  </a:lnTo>
                  <a:lnTo>
                    <a:pt x="913" y="280"/>
                  </a:lnTo>
                  <a:lnTo>
                    <a:pt x="915" y="282"/>
                  </a:lnTo>
                  <a:lnTo>
                    <a:pt x="919" y="284"/>
                  </a:lnTo>
                  <a:lnTo>
                    <a:pt x="921" y="288"/>
                  </a:lnTo>
                  <a:lnTo>
                    <a:pt x="923" y="290"/>
                  </a:lnTo>
                  <a:lnTo>
                    <a:pt x="924" y="292"/>
                  </a:lnTo>
                  <a:lnTo>
                    <a:pt x="928" y="294"/>
                  </a:lnTo>
                  <a:lnTo>
                    <a:pt x="928" y="301"/>
                  </a:lnTo>
                  <a:lnTo>
                    <a:pt x="928" y="309"/>
                  </a:lnTo>
                  <a:lnTo>
                    <a:pt x="934" y="309"/>
                  </a:lnTo>
                  <a:lnTo>
                    <a:pt x="942" y="309"/>
                  </a:lnTo>
                  <a:lnTo>
                    <a:pt x="944" y="311"/>
                  </a:lnTo>
                  <a:lnTo>
                    <a:pt x="947" y="315"/>
                  </a:lnTo>
                  <a:lnTo>
                    <a:pt x="944" y="317"/>
                  </a:lnTo>
                  <a:lnTo>
                    <a:pt x="942" y="319"/>
                  </a:lnTo>
                  <a:lnTo>
                    <a:pt x="921" y="321"/>
                  </a:lnTo>
                  <a:lnTo>
                    <a:pt x="899" y="322"/>
                  </a:lnTo>
                  <a:lnTo>
                    <a:pt x="896" y="326"/>
                  </a:lnTo>
                  <a:lnTo>
                    <a:pt x="894" y="328"/>
                  </a:lnTo>
                  <a:lnTo>
                    <a:pt x="892" y="340"/>
                  </a:lnTo>
                  <a:lnTo>
                    <a:pt x="890" y="363"/>
                  </a:lnTo>
                  <a:lnTo>
                    <a:pt x="892" y="386"/>
                  </a:lnTo>
                  <a:lnTo>
                    <a:pt x="894" y="395"/>
                  </a:lnTo>
                  <a:lnTo>
                    <a:pt x="896" y="399"/>
                  </a:lnTo>
                  <a:lnTo>
                    <a:pt x="899" y="401"/>
                  </a:lnTo>
                  <a:lnTo>
                    <a:pt x="899" y="409"/>
                  </a:lnTo>
                  <a:lnTo>
                    <a:pt x="899" y="415"/>
                  </a:lnTo>
                  <a:lnTo>
                    <a:pt x="905" y="415"/>
                  </a:lnTo>
                  <a:lnTo>
                    <a:pt x="913" y="415"/>
                  </a:lnTo>
                  <a:lnTo>
                    <a:pt x="915" y="418"/>
                  </a:lnTo>
                  <a:lnTo>
                    <a:pt x="919" y="420"/>
                  </a:lnTo>
                  <a:lnTo>
                    <a:pt x="921" y="428"/>
                  </a:lnTo>
                  <a:lnTo>
                    <a:pt x="923" y="436"/>
                  </a:lnTo>
                  <a:lnTo>
                    <a:pt x="924" y="438"/>
                  </a:lnTo>
                  <a:lnTo>
                    <a:pt x="928" y="440"/>
                  </a:lnTo>
                  <a:lnTo>
                    <a:pt x="928" y="445"/>
                  </a:lnTo>
                  <a:lnTo>
                    <a:pt x="928" y="449"/>
                  </a:lnTo>
                  <a:lnTo>
                    <a:pt x="924" y="451"/>
                  </a:lnTo>
                  <a:lnTo>
                    <a:pt x="923" y="455"/>
                  </a:lnTo>
                  <a:lnTo>
                    <a:pt x="921" y="457"/>
                  </a:lnTo>
                  <a:lnTo>
                    <a:pt x="919" y="459"/>
                  </a:lnTo>
                  <a:lnTo>
                    <a:pt x="915" y="461"/>
                  </a:lnTo>
                  <a:lnTo>
                    <a:pt x="913" y="464"/>
                  </a:lnTo>
                  <a:lnTo>
                    <a:pt x="911" y="466"/>
                  </a:lnTo>
                  <a:lnTo>
                    <a:pt x="909" y="468"/>
                  </a:lnTo>
                  <a:lnTo>
                    <a:pt x="905" y="470"/>
                  </a:lnTo>
                  <a:lnTo>
                    <a:pt x="903" y="474"/>
                  </a:lnTo>
                  <a:lnTo>
                    <a:pt x="901" y="476"/>
                  </a:lnTo>
                  <a:lnTo>
                    <a:pt x="899" y="478"/>
                  </a:lnTo>
                  <a:lnTo>
                    <a:pt x="896" y="480"/>
                  </a:lnTo>
                  <a:lnTo>
                    <a:pt x="894" y="484"/>
                  </a:lnTo>
                  <a:lnTo>
                    <a:pt x="884" y="484"/>
                  </a:lnTo>
                  <a:lnTo>
                    <a:pt x="875" y="484"/>
                  </a:lnTo>
                  <a:lnTo>
                    <a:pt x="873" y="480"/>
                  </a:lnTo>
                  <a:lnTo>
                    <a:pt x="871" y="478"/>
                  </a:lnTo>
                  <a:lnTo>
                    <a:pt x="871" y="466"/>
                  </a:lnTo>
                  <a:lnTo>
                    <a:pt x="871" y="455"/>
                  </a:lnTo>
                  <a:lnTo>
                    <a:pt x="853" y="455"/>
                  </a:lnTo>
                  <a:lnTo>
                    <a:pt x="844" y="455"/>
                  </a:lnTo>
                  <a:lnTo>
                    <a:pt x="840" y="457"/>
                  </a:lnTo>
                  <a:lnTo>
                    <a:pt x="840" y="459"/>
                  </a:lnTo>
                  <a:lnTo>
                    <a:pt x="838" y="461"/>
                  </a:lnTo>
                  <a:lnTo>
                    <a:pt x="836" y="464"/>
                  </a:lnTo>
                  <a:lnTo>
                    <a:pt x="832" y="466"/>
                  </a:lnTo>
                  <a:lnTo>
                    <a:pt x="830" y="468"/>
                  </a:lnTo>
                  <a:lnTo>
                    <a:pt x="829" y="470"/>
                  </a:lnTo>
                  <a:lnTo>
                    <a:pt x="827" y="474"/>
                  </a:lnTo>
                  <a:lnTo>
                    <a:pt x="823" y="480"/>
                  </a:lnTo>
                  <a:lnTo>
                    <a:pt x="821" y="488"/>
                  </a:lnTo>
                  <a:lnTo>
                    <a:pt x="819" y="489"/>
                  </a:lnTo>
                  <a:lnTo>
                    <a:pt x="817" y="493"/>
                  </a:lnTo>
                  <a:lnTo>
                    <a:pt x="813" y="495"/>
                  </a:lnTo>
                  <a:lnTo>
                    <a:pt x="811" y="497"/>
                  </a:lnTo>
                  <a:lnTo>
                    <a:pt x="809" y="501"/>
                  </a:lnTo>
                  <a:lnTo>
                    <a:pt x="807" y="503"/>
                  </a:lnTo>
                  <a:lnTo>
                    <a:pt x="804" y="509"/>
                  </a:lnTo>
                  <a:lnTo>
                    <a:pt x="802" y="516"/>
                  </a:lnTo>
                  <a:lnTo>
                    <a:pt x="800" y="520"/>
                  </a:lnTo>
                  <a:lnTo>
                    <a:pt x="798" y="522"/>
                  </a:lnTo>
                  <a:lnTo>
                    <a:pt x="794" y="530"/>
                  </a:lnTo>
                  <a:lnTo>
                    <a:pt x="792" y="537"/>
                  </a:lnTo>
                  <a:lnTo>
                    <a:pt x="790" y="539"/>
                  </a:lnTo>
                  <a:lnTo>
                    <a:pt x="788" y="541"/>
                  </a:lnTo>
                  <a:lnTo>
                    <a:pt x="782" y="541"/>
                  </a:lnTo>
                  <a:lnTo>
                    <a:pt x="777" y="541"/>
                  </a:lnTo>
                  <a:lnTo>
                    <a:pt x="775" y="539"/>
                  </a:lnTo>
                  <a:lnTo>
                    <a:pt x="773" y="537"/>
                  </a:lnTo>
                  <a:lnTo>
                    <a:pt x="756" y="534"/>
                  </a:lnTo>
                  <a:lnTo>
                    <a:pt x="738" y="532"/>
                  </a:lnTo>
                  <a:lnTo>
                    <a:pt x="736" y="530"/>
                  </a:lnTo>
                  <a:lnTo>
                    <a:pt x="734" y="526"/>
                  </a:lnTo>
                  <a:lnTo>
                    <a:pt x="729" y="526"/>
                  </a:lnTo>
                  <a:lnTo>
                    <a:pt x="725" y="526"/>
                  </a:lnTo>
                  <a:lnTo>
                    <a:pt x="723" y="530"/>
                  </a:lnTo>
                  <a:lnTo>
                    <a:pt x="719" y="532"/>
                  </a:lnTo>
                  <a:lnTo>
                    <a:pt x="717" y="534"/>
                  </a:lnTo>
                  <a:lnTo>
                    <a:pt x="715" y="537"/>
                  </a:lnTo>
                  <a:lnTo>
                    <a:pt x="711" y="539"/>
                  </a:lnTo>
                  <a:lnTo>
                    <a:pt x="710" y="541"/>
                  </a:lnTo>
                  <a:lnTo>
                    <a:pt x="700" y="541"/>
                  </a:lnTo>
                  <a:lnTo>
                    <a:pt x="690" y="541"/>
                  </a:lnTo>
                  <a:lnTo>
                    <a:pt x="688" y="539"/>
                  </a:lnTo>
                  <a:lnTo>
                    <a:pt x="687" y="537"/>
                  </a:lnTo>
                  <a:lnTo>
                    <a:pt x="687" y="534"/>
                  </a:lnTo>
                  <a:lnTo>
                    <a:pt x="683" y="532"/>
                  </a:lnTo>
                  <a:lnTo>
                    <a:pt x="677" y="532"/>
                  </a:lnTo>
                  <a:lnTo>
                    <a:pt x="667" y="532"/>
                  </a:lnTo>
                  <a:lnTo>
                    <a:pt x="667" y="539"/>
                  </a:lnTo>
                  <a:lnTo>
                    <a:pt x="667" y="547"/>
                  </a:lnTo>
                  <a:lnTo>
                    <a:pt x="664" y="549"/>
                  </a:lnTo>
                  <a:lnTo>
                    <a:pt x="662" y="551"/>
                  </a:lnTo>
                  <a:lnTo>
                    <a:pt x="635" y="553"/>
                  </a:lnTo>
                  <a:lnTo>
                    <a:pt x="608" y="555"/>
                  </a:lnTo>
                  <a:lnTo>
                    <a:pt x="606" y="559"/>
                  </a:lnTo>
                  <a:lnTo>
                    <a:pt x="604" y="560"/>
                  </a:lnTo>
                  <a:lnTo>
                    <a:pt x="602" y="572"/>
                  </a:lnTo>
                  <a:lnTo>
                    <a:pt x="598" y="585"/>
                  </a:lnTo>
                  <a:lnTo>
                    <a:pt x="596" y="587"/>
                  </a:lnTo>
                  <a:lnTo>
                    <a:pt x="594" y="589"/>
                  </a:lnTo>
                  <a:lnTo>
                    <a:pt x="587" y="593"/>
                  </a:lnTo>
                  <a:lnTo>
                    <a:pt x="579" y="595"/>
                  </a:lnTo>
                  <a:lnTo>
                    <a:pt x="577" y="597"/>
                  </a:lnTo>
                  <a:lnTo>
                    <a:pt x="575" y="599"/>
                  </a:lnTo>
                  <a:lnTo>
                    <a:pt x="571" y="601"/>
                  </a:lnTo>
                  <a:lnTo>
                    <a:pt x="569" y="605"/>
                  </a:lnTo>
                  <a:lnTo>
                    <a:pt x="568" y="606"/>
                  </a:lnTo>
                  <a:lnTo>
                    <a:pt x="566" y="608"/>
                  </a:lnTo>
                  <a:lnTo>
                    <a:pt x="562" y="612"/>
                  </a:lnTo>
                  <a:lnTo>
                    <a:pt x="562" y="618"/>
                  </a:lnTo>
                  <a:lnTo>
                    <a:pt x="562" y="626"/>
                  </a:lnTo>
                  <a:lnTo>
                    <a:pt x="566" y="628"/>
                  </a:lnTo>
                  <a:lnTo>
                    <a:pt x="568" y="631"/>
                  </a:lnTo>
                  <a:lnTo>
                    <a:pt x="569" y="633"/>
                  </a:lnTo>
                  <a:lnTo>
                    <a:pt x="571" y="641"/>
                  </a:lnTo>
                  <a:lnTo>
                    <a:pt x="575" y="647"/>
                  </a:lnTo>
                  <a:lnTo>
                    <a:pt x="577" y="651"/>
                  </a:lnTo>
                  <a:lnTo>
                    <a:pt x="579" y="653"/>
                  </a:lnTo>
                  <a:lnTo>
                    <a:pt x="585" y="656"/>
                  </a:lnTo>
                  <a:lnTo>
                    <a:pt x="589" y="662"/>
                  </a:lnTo>
                  <a:lnTo>
                    <a:pt x="587" y="664"/>
                  </a:lnTo>
                  <a:lnTo>
                    <a:pt x="585" y="668"/>
                  </a:lnTo>
                  <a:lnTo>
                    <a:pt x="585" y="691"/>
                  </a:lnTo>
                  <a:lnTo>
                    <a:pt x="585" y="716"/>
                  </a:lnTo>
                  <a:lnTo>
                    <a:pt x="587" y="718"/>
                  </a:lnTo>
                  <a:lnTo>
                    <a:pt x="589" y="720"/>
                  </a:lnTo>
                  <a:lnTo>
                    <a:pt x="594" y="722"/>
                  </a:lnTo>
                  <a:lnTo>
                    <a:pt x="598" y="725"/>
                  </a:lnTo>
                  <a:lnTo>
                    <a:pt x="598" y="750"/>
                  </a:lnTo>
                  <a:lnTo>
                    <a:pt x="598" y="777"/>
                  </a:lnTo>
                  <a:lnTo>
                    <a:pt x="598" y="804"/>
                  </a:lnTo>
                  <a:lnTo>
                    <a:pt x="598" y="831"/>
                  </a:lnTo>
                  <a:lnTo>
                    <a:pt x="594" y="837"/>
                  </a:lnTo>
                  <a:lnTo>
                    <a:pt x="589" y="841"/>
                  </a:lnTo>
                  <a:lnTo>
                    <a:pt x="585" y="846"/>
                  </a:lnTo>
                  <a:lnTo>
                    <a:pt x="579" y="850"/>
                  </a:lnTo>
                  <a:lnTo>
                    <a:pt x="575" y="869"/>
                  </a:lnTo>
                  <a:lnTo>
                    <a:pt x="569" y="890"/>
                  </a:lnTo>
                  <a:lnTo>
                    <a:pt x="564" y="894"/>
                  </a:lnTo>
                  <a:lnTo>
                    <a:pt x="560" y="898"/>
                  </a:lnTo>
                  <a:lnTo>
                    <a:pt x="554" y="904"/>
                  </a:lnTo>
                  <a:lnTo>
                    <a:pt x="550" y="908"/>
                  </a:lnTo>
                  <a:lnTo>
                    <a:pt x="546" y="927"/>
                  </a:lnTo>
                  <a:lnTo>
                    <a:pt x="541" y="948"/>
                  </a:lnTo>
                  <a:lnTo>
                    <a:pt x="535" y="952"/>
                  </a:lnTo>
                  <a:lnTo>
                    <a:pt x="531" y="958"/>
                  </a:lnTo>
                  <a:lnTo>
                    <a:pt x="525" y="961"/>
                  </a:lnTo>
                  <a:lnTo>
                    <a:pt x="522" y="967"/>
                  </a:lnTo>
                  <a:lnTo>
                    <a:pt x="516" y="977"/>
                  </a:lnTo>
                  <a:lnTo>
                    <a:pt x="512" y="986"/>
                  </a:lnTo>
                  <a:lnTo>
                    <a:pt x="506" y="990"/>
                  </a:lnTo>
                  <a:lnTo>
                    <a:pt x="502" y="996"/>
                  </a:lnTo>
                  <a:lnTo>
                    <a:pt x="497" y="1000"/>
                  </a:lnTo>
                  <a:lnTo>
                    <a:pt x="493" y="1006"/>
                  </a:lnTo>
                  <a:lnTo>
                    <a:pt x="487" y="1009"/>
                  </a:lnTo>
                  <a:lnTo>
                    <a:pt x="483" y="1015"/>
                  </a:lnTo>
                  <a:lnTo>
                    <a:pt x="477" y="1025"/>
                  </a:lnTo>
                  <a:lnTo>
                    <a:pt x="474" y="1034"/>
                  </a:lnTo>
                  <a:lnTo>
                    <a:pt x="468" y="1040"/>
                  </a:lnTo>
                  <a:lnTo>
                    <a:pt x="464" y="1044"/>
                  </a:lnTo>
                  <a:lnTo>
                    <a:pt x="458" y="1048"/>
                  </a:lnTo>
                  <a:lnTo>
                    <a:pt x="454" y="1054"/>
                  </a:lnTo>
                  <a:lnTo>
                    <a:pt x="445" y="1059"/>
                  </a:lnTo>
                  <a:lnTo>
                    <a:pt x="435" y="1063"/>
                  </a:lnTo>
                  <a:lnTo>
                    <a:pt x="429" y="1063"/>
                  </a:lnTo>
                  <a:lnTo>
                    <a:pt x="426" y="1067"/>
                  </a:lnTo>
                  <a:lnTo>
                    <a:pt x="426" y="1073"/>
                  </a:lnTo>
                  <a:lnTo>
                    <a:pt x="424" y="1082"/>
                  </a:lnTo>
                  <a:lnTo>
                    <a:pt x="449" y="1082"/>
                  </a:lnTo>
                  <a:lnTo>
                    <a:pt x="474" y="1082"/>
                  </a:lnTo>
                  <a:lnTo>
                    <a:pt x="474" y="1086"/>
                  </a:lnTo>
                  <a:lnTo>
                    <a:pt x="474" y="1088"/>
                  </a:lnTo>
                  <a:lnTo>
                    <a:pt x="470" y="1090"/>
                  </a:lnTo>
                  <a:lnTo>
                    <a:pt x="468" y="1092"/>
                  </a:lnTo>
                  <a:lnTo>
                    <a:pt x="466" y="1096"/>
                  </a:lnTo>
                  <a:lnTo>
                    <a:pt x="464" y="1098"/>
                  </a:lnTo>
                  <a:lnTo>
                    <a:pt x="460" y="1100"/>
                  </a:lnTo>
                  <a:lnTo>
                    <a:pt x="458" y="1102"/>
                  </a:lnTo>
                  <a:lnTo>
                    <a:pt x="456" y="1103"/>
                  </a:lnTo>
                  <a:lnTo>
                    <a:pt x="454" y="1107"/>
                  </a:lnTo>
                  <a:lnTo>
                    <a:pt x="451" y="1109"/>
                  </a:lnTo>
                  <a:lnTo>
                    <a:pt x="449" y="1111"/>
                  </a:lnTo>
                  <a:lnTo>
                    <a:pt x="443" y="1107"/>
                  </a:lnTo>
                  <a:lnTo>
                    <a:pt x="439" y="1102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xmlns="" id="{111A0F14-2982-BB4F-9C31-BC08B6074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5813" y="5087753"/>
              <a:ext cx="327025" cy="550863"/>
            </a:xfrm>
            <a:custGeom>
              <a:avLst/>
              <a:gdLst>
                <a:gd name="T0" fmla="*/ 2147483647 w 211"/>
                <a:gd name="T1" fmla="*/ 2147483647 h 366"/>
                <a:gd name="T2" fmla="*/ 2147483647 w 211"/>
                <a:gd name="T3" fmla="*/ 2147483647 h 366"/>
                <a:gd name="T4" fmla="*/ 2147483647 w 211"/>
                <a:gd name="T5" fmla="*/ 2147483647 h 366"/>
                <a:gd name="T6" fmla="*/ 2147483647 w 211"/>
                <a:gd name="T7" fmla="*/ 2147483647 h 366"/>
                <a:gd name="T8" fmla="*/ 2147483647 w 211"/>
                <a:gd name="T9" fmla="*/ 2147483647 h 366"/>
                <a:gd name="T10" fmla="*/ 2147483647 w 211"/>
                <a:gd name="T11" fmla="*/ 2147483647 h 366"/>
                <a:gd name="T12" fmla="*/ 2147483647 w 211"/>
                <a:gd name="T13" fmla="*/ 2147483647 h 366"/>
                <a:gd name="T14" fmla="*/ 2147483647 w 211"/>
                <a:gd name="T15" fmla="*/ 2147483647 h 366"/>
                <a:gd name="T16" fmla="*/ 2147483647 w 211"/>
                <a:gd name="T17" fmla="*/ 2147483647 h 366"/>
                <a:gd name="T18" fmla="*/ 2147483647 w 211"/>
                <a:gd name="T19" fmla="*/ 2147483647 h 366"/>
                <a:gd name="T20" fmla="*/ 2147483647 w 211"/>
                <a:gd name="T21" fmla="*/ 2147483647 h 366"/>
                <a:gd name="T22" fmla="*/ 2147483647 w 211"/>
                <a:gd name="T23" fmla="*/ 2147483647 h 366"/>
                <a:gd name="T24" fmla="*/ 2147483647 w 211"/>
                <a:gd name="T25" fmla="*/ 2147483647 h 366"/>
                <a:gd name="T26" fmla="*/ 2147483647 w 211"/>
                <a:gd name="T27" fmla="*/ 2147483647 h 366"/>
                <a:gd name="T28" fmla="*/ 2147483647 w 211"/>
                <a:gd name="T29" fmla="*/ 2147483647 h 366"/>
                <a:gd name="T30" fmla="*/ 2147483647 w 211"/>
                <a:gd name="T31" fmla="*/ 2147483647 h 366"/>
                <a:gd name="T32" fmla="*/ 2147483647 w 211"/>
                <a:gd name="T33" fmla="*/ 2147483647 h 366"/>
                <a:gd name="T34" fmla="*/ 2147483647 w 211"/>
                <a:gd name="T35" fmla="*/ 2147483647 h 366"/>
                <a:gd name="T36" fmla="*/ 2147483647 w 211"/>
                <a:gd name="T37" fmla="*/ 2147483647 h 366"/>
                <a:gd name="T38" fmla="*/ 2147483647 w 211"/>
                <a:gd name="T39" fmla="*/ 2147483647 h 366"/>
                <a:gd name="T40" fmla="*/ 2147483647 w 211"/>
                <a:gd name="T41" fmla="*/ 2147483647 h 366"/>
                <a:gd name="T42" fmla="*/ 2147483647 w 211"/>
                <a:gd name="T43" fmla="*/ 2147483647 h 366"/>
                <a:gd name="T44" fmla="*/ 0 w 211"/>
                <a:gd name="T45" fmla="*/ 2147483647 h 366"/>
                <a:gd name="T46" fmla="*/ 2147483647 w 211"/>
                <a:gd name="T47" fmla="*/ 2147483647 h 366"/>
                <a:gd name="T48" fmla="*/ 2147483647 w 211"/>
                <a:gd name="T49" fmla="*/ 2147483647 h 366"/>
                <a:gd name="T50" fmla="*/ 2147483647 w 211"/>
                <a:gd name="T51" fmla="*/ 2147483647 h 366"/>
                <a:gd name="T52" fmla="*/ 2147483647 w 211"/>
                <a:gd name="T53" fmla="*/ 2147483647 h 366"/>
                <a:gd name="T54" fmla="*/ 2147483647 w 211"/>
                <a:gd name="T55" fmla="*/ 2147483647 h 366"/>
                <a:gd name="T56" fmla="*/ 2147483647 w 211"/>
                <a:gd name="T57" fmla="*/ 2147483647 h 366"/>
                <a:gd name="T58" fmla="*/ 2147483647 w 211"/>
                <a:gd name="T59" fmla="*/ 2147483647 h 366"/>
                <a:gd name="T60" fmla="*/ 2147483647 w 211"/>
                <a:gd name="T61" fmla="*/ 0 h 366"/>
                <a:gd name="T62" fmla="*/ 2147483647 w 211"/>
                <a:gd name="T63" fmla="*/ 2147483647 h 366"/>
                <a:gd name="T64" fmla="*/ 2147483647 w 211"/>
                <a:gd name="T65" fmla="*/ 0 h 366"/>
                <a:gd name="T66" fmla="*/ 2147483647 w 211"/>
                <a:gd name="T67" fmla="*/ 2147483647 h 366"/>
                <a:gd name="T68" fmla="*/ 2147483647 w 211"/>
                <a:gd name="T69" fmla="*/ 2147483647 h 366"/>
                <a:gd name="T70" fmla="*/ 2147483647 w 211"/>
                <a:gd name="T71" fmla="*/ 2147483647 h 366"/>
                <a:gd name="T72" fmla="*/ 2147483647 w 211"/>
                <a:gd name="T73" fmla="*/ 2147483647 h 366"/>
                <a:gd name="T74" fmla="*/ 2147483647 w 211"/>
                <a:gd name="T75" fmla="*/ 2147483647 h 366"/>
                <a:gd name="T76" fmla="*/ 2147483647 w 211"/>
                <a:gd name="T77" fmla="*/ 2147483647 h 366"/>
                <a:gd name="T78" fmla="*/ 2147483647 w 211"/>
                <a:gd name="T79" fmla="*/ 2147483647 h 366"/>
                <a:gd name="T80" fmla="*/ 2147483647 w 211"/>
                <a:gd name="T81" fmla="*/ 2147483647 h 366"/>
                <a:gd name="T82" fmla="*/ 2147483647 w 211"/>
                <a:gd name="T83" fmla="*/ 2147483647 h 366"/>
                <a:gd name="T84" fmla="*/ 2147483647 w 211"/>
                <a:gd name="T85" fmla="*/ 2147483647 h 366"/>
                <a:gd name="T86" fmla="*/ 2147483647 w 211"/>
                <a:gd name="T87" fmla="*/ 2147483647 h 366"/>
                <a:gd name="T88" fmla="*/ 2147483647 w 211"/>
                <a:gd name="T89" fmla="*/ 2147483647 h 366"/>
                <a:gd name="T90" fmla="*/ 2147483647 w 211"/>
                <a:gd name="T91" fmla="*/ 2147483647 h 366"/>
                <a:gd name="T92" fmla="*/ 2147483647 w 211"/>
                <a:gd name="T93" fmla="*/ 2147483647 h 366"/>
                <a:gd name="T94" fmla="*/ 2147483647 w 211"/>
                <a:gd name="T95" fmla="*/ 2147483647 h 366"/>
                <a:gd name="T96" fmla="*/ 2147483647 w 211"/>
                <a:gd name="T97" fmla="*/ 2147483647 h 366"/>
                <a:gd name="T98" fmla="*/ 2147483647 w 211"/>
                <a:gd name="T99" fmla="*/ 2147483647 h 366"/>
                <a:gd name="T100" fmla="*/ 2147483647 w 211"/>
                <a:gd name="T101" fmla="*/ 2147483647 h 366"/>
                <a:gd name="T102" fmla="*/ 2147483647 w 211"/>
                <a:gd name="T103" fmla="*/ 2147483647 h 366"/>
                <a:gd name="T104" fmla="*/ 2147483647 w 211"/>
                <a:gd name="T105" fmla="*/ 2147483647 h 366"/>
                <a:gd name="T106" fmla="*/ 2147483647 w 211"/>
                <a:gd name="T107" fmla="*/ 2147483647 h 366"/>
                <a:gd name="T108" fmla="*/ 2147483647 w 211"/>
                <a:gd name="T109" fmla="*/ 2147483647 h 366"/>
                <a:gd name="T110" fmla="*/ 2147483647 w 211"/>
                <a:gd name="T111" fmla="*/ 2147483647 h 366"/>
                <a:gd name="T112" fmla="*/ 2147483647 w 211"/>
                <a:gd name="T113" fmla="*/ 2147483647 h 366"/>
                <a:gd name="T114" fmla="*/ 2147483647 w 211"/>
                <a:gd name="T115" fmla="*/ 2147483647 h 366"/>
                <a:gd name="T116" fmla="*/ 2147483647 w 211"/>
                <a:gd name="T117" fmla="*/ 2147483647 h 36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11"/>
                <a:gd name="T178" fmla="*/ 0 h 366"/>
                <a:gd name="T179" fmla="*/ 211 w 211"/>
                <a:gd name="T180" fmla="*/ 366 h 36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11" h="366">
                  <a:moveTo>
                    <a:pt x="169" y="366"/>
                  </a:moveTo>
                  <a:lnTo>
                    <a:pt x="167" y="364"/>
                  </a:lnTo>
                  <a:lnTo>
                    <a:pt x="163" y="362"/>
                  </a:lnTo>
                  <a:lnTo>
                    <a:pt x="161" y="359"/>
                  </a:lnTo>
                  <a:lnTo>
                    <a:pt x="159" y="357"/>
                  </a:lnTo>
                  <a:lnTo>
                    <a:pt x="155" y="355"/>
                  </a:lnTo>
                  <a:lnTo>
                    <a:pt x="153" y="353"/>
                  </a:lnTo>
                  <a:lnTo>
                    <a:pt x="132" y="345"/>
                  </a:lnTo>
                  <a:lnTo>
                    <a:pt x="111" y="338"/>
                  </a:lnTo>
                  <a:lnTo>
                    <a:pt x="107" y="336"/>
                  </a:lnTo>
                  <a:lnTo>
                    <a:pt x="105" y="334"/>
                  </a:lnTo>
                  <a:lnTo>
                    <a:pt x="103" y="330"/>
                  </a:lnTo>
                  <a:lnTo>
                    <a:pt x="100" y="328"/>
                  </a:lnTo>
                  <a:lnTo>
                    <a:pt x="98" y="326"/>
                  </a:lnTo>
                  <a:lnTo>
                    <a:pt x="96" y="324"/>
                  </a:lnTo>
                  <a:lnTo>
                    <a:pt x="98" y="320"/>
                  </a:lnTo>
                  <a:lnTo>
                    <a:pt x="100" y="318"/>
                  </a:lnTo>
                  <a:lnTo>
                    <a:pt x="100" y="309"/>
                  </a:lnTo>
                  <a:lnTo>
                    <a:pt x="100" y="299"/>
                  </a:lnTo>
                  <a:lnTo>
                    <a:pt x="98" y="297"/>
                  </a:lnTo>
                  <a:lnTo>
                    <a:pt x="96" y="295"/>
                  </a:lnTo>
                  <a:lnTo>
                    <a:pt x="96" y="278"/>
                  </a:lnTo>
                  <a:lnTo>
                    <a:pt x="96" y="261"/>
                  </a:lnTo>
                  <a:lnTo>
                    <a:pt x="88" y="261"/>
                  </a:lnTo>
                  <a:lnTo>
                    <a:pt x="82" y="261"/>
                  </a:lnTo>
                  <a:lnTo>
                    <a:pt x="78" y="259"/>
                  </a:lnTo>
                  <a:lnTo>
                    <a:pt x="77" y="255"/>
                  </a:lnTo>
                  <a:lnTo>
                    <a:pt x="75" y="247"/>
                  </a:lnTo>
                  <a:lnTo>
                    <a:pt x="71" y="242"/>
                  </a:lnTo>
                  <a:lnTo>
                    <a:pt x="69" y="238"/>
                  </a:lnTo>
                  <a:lnTo>
                    <a:pt x="67" y="236"/>
                  </a:lnTo>
                  <a:lnTo>
                    <a:pt x="63" y="234"/>
                  </a:lnTo>
                  <a:lnTo>
                    <a:pt x="61" y="232"/>
                  </a:lnTo>
                  <a:lnTo>
                    <a:pt x="59" y="228"/>
                  </a:lnTo>
                  <a:lnTo>
                    <a:pt x="57" y="226"/>
                  </a:lnTo>
                  <a:lnTo>
                    <a:pt x="55" y="224"/>
                  </a:lnTo>
                  <a:lnTo>
                    <a:pt x="52" y="222"/>
                  </a:lnTo>
                  <a:lnTo>
                    <a:pt x="50" y="219"/>
                  </a:lnTo>
                  <a:lnTo>
                    <a:pt x="48" y="217"/>
                  </a:lnTo>
                  <a:lnTo>
                    <a:pt x="46" y="215"/>
                  </a:lnTo>
                  <a:lnTo>
                    <a:pt x="42" y="213"/>
                  </a:lnTo>
                  <a:lnTo>
                    <a:pt x="40" y="209"/>
                  </a:lnTo>
                  <a:lnTo>
                    <a:pt x="38" y="207"/>
                  </a:lnTo>
                  <a:lnTo>
                    <a:pt x="34" y="205"/>
                  </a:lnTo>
                  <a:lnTo>
                    <a:pt x="32" y="203"/>
                  </a:lnTo>
                  <a:lnTo>
                    <a:pt x="30" y="199"/>
                  </a:lnTo>
                  <a:lnTo>
                    <a:pt x="29" y="197"/>
                  </a:lnTo>
                  <a:lnTo>
                    <a:pt x="25" y="196"/>
                  </a:lnTo>
                  <a:lnTo>
                    <a:pt x="23" y="192"/>
                  </a:lnTo>
                  <a:lnTo>
                    <a:pt x="21" y="190"/>
                  </a:lnTo>
                  <a:lnTo>
                    <a:pt x="19" y="188"/>
                  </a:lnTo>
                  <a:lnTo>
                    <a:pt x="15" y="186"/>
                  </a:lnTo>
                  <a:lnTo>
                    <a:pt x="13" y="182"/>
                  </a:lnTo>
                  <a:lnTo>
                    <a:pt x="11" y="180"/>
                  </a:lnTo>
                  <a:lnTo>
                    <a:pt x="9" y="178"/>
                  </a:lnTo>
                  <a:lnTo>
                    <a:pt x="9" y="163"/>
                  </a:lnTo>
                  <a:lnTo>
                    <a:pt x="9" y="150"/>
                  </a:lnTo>
                  <a:lnTo>
                    <a:pt x="11" y="148"/>
                  </a:lnTo>
                  <a:lnTo>
                    <a:pt x="13" y="144"/>
                  </a:lnTo>
                  <a:lnTo>
                    <a:pt x="13" y="134"/>
                  </a:lnTo>
                  <a:lnTo>
                    <a:pt x="13" y="125"/>
                  </a:lnTo>
                  <a:lnTo>
                    <a:pt x="11" y="123"/>
                  </a:lnTo>
                  <a:lnTo>
                    <a:pt x="9" y="121"/>
                  </a:lnTo>
                  <a:lnTo>
                    <a:pt x="6" y="113"/>
                  </a:lnTo>
                  <a:lnTo>
                    <a:pt x="4" y="105"/>
                  </a:lnTo>
                  <a:lnTo>
                    <a:pt x="2" y="103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0" y="71"/>
                  </a:lnTo>
                  <a:lnTo>
                    <a:pt x="0" y="57"/>
                  </a:lnTo>
                  <a:lnTo>
                    <a:pt x="0" y="42"/>
                  </a:lnTo>
                  <a:lnTo>
                    <a:pt x="2" y="40"/>
                  </a:lnTo>
                  <a:lnTo>
                    <a:pt x="4" y="38"/>
                  </a:lnTo>
                  <a:lnTo>
                    <a:pt x="15" y="36"/>
                  </a:lnTo>
                  <a:lnTo>
                    <a:pt x="29" y="32"/>
                  </a:lnTo>
                  <a:lnTo>
                    <a:pt x="30" y="31"/>
                  </a:lnTo>
                  <a:lnTo>
                    <a:pt x="32" y="29"/>
                  </a:lnTo>
                  <a:lnTo>
                    <a:pt x="40" y="27"/>
                  </a:lnTo>
                  <a:lnTo>
                    <a:pt x="48" y="23"/>
                  </a:lnTo>
                  <a:lnTo>
                    <a:pt x="50" y="21"/>
                  </a:lnTo>
                  <a:lnTo>
                    <a:pt x="52" y="19"/>
                  </a:lnTo>
                  <a:lnTo>
                    <a:pt x="55" y="17"/>
                  </a:lnTo>
                  <a:lnTo>
                    <a:pt x="57" y="13"/>
                  </a:lnTo>
                  <a:lnTo>
                    <a:pt x="59" y="11"/>
                  </a:lnTo>
                  <a:lnTo>
                    <a:pt x="61" y="9"/>
                  </a:lnTo>
                  <a:lnTo>
                    <a:pt x="75" y="6"/>
                  </a:lnTo>
                  <a:lnTo>
                    <a:pt x="86" y="4"/>
                  </a:lnTo>
                  <a:lnTo>
                    <a:pt x="88" y="2"/>
                  </a:lnTo>
                  <a:lnTo>
                    <a:pt x="90" y="0"/>
                  </a:lnTo>
                  <a:lnTo>
                    <a:pt x="94" y="2"/>
                  </a:lnTo>
                  <a:lnTo>
                    <a:pt x="96" y="4"/>
                  </a:lnTo>
                  <a:lnTo>
                    <a:pt x="113" y="2"/>
                  </a:lnTo>
                  <a:lnTo>
                    <a:pt x="128" y="0"/>
                  </a:lnTo>
                  <a:lnTo>
                    <a:pt x="132" y="2"/>
                  </a:lnTo>
                  <a:lnTo>
                    <a:pt x="134" y="4"/>
                  </a:lnTo>
                  <a:lnTo>
                    <a:pt x="144" y="4"/>
                  </a:lnTo>
                  <a:lnTo>
                    <a:pt x="153" y="4"/>
                  </a:lnTo>
                  <a:lnTo>
                    <a:pt x="155" y="2"/>
                  </a:lnTo>
                  <a:lnTo>
                    <a:pt x="159" y="0"/>
                  </a:lnTo>
                  <a:lnTo>
                    <a:pt x="172" y="4"/>
                  </a:lnTo>
                  <a:lnTo>
                    <a:pt x="188" y="9"/>
                  </a:lnTo>
                  <a:lnTo>
                    <a:pt x="190" y="11"/>
                  </a:lnTo>
                  <a:lnTo>
                    <a:pt x="194" y="13"/>
                  </a:lnTo>
                  <a:lnTo>
                    <a:pt x="195" y="31"/>
                  </a:lnTo>
                  <a:lnTo>
                    <a:pt x="197" y="48"/>
                  </a:lnTo>
                  <a:lnTo>
                    <a:pt x="199" y="50"/>
                  </a:lnTo>
                  <a:lnTo>
                    <a:pt x="201" y="54"/>
                  </a:lnTo>
                  <a:lnTo>
                    <a:pt x="205" y="59"/>
                  </a:lnTo>
                  <a:lnTo>
                    <a:pt x="207" y="67"/>
                  </a:lnTo>
                  <a:lnTo>
                    <a:pt x="209" y="69"/>
                  </a:lnTo>
                  <a:lnTo>
                    <a:pt x="211" y="71"/>
                  </a:lnTo>
                  <a:lnTo>
                    <a:pt x="209" y="75"/>
                  </a:lnTo>
                  <a:lnTo>
                    <a:pt x="207" y="77"/>
                  </a:lnTo>
                  <a:lnTo>
                    <a:pt x="205" y="79"/>
                  </a:lnTo>
                  <a:lnTo>
                    <a:pt x="201" y="82"/>
                  </a:lnTo>
                  <a:lnTo>
                    <a:pt x="199" y="84"/>
                  </a:lnTo>
                  <a:lnTo>
                    <a:pt x="197" y="86"/>
                  </a:lnTo>
                  <a:lnTo>
                    <a:pt x="195" y="88"/>
                  </a:lnTo>
                  <a:lnTo>
                    <a:pt x="194" y="92"/>
                  </a:lnTo>
                  <a:lnTo>
                    <a:pt x="190" y="94"/>
                  </a:lnTo>
                  <a:lnTo>
                    <a:pt x="188" y="96"/>
                  </a:lnTo>
                  <a:lnTo>
                    <a:pt x="184" y="98"/>
                  </a:lnTo>
                  <a:lnTo>
                    <a:pt x="182" y="102"/>
                  </a:lnTo>
                  <a:lnTo>
                    <a:pt x="180" y="103"/>
                  </a:lnTo>
                  <a:lnTo>
                    <a:pt x="178" y="105"/>
                  </a:lnTo>
                  <a:lnTo>
                    <a:pt x="178" y="121"/>
                  </a:lnTo>
                  <a:lnTo>
                    <a:pt x="178" y="134"/>
                  </a:lnTo>
                  <a:lnTo>
                    <a:pt x="180" y="138"/>
                  </a:lnTo>
                  <a:lnTo>
                    <a:pt x="182" y="140"/>
                  </a:lnTo>
                  <a:lnTo>
                    <a:pt x="182" y="144"/>
                  </a:lnTo>
                  <a:lnTo>
                    <a:pt x="182" y="150"/>
                  </a:lnTo>
                  <a:lnTo>
                    <a:pt x="180" y="151"/>
                  </a:lnTo>
                  <a:lnTo>
                    <a:pt x="178" y="153"/>
                  </a:lnTo>
                  <a:lnTo>
                    <a:pt x="174" y="178"/>
                  </a:lnTo>
                  <a:lnTo>
                    <a:pt x="172" y="203"/>
                  </a:lnTo>
                  <a:lnTo>
                    <a:pt x="180" y="203"/>
                  </a:lnTo>
                  <a:lnTo>
                    <a:pt x="188" y="203"/>
                  </a:lnTo>
                  <a:lnTo>
                    <a:pt x="190" y="205"/>
                  </a:lnTo>
                  <a:lnTo>
                    <a:pt x="194" y="207"/>
                  </a:lnTo>
                  <a:lnTo>
                    <a:pt x="199" y="209"/>
                  </a:lnTo>
                  <a:lnTo>
                    <a:pt x="207" y="213"/>
                  </a:lnTo>
                  <a:lnTo>
                    <a:pt x="209" y="215"/>
                  </a:lnTo>
                  <a:lnTo>
                    <a:pt x="211" y="217"/>
                  </a:lnTo>
                  <a:lnTo>
                    <a:pt x="211" y="226"/>
                  </a:lnTo>
                  <a:lnTo>
                    <a:pt x="211" y="236"/>
                  </a:lnTo>
                  <a:lnTo>
                    <a:pt x="209" y="238"/>
                  </a:lnTo>
                  <a:lnTo>
                    <a:pt x="207" y="242"/>
                  </a:lnTo>
                  <a:lnTo>
                    <a:pt x="205" y="244"/>
                  </a:lnTo>
                  <a:lnTo>
                    <a:pt x="201" y="245"/>
                  </a:lnTo>
                  <a:lnTo>
                    <a:pt x="199" y="247"/>
                  </a:lnTo>
                  <a:lnTo>
                    <a:pt x="197" y="251"/>
                  </a:lnTo>
                  <a:lnTo>
                    <a:pt x="195" y="253"/>
                  </a:lnTo>
                  <a:lnTo>
                    <a:pt x="194" y="255"/>
                  </a:lnTo>
                  <a:lnTo>
                    <a:pt x="190" y="259"/>
                  </a:lnTo>
                  <a:lnTo>
                    <a:pt x="188" y="261"/>
                  </a:lnTo>
                  <a:lnTo>
                    <a:pt x="188" y="270"/>
                  </a:lnTo>
                  <a:lnTo>
                    <a:pt x="188" y="280"/>
                  </a:lnTo>
                  <a:lnTo>
                    <a:pt x="190" y="282"/>
                  </a:lnTo>
                  <a:lnTo>
                    <a:pt x="194" y="286"/>
                  </a:lnTo>
                  <a:lnTo>
                    <a:pt x="195" y="301"/>
                  </a:lnTo>
                  <a:lnTo>
                    <a:pt x="197" y="318"/>
                  </a:lnTo>
                  <a:lnTo>
                    <a:pt x="199" y="320"/>
                  </a:lnTo>
                  <a:lnTo>
                    <a:pt x="201" y="324"/>
                  </a:lnTo>
                  <a:lnTo>
                    <a:pt x="201" y="328"/>
                  </a:lnTo>
                  <a:lnTo>
                    <a:pt x="201" y="334"/>
                  </a:lnTo>
                  <a:lnTo>
                    <a:pt x="199" y="336"/>
                  </a:lnTo>
                  <a:lnTo>
                    <a:pt x="197" y="338"/>
                  </a:lnTo>
                  <a:lnTo>
                    <a:pt x="195" y="345"/>
                  </a:lnTo>
                  <a:lnTo>
                    <a:pt x="194" y="353"/>
                  </a:lnTo>
                  <a:lnTo>
                    <a:pt x="190" y="355"/>
                  </a:lnTo>
                  <a:lnTo>
                    <a:pt x="188" y="357"/>
                  </a:lnTo>
                  <a:lnTo>
                    <a:pt x="184" y="359"/>
                  </a:lnTo>
                  <a:lnTo>
                    <a:pt x="182" y="362"/>
                  </a:lnTo>
                  <a:lnTo>
                    <a:pt x="180" y="364"/>
                  </a:lnTo>
                  <a:lnTo>
                    <a:pt x="178" y="366"/>
                  </a:lnTo>
                  <a:lnTo>
                    <a:pt x="172" y="366"/>
                  </a:lnTo>
                  <a:lnTo>
                    <a:pt x="169" y="366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3" name="Freeform 293">
              <a:extLst>
                <a:ext uri="{FF2B5EF4-FFF2-40B4-BE49-F238E27FC236}">
                  <a16:creationId xmlns:a16="http://schemas.microsoft.com/office/drawing/2014/main" xmlns="" id="{9F042836-4B29-F144-8441-A394786F4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6063" y="5360803"/>
              <a:ext cx="690562" cy="423863"/>
            </a:xfrm>
            <a:custGeom>
              <a:avLst/>
              <a:gdLst>
                <a:gd name="T0" fmla="*/ 2147483647 w 445"/>
                <a:gd name="T1" fmla="*/ 2147483647 h 282"/>
                <a:gd name="T2" fmla="*/ 2147483647 w 445"/>
                <a:gd name="T3" fmla="*/ 2147483647 h 282"/>
                <a:gd name="T4" fmla="*/ 2147483647 w 445"/>
                <a:gd name="T5" fmla="*/ 2147483647 h 282"/>
                <a:gd name="T6" fmla="*/ 2147483647 w 445"/>
                <a:gd name="T7" fmla="*/ 2147483647 h 282"/>
                <a:gd name="T8" fmla="*/ 2147483647 w 445"/>
                <a:gd name="T9" fmla="*/ 2147483647 h 282"/>
                <a:gd name="T10" fmla="*/ 2147483647 w 445"/>
                <a:gd name="T11" fmla="*/ 2147483647 h 282"/>
                <a:gd name="T12" fmla="*/ 0 w 445"/>
                <a:gd name="T13" fmla="*/ 2147483647 h 282"/>
                <a:gd name="T14" fmla="*/ 2147483647 w 445"/>
                <a:gd name="T15" fmla="*/ 2147483647 h 282"/>
                <a:gd name="T16" fmla="*/ 2147483647 w 445"/>
                <a:gd name="T17" fmla="*/ 2147483647 h 282"/>
                <a:gd name="T18" fmla="*/ 2147483647 w 445"/>
                <a:gd name="T19" fmla="*/ 2147483647 h 282"/>
                <a:gd name="T20" fmla="*/ 2147483647 w 445"/>
                <a:gd name="T21" fmla="*/ 2147483647 h 282"/>
                <a:gd name="T22" fmla="*/ 2147483647 w 445"/>
                <a:gd name="T23" fmla="*/ 2147483647 h 282"/>
                <a:gd name="T24" fmla="*/ 2147483647 w 445"/>
                <a:gd name="T25" fmla="*/ 2147483647 h 282"/>
                <a:gd name="T26" fmla="*/ 2147483647 w 445"/>
                <a:gd name="T27" fmla="*/ 2147483647 h 282"/>
                <a:gd name="T28" fmla="*/ 2147483647 w 445"/>
                <a:gd name="T29" fmla="*/ 0 h 282"/>
                <a:gd name="T30" fmla="*/ 2147483647 w 445"/>
                <a:gd name="T31" fmla="*/ 2147483647 h 282"/>
                <a:gd name="T32" fmla="*/ 2147483647 w 445"/>
                <a:gd name="T33" fmla="*/ 2147483647 h 282"/>
                <a:gd name="T34" fmla="*/ 2147483647 w 445"/>
                <a:gd name="T35" fmla="*/ 2147483647 h 282"/>
                <a:gd name="T36" fmla="*/ 2147483647 w 445"/>
                <a:gd name="T37" fmla="*/ 2147483647 h 282"/>
                <a:gd name="T38" fmla="*/ 2147483647 w 445"/>
                <a:gd name="T39" fmla="*/ 2147483647 h 282"/>
                <a:gd name="T40" fmla="*/ 2147483647 w 445"/>
                <a:gd name="T41" fmla="*/ 2147483647 h 282"/>
                <a:gd name="T42" fmla="*/ 2147483647 w 445"/>
                <a:gd name="T43" fmla="*/ 2147483647 h 282"/>
                <a:gd name="T44" fmla="*/ 2147483647 w 445"/>
                <a:gd name="T45" fmla="*/ 2147483647 h 282"/>
                <a:gd name="T46" fmla="*/ 2147483647 w 445"/>
                <a:gd name="T47" fmla="*/ 2147483647 h 282"/>
                <a:gd name="T48" fmla="*/ 2147483647 w 445"/>
                <a:gd name="T49" fmla="*/ 2147483647 h 282"/>
                <a:gd name="T50" fmla="*/ 2147483647 w 445"/>
                <a:gd name="T51" fmla="*/ 2147483647 h 282"/>
                <a:gd name="T52" fmla="*/ 2147483647 w 445"/>
                <a:gd name="T53" fmla="*/ 2147483647 h 282"/>
                <a:gd name="T54" fmla="*/ 2147483647 w 445"/>
                <a:gd name="T55" fmla="*/ 2147483647 h 282"/>
                <a:gd name="T56" fmla="*/ 2147483647 w 445"/>
                <a:gd name="T57" fmla="*/ 0 h 282"/>
                <a:gd name="T58" fmla="*/ 2147483647 w 445"/>
                <a:gd name="T59" fmla="*/ 2147483647 h 282"/>
                <a:gd name="T60" fmla="*/ 2147483647 w 445"/>
                <a:gd name="T61" fmla="*/ 2147483647 h 282"/>
                <a:gd name="T62" fmla="*/ 2147483647 w 445"/>
                <a:gd name="T63" fmla="*/ 2147483647 h 282"/>
                <a:gd name="T64" fmla="*/ 2147483647 w 445"/>
                <a:gd name="T65" fmla="*/ 2147483647 h 282"/>
                <a:gd name="T66" fmla="*/ 2147483647 w 445"/>
                <a:gd name="T67" fmla="*/ 2147483647 h 282"/>
                <a:gd name="T68" fmla="*/ 2147483647 w 445"/>
                <a:gd name="T69" fmla="*/ 2147483647 h 282"/>
                <a:gd name="T70" fmla="*/ 2147483647 w 445"/>
                <a:gd name="T71" fmla="*/ 2147483647 h 282"/>
                <a:gd name="T72" fmla="*/ 2147483647 w 445"/>
                <a:gd name="T73" fmla="*/ 2147483647 h 282"/>
                <a:gd name="T74" fmla="*/ 2147483647 w 445"/>
                <a:gd name="T75" fmla="*/ 2147483647 h 282"/>
                <a:gd name="T76" fmla="*/ 2147483647 w 445"/>
                <a:gd name="T77" fmla="*/ 2147483647 h 282"/>
                <a:gd name="T78" fmla="*/ 2147483647 w 445"/>
                <a:gd name="T79" fmla="*/ 2147483647 h 282"/>
                <a:gd name="T80" fmla="*/ 2147483647 w 445"/>
                <a:gd name="T81" fmla="*/ 2147483647 h 282"/>
                <a:gd name="T82" fmla="*/ 2147483647 w 445"/>
                <a:gd name="T83" fmla="*/ 2147483647 h 282"/>
                <a:gd name="T84" fmla="*/ 2147483647 w 445"/>
                <a:gd name="T85" fmla="*/ 2147483647 h 282"/>
                <a:gd name="T86" fmla="*/ 2147483647 w 445"/>
                <a:gd name="T87" fmla="*/ 2147483647 h 282"/>
                <a:gd name="T88" fmla="*/ 2147483647 w 445"/>
                <a:gd name="T89" fmla="*/ 2147483647 h 282"/>
                <a:gd name="T90" fmla="*/ 2147483647 w 445"/>
                <a:gd name="T91" fmla="*/ 2147483647 h 282"/>
                <a:gd name="T92" fmla="*/ 2147483647 w 445"/>
                <a:gd name="T93" fmla="*/ 2147483647 h 282"/>
                <a:gd name="T94" fmla="*/ 2147483647 w 445"/>
                <a:gd name="T95" fmla="*/ 2147483647 h 282"/>
                <a:gd name="T96" fmla="*/ 2147483647 w 445"/>
                <a:gd name="T97" fmla="*/ 2147483647 h 282"/>
                <a:gd name="T98" fmla="*/ 2147483647 w 445"/>
                <a:gd name="T99" fmla="*/ 2147483647 h 282"/>
                <a:gd name="T100" fmla="*/ 2147483647 w 445"/>
                <a:gd name="T101" fmla="*/ 2147483647 h 282"/>
                <a:gd name="T102" fmla="*/ 2147483647 w 445"/>
                <a:gd name="T103" fmla="*/ 2147483647 h 282"/>
                <a:gd name="T104" fmla="*/ 2147483647 w 445"/>
                <a:gd name="T105" fmla="*/ 2147483647 h 282"/>
                <a:gd name="T106" fmla="*/ 2147483647 w 445"/>
                <a:gd name="T107" fmla="*/ 2147483647 h 282"/>
                <a:gd name="T108" fmla="*/ 2147483647 w 445"/>
                <a:gd name="T109" fmla="*/ 2147483647 h 282"/>
                <a:gd name="T110" fmla="*/ 2147483647 w 445"/>
                <a:gd name="T111" fmla="*/ 2147483647 h 282"/>
                <a:gd name="T112" fmla="*/ 2147483647 w 445"/>
                <a:gd name="T113" fmla="*/ 2147483647 h 28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45"/>
                <a:gd name="T172" fmla="*/ 0 h 282"/>
                <a:gd name="T173" fmla="*/ 445 w 445"/>
                <a:gd name="T174" fmla="*/ 282 h 28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45" h="282">
                  <a:moveTo>
                    <a:pt x="145" y="263"/>
                  </a:moveTo>
                  <a:lnTo>
                    <a:pt x="140" y="263"/>
                  </a:lnTo>
                  <a:lnTo>
                    <a:pt x="136" y="263"/>
                  </a:lnTo>
                  <a:lnTo>
                    <a:pt x="136" y="257"/>
                  </a:lnTo>
                  <a:lnTo>
                    <a:pt x="136" y="253"/>
                  </a:lnTo>
                  <a:lnTo>
                    <a:pt x="136" y="248"/>
                  </a:lnTo>
                  <a:lnTo>
                    <a:pt x="136" y="242"/>
                  </a:lnTo>
                  <a:lnTo>
                    <a:pt x="136" y="234"/>
                  </a:lnTo>
                  <a:lnTo>
                    <a:pt x="136" y="225"/>
                  </a:lnTo>
                  <a:lnTo>
                    <a:pt x="115" y="221"/>
                  </a:lnTo>
                  <a:lnTo>
                    <a:pt x="99" y="221"/>
                  </a:lnTo>
                  <a:lnTo>
                    <a:pt x="92" y="223"/>
                  </a:lnTo>
                  <a:lnTo>
                    <a:pt x="84" y="225"/>
                  </a:lnTo>
                  <a:lnTo>
                    <a:pt x="76" y="228"/>
                  </a:lnTo>
                  <a:lnTo>
                    <a:pt x="67" y="232"/>
                  </a:lnTo>
                  <a:lnTo>
                    <a:pt x="57" y="228"/>
                  </a:lnTo>
                  <a:lnTo>
                    <a:pt x="48" y="225"/>
                  </a:lnTo>
                  <a:lnTo>
                    <a:pt x="36" y="179"/>
                  </a:lnTo>
                  <a:lnTo>
                    <a:pt x="25" y="133"/>
                  </a:lnTo>
                  <a:lnTo>
                    <a:pt x="11" y="86"/>
                  </a:lnTo>
                  <a:lnTo>
                    <a:pt x="0" y="40"/>
                  </a:lnTo>
                  <a:lnTo>
                    <a:pt x="7" y="40"/>
                  </a:lnTo>
                  <a:lnTo>
                    <a:pt x="15" y="40"/>
                  </a:lnTo>
                  <a:lnTo>
                    <a:pt x="17" y="42"/>
                  </a:lnTo>
                  <a:lnTo>
                    <a:pt x="19" y="44"/>
                  </a:lnTo>
                  <a:lnTo>
                    <a:pt x="28" y="44"/>
                  </a:lnTo>
                  <a:lnTo>
                    <a:pt x="38" y="44"/>
                  </a:lnTo>
                  <a:lnTo>
                    <a:pt x="40" y="42"/>
                  </a:lnTo>
                  <a:lnTo>
                    <a:pt x="44" y="40"/>
                  </a:lnTo>
                  <a:lnTo>
                    <a:pt x="46" y="37"/>
                  </a:lnTo>
                  <a:lnTo>
                    <a:pt x="48" y="35"/>
                  </a:lnTo>
                  <a:lnTo>
                    <a:pt x="51" y="33"/>
                  </a:lnTo>
                  <a:lnTo>
                    <a:pt x="53" y="31"/>
                  </a:lnTo>
                  <a:lnTo>
                    <a:pt x="80" y="27"/>
                  </a:lnTo>
                  <a:lnTo>
                    <a:pt x="107" y="25"/>
                  </a:lnTo>
                  <a:lnTo>
                    <a:pt x="109" y="23"/>
                  </a:lnTo>
                  <a:lnTo>
                    <a:pt x="111" y="21"/>
                  </a:lnTo>
                  <a:lnTo>
                    <a:pt x="119" y="17"/>
                  </a:lnTo>
                  <a:lnTo>
                    <a:pt x="126" y="15"/>
                  </a:lnTo>
                  <a:lnTo>
                    <a:pt x="128" y="14"/>
                  </a:lnTo>
                  <a:lnTo>
                    <a:pt x="130" y="10"/>
                  </a:lnTo>
                  <a:lnTo>
                    <a:pt x="138" y="8"/>
                  </a:lnTo>
                  <a:lnTo>
                    <a:pt x="145" y="6"/>
                  </a:lnTo>
                  <a:lnTo>
                    <a:pt x="147" y="4"/>
                  </a:lnTo>
                  <a:lnTo>
                    <a:pt x="149" y="0"/>
                  </a:lnTo>
                  <a:lnTo>
                    <a:pt x="155" y="0"/>
                  </a:lnTo>
                  <a:lnTo>
                    <a:pt x="159" y="0"/>
                  </a:lnTo>
                  <a:lnTo>
                    <a:pt x="163" y="4"/>
                  </a:lnTo>
                  <a:lnTo>
                    <a:pt x="165" y="6"/>
                  </a:lnTo>
                  <a:lnTo>
                    <a:pt x="172" y="8"/>
                  </a:lnTo>
                  <a:lnTo>
                    <a:pt x="178" y="10"/>
                  </a:lnTo>
                  <a:lnTo>
                    <a:pt x="180" y="14"/>
                  </a:lnTo>
                  <a:lnTo>
                    <a:pt x="184" y="15"/>
                  </a:lnTo>
                  <a:lnTo>
                    <a:pt x="186" y="17"/>
                  </a:lnTo>
                  <a:lnTo>
                    <a:pt x="188" y="21"/>
                  </a:lnTo>
                  <a:lnTo>
                    <a:pt x="191" y="23"/>
                  </a:lnTo>
                  <a:lnTo>
                    <a:pt x="193" y="25"/>
                  </a:lnTo>
                  <a:lnTo>
                    <a:pt x="195" y="37"/>
                  </a:lnTo>
                  <a:lnTo>
                    <a:pt x="199" y="50"/>
                  </a:lnTo>
                  <a:lnTo>
                    <a:pt x="201" y="52"/>
                  </a:lnTo>
                  <a:lnTo>
                    <a:pt x="203" y="54"/>
                  </a:lnTo>
                  <a:lnTo>
                    <a:pt x="205" y="56"/>
                  </a:lnTo>
                  <a:lnTo>
                    <a:pt x="207" y="60"/>
                  </a:lnTo>
                  <a:lnTo>
                    <a:pt x="211" y="62"/>
                  </a:lnTo>
                  <a:lnTo>
                    <a:pt x="213" y="63"/>
                  </a:lnTo>
                  <a:lnTo>
                    <a:pt x="222" y="63"/>
                  </a:lnTo>
                  <a:lnTo>
                    <a:pt x="232" y="63"/>
                  </a:lnTo>
                  <a:lnTo>
                    <a:pt x="234" y="62"/>
                  </a:lnTo>
                  <a:lnTo>
                    <a:pt x="238" y="60"/>
                  </a:lnTo>
                  <a:lnTo>
                    <a:pt x="239" y="56"/>
                  </a:lnTo>
                  <a:lnTo>
                    <a:pt x="241" y="54"/>
                  </a:lnTo>
                  <a:lnTo>
                    <a:pt x="243" y="52"/>
                  </a:lnTo>
                  <a:lnTo>
                    <a:pt x="247" y="50"/>
                  </a:lnTo>
                  <a:lnTo>
                    <a:pt x="249" y="46"/>
                  </a:lnTo>
                  <a:lnTo>
                    <a:pt x="251" y="44"/>
                  </a:lnTo>
                  <a:lnTo>
                    <a:pt x="253" y="42"/>
                  </a:lnTo>
                  <a:lnTo>
                    <a:pt x="257" y="40"/>
                  </a:lnTo>
                  <a:lnTo>
                    <a:pt x="272" y="33"/>
                  </a:lnTo>
                  <a:lnTo>
                    <a:pt x="289" y="25"/>
                  </a:lnTo>
                  <a:lnTo>
                    <a:pt x="291" y="23"/>
                  </a:lnTo>
                  <a:lnTo>
                    <a:pt x="295" y="21"/>
                  </a:lnTo>
                  <a:lnTo>
                    <a:pt x="316" y="21"/>
                  </a:lnTo>
                  <a:lnTo>
                    <a:pt x="339" y="21"/>
                  </a:lnTo>
                  <a:lnTo>
                    <a:pt x="339" y="14"/>
                  </a:lnTo>
                  <a:lnTo>
                    <a:pt x="339" y="6"/>
                  </a:lnTo>
                  <a:lnTo>
                    <a:pt x="341" y="4"/>
                  </a:lnTo>
                  <a:lnTo>
                    <a:pt x="343" y="0"/>
                  </a:lnTo>
                  <a:lnTo>
                    <a:pt x="347" y="0"/>
                  </a:lnTo>
                  <a:lnTo>
                    <a:pt x="353" y="0"/>
                  </a:lnTo>
                  <a:lnTo>
                    <a:pt x="355" y="4"/>
                  </a:lnTo>
                  <a:lnTo>
                    <a:pt x="358" y="6"/>
                  </a:lnTo>
                  <a:lnTo>
                    <a:pt x="360" y="8"/>
                  </a:lnTo>
                  <a:lnTo>
                    <a:pt x="362" y="10"/>
                  </a:lnTo>
                  <a:lnTo>
                    <a:pt x="364" y="14"/>
                  </a:lnTo>
                  <a:lnTo>
                    <a:pt x="368" y="15"/>
                  </a:lnTo>
                  <a:lnTo>
                    <a:pt x="370" y="17"/>
                  </a:lnTo>
                  <a:lnTo>
                    <a:pt x="372" y="21"/>
                  </a:lnTo>
                  <a:lnTo>
                    <a:pt x="374" y="23"/>
                  </a:lnTo>
                  <a:lnTo>
                    <a:pt x="378" y="25"/>
                  </a:lnTo>
                  <a:lnTo>
                    <a:pt x="379" y="27"/>
                  </a:lnTo>
                  <a:lnTo>
                    <a:pt x="381" y="31"/>
                  </a:lnTo>
                  <a:lnTo>
                    <a:pt x="383" y="33"/>
                  </a:lnTo>
                  <a:lnTo>
                    <a:pt x="387" y="35"/>
                  </a:lnTo>
                  <a:lnTo>
                    <a:pt x="389" y="37"/>
                  </a:lnTo>
                  <a:lnTo>
                    <a:pt x="391" y="40"/>
                  </a:lnTo>
                  <a:lnTo>
                    <a:pt x="395" y="42"/>
                  </a:lnTo>
                  <a:lnTo>
                    <a:pt x="397" y="44"/>
                  </a:lnTo>
                  <a:lnTo>
                    <a:pt x="399" y="46"/>
                  </a:lnTo>
                  <a:lnTo>
                    <a:pt x="401" y="50"/>
                  </a:lnTo>
                  <a:lnTo>
                    <a:pt x="404" y="52"/>
                  </a:lnTo>
                  <a:lnTo>
                    <a:pt x="406" y="54"/>
                  </a:lnTo>
                  <a:lnTo>
                    <a:pt x="408" y="56"/>
                  </a:lnTo>
                  <a:lnTo>
                    <a:pt x="410" y="60"/>
                  </a:lnTo>
                  <a:lnTo>
                    <a:pt x="412" y="62"/>
                  </a:lnTo>
                  <a:lnTo>
                    <a:pt x="416" y="63"/>
                  </a:lnTo>
                  <a:lnTo>
                    <a:pt x="418" y="71"/>
                  </a:lnTo>
                  <a:lnTo>
                    <a:pt x="420" y="79"/>
                  </a:lnTo>
                  <a:lnTo>
                    <a:pt x="424" y="81"/>
                  </a:lnTo>
                  <a:lnTo>
                    <a:pt x="426" y="83"/>
                  </a:lnTo>
                  <a:lnTo>
                    <a:pt x="433" y="100"/>
                  </a:lnTo>
                  <a:lnTo>
                    <a:pt x="439" y="117"/>
                  </a:lnTo>
                  <a:lnTo>
                    <a:pt x="443" y="119"/>
                  </a:lnTo>
                  <a:lnTo>
                    <a:pt x="445" y="121"/>
                  </a:lnTo>
                  <a:lnTo>
                    <a:pt x="445" y="127"/>
                  </a:lnTo>
                  <a:lnTo>
                    <a:pt x="445" y="133"/>
                  </a:lnTo>
                  <a:lnTo>
                    <a:pt x="443" y="134"/>
                  </a:lnTo>
                  <a:lnTo>
                    <a:pt x="439" y="136"/>
                  </a:lnTo>
                  <a:lnTo>
                    <a:pt x="439" y="142"/>
                  </a:lnTo>
                  <a:lnTo>
                    <a:pt x="439" y="146"/>
                  </a:lnTo>
                  <a:lnTo>
                    <a:pt x="443" y="148"/>
                  </a:lnTo>
                  <a:lnTo>
                    <a:pt x="445" y="152"/>
                  </a:lnTo>
                  <a:lnTo>
                    <a:pt x="443" y="154"/>
                  </a:lnTo>
                  <a:lnTo>
                    <a:pt x="439" y="156"/>
                  </a:lnTo>
                  <a:lnTo>
                    <a:pt x="433" y="157"/>
                  </a:lnTo>
                  <a:lnTo>
                    <a:pt x="426" y="161"/>
                  </a:lnTo>
                  <a:lnTo>
                    <a:pt x="424" y="163"/>
                  </a:lnTo>
                  <a:lnTo>
                    <a:pt x="420" y="165"/>
                  </a:lnTo>
                  <a:lnTo>
                    <a:pt x="420" y="171"/>
                  </a:lnTo>
                  <a:lnTo>
                    <a:pt x="420" y="175"/>
                  </a:lnTo>
                  <a:lnTo>
                    <a:pt x="424" y="177"/>
                  </a:lnTo>
                  <a:lnTo>
                    <a:pt x="426" y="180"/>
                  </a:lnTo>
                  <a:lnTo>
                    <a:pt x="426" y="200"/>
                  </a:lnTo>
                  <a:lnTo>
                    <a:pt x="426" y="219"/>
                  </a:lnTo>
                  <a:lnTo>
                    <a:pt x="424" y="221"/>
                  </a:lnTo>
                  <a:lnTo>
                    <a:pt x="420" y="225"/>
                  </a:lnTo>
                  <a:lnTo>
                    <a:pt x="395" y="227"/>
                  </a:lnTo>
                  <a:lnTo>
                    <a:pt x="368" y="228"/>
                  </a:lnTo>
                  <a:lnTo>
                    <a:pt x="364" y="230"/>
                  </a:lnTo>
                  <a:lnTo>
                    <a:pt x="362" y="232"/>
                  </a:lnTo>
                  <a:lnTo>
                    <a:pt x="360" y="236"/>
                  </a:lnTo>
                  <a:lnTo>
                    <a:pt x="358" y="238"/>
                  </a:lnTo>
                  <a:lnTo>
                    <a:pt x="355" y="240"/>
                  </a:lnTo>
                  <a:lnTo>
                    <a:pt x="353" y="242"/>
                  </a:lnTo>
                  <a:lnTo>
                    <a:pt x="341" y="246"/>
                  </a:lnTo>
                  <a:lnTo>
                    <a:pt x="328" y="248"/>
                  </a:lnTo>
                  <a:lnTo>
                    <a:pt x="326" y="250"/>
                  </a:lnTo>
                  <a:lnTo>
                    <a:pt x="324" y="253"/>
                  </a:lnTo>
                  <a:lnTo>
                    <a:pt x="322" y="255"/>
                  </a:lnTo>
                  <a:lnTo>
                    <a:pt x="318" y="257"/>
                  </a:lnTo>
                  <a:lnTo>
                    <a:pt x="316" y="259"/>
                  </a:lnTo>
                  <a:lnTo>
                    <a:pt x="314" y="263"/>
                  </a:lnTo>
                  <a:lnTo>
                    <a:pt x="307" y="265"/>
                  </a:lnTo>
                  <a:lnTo>
                    <a:pt x="299" y="267"/>
                  </a:lnTo>
                  <a:lnTo>
                    <a:pt x="297" y="269"/>
                  </a:lnTo>
                  <a:lnTo>
                    <a:pt x="295" y="273"/>
                  </a:lnTo>
                  <a:lnTo>
                    <a:pt x="291" y="276"/>
                  </a:lnTo>
                  <a:lnTo>
                    <a:pt x="289" y="282"/>
                  </a:lnTo>
                  <a:lnTo>
                    <a:pt x="274" y="271"/>
                  </a:lnTo>
                  <a:lnTo>
                    <a:pt x="257" y="265"/>
                  </a:lnTo>
                  <a:lnTo>
                    <a:pt x="239" y="261"/>
                  </a:lnTo>
                  <a:lnTo>
                    <a:pt x="220" y="259"/>
                  </a:lnTo>
                  <a:lnTo>
                    <a:pt x="182" y="259"/>
                  </a:lnTo>
                  <a:lnTo>
                    <a:pt x="145" y="263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4" name="Freeform 294">
              <a:extLst>
                <a:ext uri="{FF2B5EF4-FFF2-40B4-BE49-F238E27FC236}">
                  <a16:creationId xmlns:a16="http://schemas.microsoft.com/office/drawing/2014/main" xmlns="" id="{A7ED49B9-4869-4D41-A061-2D67CDFA0D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6838" y="4943291"/>
              <a:ext cx="703262" cy="509587"/>
            </a:xfrm>
            <a:custGeom>
              <a:avLst/>
              <a:gdLst>
                <a:gd name="T0" fmla="*/ 2147483647 w 454"/>
                <a:gd name="T1" fmla="*/ 2147483647 h 340"/>
                <a:gd name="T2" fmla="*/ 2147483647 w 454"/>
                <a:gd name="T3" fmla="*/ 2147483647 h 340"/>
                <a:gd name="T4" fmla="*/ 2147483647 w 454"/>
                <a:gd name="T5" fmla="*/ 2147483647 h 340"/>
                <a:gd name="T6" fmla="*/ 2147483647 w 454"/>
                <a:gd name="T7" fmla="*/ 2147483647 h 340"/>
                <a:gd name="T8" fmla="*/ 2147483647 w 454"/>
                <a:gd name="T9" fmla="*/ 2147483647 h 340"/>
                <a:gd name="T10" fmla="*/ 2147483647 w 454"/>
                <a:gd name="T11" fmla="*/ 2147483647 h 340"/>
                <a:gd name="T12" fmla="*/ 2147483647 w 454"/>
                <a:gd name="T13" fmla="*/ 2147483647 h 340"/>
                <a:gd name="T14" fmla="*/ 2147483647 w 454"/>
                <a:gd name="T15" fmla="*/ 2147483647 h 340"/>
                <a:gd name="T16" fmla="*/ 2147483647 w 454"/>
                <a:gd name="T17" fmla="*/ 2147483647 h 340"/>
                <a:gd name="T18" fmla="*/ 2147483647 w 454"/>
                <a:gd name="T19" fmla="*/ 2147483647 h 340"/>
                <a:gd name="T20" fmla="*/ 2147483647 w 454"/>
                <a:gd name="T21" fmla="*/ 2147483647 h 340"/>
                <a:gd name="T22" fmla="*/ 2147483647 w 454"/>
                <a:gd name="T23" fmla="*/ 2147483647 h 340"/>
                <a:gd name="T24" fmla="*/ 2147483647 w 454"/>
                <a:gd name="T25" fmla="*/ 2147483647 h 340"/>
                <a:gd name="T26" fmla="*/ 2147483647 w 454"/>
                <a:gd name="T27" fmla="*/ 2147483647 h 340"/>
                <a:gd name="T28" fmla="*/ 2147483647 w 454"/>
                <a:gd name="T29" fmla="*/ 2147483647 h 340"/>
                <a:gd name="T30" fmla="*/ 2147483647 w 454"/>
                <a:gd name="T31" fmla="*/ 2147483647 h 340"/>
                <a:gd name="T32" fmla="*/ 2147483647 w 454"/>
                <a:gd name="T33" fmla="*/ 2147483647 h 340"/>
                <a:gd name="T34" fmla="*/ 2147483647 w 454"/>
                <a:gd name="T35" fmla="*/ 2147483647 h 340"/>
                <a:gd name="T36" fmla="*/ 2147483647 w 454"/>
                <a:gd name="T37" fmla="*/ 2147483647 h 340"/>
                <a:gd name="T38" fmla="*/ 2147483647 w 454"/>
                <a:gd name="T39" fmla="*/ 2147483647 h 340"/>
                <a:gd name="T40" fmla="*/ 2147483647 w 454"/>
                <a:gd name="T41" fmla="*/ 2147483647 h 340"/>
                <a:gd name="T42" fmla="*/ 2147483647 w 454"/>
                <a:gd name="T43" fmla="*/ 2147483647 h 340"/>
                <a:gd name="T44" fmla="*/ 0 w 454"/>
                <a:gd name="T45" fmla="*/ 2147483647 h 340"/>
                <a:gd name="T46" fmla="*/ 2147483647 w 454"/>
                <a:gd name="T47" fmla="*/ 2147483647 h 340"/>
                <a:gd name="T48" fmla="*/ 2147483647 w 454"/>
                <a:gd name="T49" fmla="*/ 2147483647 h 340"/>
                <a:gd name="T50" fmla="*/ 2147483647 w 454"/>
                <a:gd name="T51" fmla="*/ 2147483647 h 340"/>
                <a:gd name="T52" fmla="*/ 2147483647 w 454"/>
                <a:gd name="T53" fmla="*/ 2147483647 h 340"/>
                <a:gd name="T54" fmla="*/ 2147483647 w 454"/>
                <a:gd name="T55" fmla="*/ 2147483647 h 340"/>
                <a:gd name="T56" fmla="*/ 2147483647 w 454"/>
                <a:gd name="T57" fmla="*/ 2147483647 h 340"/>
                <a:gd name="T58" fmla="*/ 2147483647 w 454"/>
                <a:gd name="T59" fmla="*/ 2147483647 h 340"/>
                <a:gd name="T60" fmla="*/ 2147483647 w 454"/>
                <a:gd name="T61" fmla="*/ 2147483647 h 340"/>
                <a:gd name="T62" fmla="*/ 2147483647 w 454"/>
                <a:gd name="T63" fmla="*/ 2147483647 h 340"/>
                <a:gd name="T64" fmla="*/ 2147483647 w 454"/>
                <a:gd name="T65" fmla="*/ 2147483647 h 340"/>
                <a:gd name="T66" fmla="*/ 2147483647 w 454"/>
                <a:gd name="T67" fmla="*/ 2147483647 h 340"/>
                <a:gd name="T68" fmla="*/ 2147483647 w 454"/>
                <a:gd name="T69" fmla="*/ 2147483647 h 340"/>
                <a:gd name="T70" fmla="*/ 2147483647 w 454"/>
                <a:gd name="T71" fmla="*/ 2147483647 h 340"/>
                <a:gd name="T72" fmla="*/ 2147483647 w 454"/>
                <a:gd name="T73" fmla="*/ 2147483647 h 340"/>
                <a:gd name="T74" fmla="*/ 2147483647 w 454"/>
                <a:gd name="T75" fmla="*/ 2147483647 h 340"/>
                <a:gd name="T76" fmla="*/ 2147483647 w 454"/>
                <a:gd name="T77" fmla="*/ 2147483647 h 340"/>
                <a:gd name="T78" fmla="*/ 2147483647 w 454"/>
                <a:gd name="T79" fmla="*/ 2147483647 h 340"/>
                <a:gd name="T80" fmla="*/ 2147483647 w 454"/>
                <a:gd name="T81" fmla="*/ 2147483647 h 340"/>
                <a:gd name="T82" fmla="*/ 2147483647 w 454"/>
                <a:gd name="T83" fmla="*/ 2147483647 h 340"/>
                <a:gd name="T84" fmla="*/ 2147483647 w 454"/>
                <a:gd name="T85" fmla="*/ 2147483647 h 340"/>
                <a:gd name="T86" fmla="*/ 2147483647 w 454"/>
                <a:gd name="T87" fmla="*/ 2147483647 h 340"/>
                <a:gd name="T88" fmla="*/ 2147483647 w 454"/>
                <a:gd name="T89" fmla="*/ 2147483647 h 340"/>
                <a:gd name="T90" fmla="*/ 2147483647 w 454"/>
                <a:gd name="T91" fmla="*/ 2147483647 h 340"/>
                <a:gd name="T92" fmla="*/ 2147483647 w 454"/>
                <a:gd name="T93" fmla="*/ 2147483647 h 340"/>
                <a:gd name="T94" fmla="*/ 2147483647 w 454"/>
                <a:gd name="T95" fmla="*/ 2147483647 h 340"/>
                <a:gd name="T96" fmla="*/ 2147483647 w 454"/>
                <a:gd name="T97" fmla="*/ 2147483647 h 340"/>
                <a:gd name="T98" fmla="*/ 2147483647 w 454"/>
                <a:gd name="T99" fmla="*/ 2147483647 h 340"/>
                <a:gd name="T100" fmla="*/ 2147483647 w 454"/>
                <a:gd name="T101" fmla="*/ 2147483647 h 340"/>
                <a:gd name="T102" fmla="*/ 2147483647 w 454"/>
                <a:gd name="T103" fmla="*/ 2147483647 h 340"/>
                <a:gd name="T104" fmla="*/ 2147483647 w 454"/>
                <a:gd name="T105" fmla="*/ 2147483647 h 340"/>
                <a:gd name="T106" fmla="*/ 2147483647 w 454"/>
                <a:gd name="T107" fmla="*/ 2147483647 h 340"/>
                <a:gd name="T108" fmla="*/ 2147483647 w 454"/>
                <a:gd name="T109" fmla="*/ 2147483647 h 340"/>
                <a:gd name="T110" fmla="*/ 2147483647 w 454"/>
                <a:gd name="T111" fmla="*/ 2147483647 h 340"/>
                <a:gd name="T112" fmla="*/ 2147483647 w 454"/>
                <a:gd name="T113" fmla="*/ 2147483647 h 340"/>
                <a:gd name="T114" fmla="*/ 2147483647 w 454"/>
                <a:gd name="T115" fmla="*/ 2147483647 h 340"/>
                <a:gd name="T116" fmla="*/ 2147483647 w 454"/>
                <a:gd name="T117" fmla="*/ 2147483647 h 340"/>
                <a:gd name="T118" fmla="*/ 2147483647 w 454"/>
                <a:gd name="T119" fmla="*/ 2147483647 h 340"/>
                <a:gd name="T120" fmla="*/ 2147483647 w 454"/>
                <a:gd name="T121" fmla="*/ 2147483647 h 34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54"/>
                <a:gd name="T184" fmla="*/ 0 h 340"/>
                <a:gd name="T185" fmla="*/ 454 w 454"/>
                <a:gd name="T186" fmla="*/ 340 h 34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54" h="340">
                  <a:moveTo>
                    <a:pt x="312" y="340"/>
                  </a:moveTo>
                  <a:lnTo>
                    <a:pt x="310" y="336"/>
                  </a:lnTo>
                  <a:lnTo>
                    <a:pt x="309" y="334"/>
                  </a:lnTo>
                  <a:lnTo>
                    <a:pt x="307" y="332"/>
                  </a:lnTo>
                  <a:lnTo>
                    <a:pt x="303" y="330"/>
                  </a:lnTo>
                  <a:lnTo>
                    <a:pt x="301" y="326"/>
                  </a:lnTo>
                  <a:lnTo>
                    <a:pt x="299" y="324"/>
                  </a:lnTo>
                  <a:lnTo>
                    <a:pt x="297" y="313"/>
                  </a:lnTo>
                  <a:lnTo>
                    <a:pt x="295" y="301"/>
                  </a:lnTo>
                  <a:lnTo>
                    <a:pt x="291" y="297"/>
                  </a:lnTo>
                  <a:lnTo>
                    <a:pt x="289" y="295"/>
                  </a:lnTo>
                  <a:lnTo>
                    <a:pt x="287" y="294"/>
                  </a:lnTo>
                  <a:lnTo>
                    <a:pt x="284" y="290"/>
                  </a:lnTo>
                  <a:lnTo>
                    <a:pt x="282" y="288"/>
                  </a:lnTo>
                  <a:lnTo>
                    <a:pt x="280" y="286"/>
                  </a:lnTo>
                  <a:lnTo>
                    <a:pt x="272" y="284"/>
                  </a:lnTo>
                  <a:lnTo>
                    <a:pt x="264" y="280"/>
                  </a:lnTo>
                  <a:lnTo>
                    <a:pt x="263" y="278"/>
                  </a:lnTo>
                  <a:lnTo>
                    <a:pt x="261" y="276"/>
                  </a:lnTo>
                  <a:lnTo>
                    <a:pt x="251" y="276"/>
                  </a:lnTo>
                  <a:lnTo>
                    <a:pt x="241" y="276"/>
                  </a:lnTo>
                  <a:lnTo>
                    <a:pt x="238" y="278"/>
                  </a:lnTo>
                  <a:lnTo>
                    <a:pt x="236" y="280"/>
                  </a:lnTo>
                  <a:lnTo>
                    <a:pt x="228" y="284"/>
                  </a:lnTo>
                  <a:lnTo>
                    <a:pt x="222" y="286"/>
                  </a:lnTo>
                  <a:lnTo>
                    <a:pt x="218" y="288"/>
                  </a:lnTo>
                  <a:lnTo>
                    <a:pt x="216" y="290"/>
                  </a:lnTo>
                  <a:lnTo>
                    <a:pt x="209" y="294"/>
                  </a:lnTo>
                  <a:lnTo>
                    <a:pt x="203" y="295"/>
                  </a:lnTo>
                  <a:lnTo>
                    <a:pt x="199" y="297"/>
                  </a:lnTo>
                  <a:lnTo>
                    <a:pt x="197" y="301"/>
                  </a:lnTo>
                  <a:lnTo>
                    <a:pt x="170" y="303"/>
                  </a:lnTo>
                  <a:lnTo>
                    <a:pt x="144" y="305"/>
                  </a:lnTo>
                  <a:lnTo>
                    <a:pt x="142" y="307"/>
                  </a:lnTo>
                  <a:lnTo>
                    <a:pt x="140" y="311"/>
                  </a:lnTo>
                  <a:lnTo>
                    <a:pt x="136" y="313"/>
                  </a:lnTo>
                  <a:lnTo>
                    <a:pt x="134" y="315"/>
                  </a:lnTo>
                  <a:lnTo>
                    <a:pt x="132" y="317"/>
                  </a:lnTo>
                  <a:lnTo>
                    <a:pt x="130" y="320"/>
                  </a:lnTo>
                  <a:lnTo>
                    <a:pt x="124" y="320"/>
                  </a:lnTo>
                  <a:lnTo>
                    <a:pt x="121" y="320"/>
                  </a:lnTo>
                  <a:lnTo>
                    <a:pt x="117" y="317"/>
                  </a:lnTo>
                  <a:lnTo>
                    <a:pt x="115" y="315"/>
                  </a:lnTo>
                  <a:lnTo>
                    <a:pt x="105" y="313"/>
                  </a:lnTo>
                  <a:lnTo>
                    <a:pt x="96" y="311"/>
                  </a:lnTo>
                  <a:lnTo>
                    <a:pt x="92" y="311"/>
                  </a:lnTo>
                  <a:lnTo>
                    <a:pt x="86" y="311"/>
                  </a:lnTo>
                  <a:lnTo>
                    <a:pt x="84" y="295"/>
                  </a:lnTo>
                  <a:lnTo>
                    <a:pt x="82" y="280"/>
                  </a:lnTo>
                  <a:lnTo>
                    <a:pt x="65" y="271"/>
                  </a:lnTo>
                  <a:lnTo>
                    <a:pt x="48" y="261"/>
                  </a:lnTo>
                  <a:lnTo>
                    <a:pt x="48" y="257"/>
                  </a:lnTo>
                  <a:lnTo>
                    <a:pt x="48" y="251"/>
                  </a:lnTo>
                  <a:lnTo>
                    <a:pt x="57" y="232"/>
                  </a:lnTo>
                  <a:lnTo>
                    <a:pt x="67" y="213"/>
                  </a:lnTo>
                  <a:lnTo>
                    <a:pt x="51" y="213"/>
                  </a:lnTo>
                  <a:lnTo>
                    <a:pt x="38" y="213"/>
                  </a:lnTo>
                  <a:lnTo>
                    <a:pt x="28" y="209"/>
                  </a:lnTo>
                  <a:lnTo>
                    <a:pt x="19" y="203"/>
                  </a:lnTo>
                  <a:lnTo>
                    <a:pt x="15" y="194"/>
                  </a:lnTo>
                  <a:lnTo>
                    <a:pt x="13" y="184"/>
                  </a:lnTo>
                  <a:lnTo>
                    <a:pt x="11" y="182"/>
                  </a:lnTo>
                  <a:lnTo>
                    <a:pt x="9" y="180"/>
                  </a:lnTo>
                  <a:lnTo>
                    <a:pt x="5" y="163"/>
                  </a:lnTo>
                  <a:lnTo>
                    <a:pt x="3" y="146"/>
                  </a:lnTo>
                  <a:lnTo>
                    <a:pt x="2" y="144"/>
                  </a:lnTo>
                  <a:lnTo>
                    <a:pt x="0" y="140"/>
                  </a:lnTo>
                  <a:lnTo>
                    <a:pt x="0" y="130"/>
                  </a:lnTo>
                  <a:lnTo>
                    <a:pt x="0" y="121"/>
                  </a:lnTo>
                  <a:lnTo>
                    <a:pt x="2" y="119"/>
                  </a:lnTo>
                  <a:lnTo>
                    <a:pt x="3" y="117"/>
                  </a:lnTo>
                  <a:lnTo>
                    <a:pt x="5" y="115"/>
                  </a:lnTo>
                  <a:lnTo>
                    <a:pt x="9" y="111"/>
                  </a:lnTo>
                  <a:lnTo>
                    <a:pt x="11" y="109"/>
                  </a:lnTo>
                  <a:lnTo>
                    <a:pt x="13" y="107"/>
                  </a:lnTo>
                  <a:lnTo>
                    <a:pt x="15" y="94"/>
                  </a:lnTo>
                  <a:lnTo>
                    <a:pt x="19" y="82"/>
                  </a:lnTo>
                  <a:lnTo>
                    <a:pt x="21" y="81"/>
                  </a:lnTo>
                  <a:lnTo>
                    <a:pt x="23" y="79"/>
                  </a:lnTo>
                  <a:lnTo>
                    <a:pt x="40" y="75"/>
                  </a:lnTo>
                  <a:lnTo>
                    <a:pt x="57" y="73"/>
                  </a:lnTo>
                  <a:lnTo>
                    <a:pt x="59" y="71"/>
                  </a:lnTo>
                  <a:lnTo>
                    <a:pt x="63" y="69"/>
                  </a:lnTo>
                  <a:lnTo>
                    <a:pt x="65" y="42"/>
                  </a:lnTo>
                  <a:lnTo>
                    <a:pt x="67" y="15"/>
                  </a:lnTo>
                  <a:lnTo>
                    <a:pt x="69" y="13"/>
                  </a:lnTo>
                  <a:lnTo>
                    <a:pt x="71" y="10"/>
                  </a:lnTo>
                  <a:lnTo>
                    <a:pt x="86" y="8"/>
                  </a:lnTo>
                  <a:lnTo>
                    <a:pt x="99" y="6"/>
                  </a:lnTo>
                  <a:lnTo>
                    <a:pt x="115" y="4"/>
                  </a:lnTo>
                  <a:lnTo>
                    <a:pt x="130" y="0"/>
                  </a:lnTo>
                  <a:lnTo>
                    <a:pt x="132" y="4"/>
                  </a:lnTo>
                  <a:lnTo>
                    <a:pt x="134" y="6"/>
                  </a:lnTo>
                  <a:lnTo>
                    <a:pt x="142" y="8"/>
                  </a:lnTo>
                  <a:lnTo>
                    <a:pt x="149" y="10"/>
                  </a:lnTo>
                  <a:lnTo>
                    <a:pt x="151" y="13"/>
                  </a:lnTo>
                  <a:lnTo>
                    <a:pt x="153" y="15"/>
                  </a:lnTo>
                  <a:lnTo>
                    <a:pt x="167" y="17"/>
                  </a:lnTo>
                  <a:lnTo>
                    <a:pt x="178" y="19"/>
                  </a:lnTo>
                  <a:lnTo>
                    <a:pt x="180" y="23"/>
                  </a:lnTo>
                  <a:lnTo>
                    <a:pt x="182" y="25"/>
                  </a:lnTo>
                  <a:lnTo>
                    <a:pt x="190" y="27"/>
                  </a:lnTo>
                  <a:lnTo>
                    <a:pt x="197" y="29"/>
                  </a:lnTo>
                  <a:lnTo>
                    <a:pt x="199" y="33"/>
                  </a:lnTo>
                  <a:lnTo>
                    <a:pt x="203" y="35"/>
                  </a:lnTo>
                  <a:lnTo>
                    <a:pt x="209" y="36"/>
                  </a:lnTo>
                  <a:lnTo>
                    <a:pt x="216" y="40"/>
                  </a:lnTo>
                  <a:lnTo>
                    <a:pt x="218" y="42"/>
                  </a:lnTo>
                  <a:lnTo>
                    <a:pt x="222" y="44"/>
                  </a:lnTo>
                  <a:lnTo>
                    <a:pt x="228" y="61"/>
                  </a:lnTo>
                  <a:lnTo>
                    <a:pt x="236" y="79"/>
                  </a:lnTo>
                  <a:lnTo>
                    <a:pt x="238" y="81"/>
                  </a:lnTo>
                  <a:lnTo>
                    <a:pt x="241" y="82"/>
                  </a:lnTo>
                  <a:lnTo>
                    <a:pt x="263" y="84"/>
                  </a:lnTo>
                  <a:lnTo>
                    <a:pt x="284" y="88"/>
                  </a:lnTo>
                  <a:lnTo>
                    <a:pt x="287" y="90"/>
                  </a:lnTo>
                  <a:lnTo>
                    <a:pt x="289" y="92"/>
                  </a:lnTo>
                  <a:lnTo>
                    <a:pt x="297" y="94"/>
                  </a:lnTo>
                  <a:lnTo>
                    <a:pt x="303" y="98"/>
                  </a:lnTo>
                  <a:lnTo>
                    <a:pt x="307" y="100"/>
                  </a:lnTo>
                  <a:lnTo>
                    <a:pt x="309" y="102"/>
                  </a:lnTo>
                  <a:lnTo>
                    <a:pt x="324" y="104"/>
                  </a:lnTo>
                  <a:lnTo>
                    <a:pt x="339" y="104"/>
                  </a:lnTo>
                  <a:lnTo>
                    <a:pt x="357" y="106"/>
                  </a:lnTo>
                  <a:lnTo>
                    <a:pt x="372" y="107"/>
                  </a:lnTo>
                  <a:lnTo>
                    <a:pt x="374" y="109"/>
                  </a:lnTo>
                  <a:lnTo>
                    <a:pt x="376" y="111"/>
                  </a:lnTo>
                  <a:lnTo>
                    <a:pt x="374" y="115"/>
                  </a:lnTo>
                  <a:lnTo>
                    <a:pt x="372" y="117"/>
                  </a:lnTo>
                  <a:lnTo>
                    <a:pt x="372" y="121"/>
                  </a:lnTo>
                  <a:lnTo>
                    <a:pt x="372" y="127"/>
                  </a:lnTo>
                  <a:lnTo>
                    <a:pt x="374" y="129"/>
                  </a:lnTo>
                  <a:lnTo>
                    <a:pt x="376" y="130"/>
                  </a:lnTo>
                  <a:lnTo>
                    <a:pt x="376" y="153"/>
                  </a:lnTo>
                  <a:lnTo>
                    <a:pt x="376" y="175"/>
                  </a:lnTo>
                  <a:lnTo>
                    <a:pt x="387" y="175"/>
                  </a:lnTo>
                  <a:lnTo>
                    <a:pt x="393" y="175"/>
                  </a:lnTo>
                  <a:lnTo>
                    <a:pt x="395" y="173"/>
                  </a:lnTo>
                  <a:lnTo>
                    <a:pt x="395" y="169"/>
                  </a:lnTo>
                  <a:lnTo>
                    <a:pt x="399" y="167"/>
                  </a:lnTo>
                  <a:lnTo>
                    <a:pt x="401" y="165"/>
                  </a:lnTo>
                  <a:lnTo>
                    <a:pt x="403" y="157"/>
                  </a:lnTo>
                  <a:lnTo>
                    <a:pt x="406" y="152"/>
                  </a:lnTo>
                  <a:lnTo>
                    <a:pt x="408" y="148"/>
                  </a:lnTo>
                  <a:lnTo>
                    <a:pt x="410" y="146"/>
                  </a:lnTo>
                  <a:lnTo>
                    <a:pt x="422" y="146"/>
                  </a:lnTo>
                  <a:lnTo>
                    <a:pt x="435" y="146"/>
                  </a:lnTo>
                  <a:lnTo>
                    <a:pt x="435" y="159"/>
                  </a:lnTo>
                  <a:lnTo>
                    <a:pt x="437" y="175"/>
                  </a:lnTo>
                  <a:lnTo>
                    <a:pt x="437" y="188"/>
                  </a:lnTo>
                  <a:lnTo>
                    <a:pt x="439" y="203"/>
                  </a:lnTo>
                  <a:lnTo>
                    <a:pt x="441" y="205"/>
                  </a:lnTo>
                  <a:lnTo>
                    <a:pt x="445" y="209"/>
                  </a:lnTo>
                  <a:lnTo>
                    <a:pt x="447" y="215"/>
                  </a:lnTo>
                  <a:lnTo>
                    <a:pt x="449" y="223"/>
                  </a:lnTo>
                  <a:lnTo>
                    <a:pt x="451" y="224"/>
                  </a:lnTo>
                  <a:lnTo>
                    <a:pt x="454" y="228"/>
                  </a:lnTo>
                  <a:lnTo>
                    <a:pt x="454" y="232"/>
                  </a:lnTo>
                  <a:lnTo>
                    <a:pt x="454" y="238"/>
                  </a:lnTo>
                  <a:lnTo>
                    <a:pt x="451" y="240"/>
                  </a:lnTo>
                  <a:lnTo>
                    <a:pt x="449" y="242"/>
                  </a:lnTo>
                  <a:lnTo>
                    <a:pt x="441" y="259"/>
                  </a:lnTo>
                  <a:lnTo>
                    <a:pt x="435" y="276"/>
                  </a:lnTo>
                  <a:lnTo>
                    <a:pt x="431" y="278"/>
                  </a:lnTo>
                  <a:lnTo>
                    <a:pt x="429" y="280"/>
                  </a:lnTo>
                  <a:lnTo>
                    <a:pt x="408" y="288"/>
                  </a:lnTo>
                  <a:lnTo>
                    <a:pt x="385" y="295"/>
                  </a:lnTo>
                  <a:lnTo>
                    <a:pt x="383" y="297"/>
                  </a:lnTo>
                  <a:lnTo>
                    <a:pt x="381" y="301"/>
                  </a:lnTo>
                  <a:lnTo>
                    <a:pt x="364" y="301"/>
                  </a:lnTo>
                  <a:lnTo>
                    <a:pt x="347" y="301"/>
                  </a:lnTo>
                  <a:lnTo>
                    <a:pt x="347" y="307"/>
                  </a:lnTo>
                  <a:lnTo>
                    <a:pt x="347" y="315"/>
                  </a:lnTo>
                  <a:lnTo>
                    <a:pt x="345" y="317"/>
                  </a:lnTo>
                  <a:lnTo>
                    <a:pt x="343" y="320"/>
                  </a:lnTo>
                  <a:lnTo>
                    <a:pt x="339" y="322"/>
                  </a:lnTo>
                  <a:lnTo>
                    <a:pt x="337" y="324"/>
                  </a:lnTo>
                  <a:lnTo>
                    <a:pt x="335" y="326"/>
                  </a:lnTo>
                  <a:lnTo>
                    <a:pt x="334" y="330"/>
                  </a:lnTo>
                  <a:lnTo>
                    <a:pt x="330" y="332"/>
                  </a:lnTo>
                  <a:lnTo>
                    <a:pt x="328" y="334"/>
                  </a:lnTo>
                  <a:lnTo>
                    <a:pt x="326" y="336"/>
                  </a:lnTo>
                  <a:lnTo>
                    <a:pt x="324" y="340"/>
                  </a:lnTo>
                  <a:lnTo>
                    <a:pt x="318" y="340"/>
                  </a:lnTo>
                  <a:lnTo>
                    <a:pt x="312" y="340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5" name="Freeform 295">
              <a:extLst>
                <a:ext uri="{FF2B5EF4-FFF2-40B4-BE49-F238E27FC236}">
                  <a16:creationId xmlns:a16="http://schemas.microsoft.com/office/drawing/2014/main" xmlns="" id="{72D30111-B7B8-874D-AC88-13131423AA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050" y="4698816"/>
              <a:ext cx="434975" cy="590550"/>
            </a:xfrm>
            <a:custGeom>
              <a:avLst/>
              <a:gdLst>
                <a:gd name="T0" fmla="*/ 2147483647 w 280"/>
                <a:gd name="T1" fmla="*/ 2147483647 h 395"/>
                <a:gd name="T2" fmla="*/ 2147483647 w 280"/>
                <a:gd name="T3" fmla="*/ 2147483647 h 395"/>
                <a:gd name="T4" fmla="*/ 2147483647 w 280"/>
                <a:gd name="T5" fmla="*/ 2147483647 h 395"/>
                <a:gd name="T6" fmla="*/ 2147483647 w 280"/>
                <a:gd name="T7" fmla="*/ 2147483647 h 395"/>
                <a:gd name="T8" fmla="*/ 0 w 280"/>
                <a:gd name="T9" fmla="*/ 2147483647 h 395"/>
                <a:gd name="T10" fmla="*/ 2147483647 w 280"/>
                <a:gd name="T11" fmla="*/ 2147483647 h 395"/>
                <a:gd name="T12" fmla="*/ 2147483647 w 280"/>
                <a:gd name="T13" fmla="*/ 2147483647 h 395"/>
                <a:gd name="T14" fmla="*/ 2147483647 w 280"/>
                <a:gd name="T15" fmla="*/ 2147483647 h 395"/>
                <a:gd name="T16" fmla="*/ 2147483647 w 280"/>
                <a:gd name="T17" fmla="*/ 2147483647 h 395"/>
                <a:gd name="T18" fmla="*/ 2147483647 w 280"/>
                <a:gd name="T19" fmla="*/ 2147483647 h 395"/>
                <a:gd name="T20" fmla="*/ 2147483647 w 280"/>
                <a:gd name="T21" fmla="*/ 2147483647 h 395"/>
                <a:gd name="T22" fmla="*/ 2147483647 w 280"/>
                <a:gd name="T23" fmla="*/ 2147483647 h 395"/>
                <a:gd name="T24" fmla="*/ 2147483647 w 280"/>
                <a:gd name="T25" fmla="*/ 2147483647 h 395"/>
                <a:gd name="T26" fmla="*/ 2147483647 w 280"/>
                <a:gd name="T27" fmla="*/ 2147483647 h 395"/>
                <a:gd name="T28" fmla="*/ 2147483647 w 280"/>
                <a:gd name="T29" fmla="*/ 2147483647 h 395"/>
                <a:gd name="T30" fmla="*/ 2147483647 w 280"/>
                <a:gd name="T31" fmla="*/ 2147483647 h 395"/>
                <a:gd name="T32" fmla="*/ 2147483647 w 280"/>
                <a:gd name="T33" fmla="*/ 2147483647 h 395"/>
                <a:gd name="T34" fmla="*/ 2147483647 w 280"/>
                <a:gd name="T35" fmla="*/ 2147483647 h 395"/>
                <a:gd name="T36" fmla="*/ 2147483647 w 280"/>
                <a:gd name="T37" fmla="*/ 2147483647 h 395"/>
                <a:gd name="T38" fmla="*/ 2147483647 w 280"/>
                <a:gd name="T39" fmla="*/ 2147483647 h 395"/>
                <a:gd name="T40" fmla="*/ 2147483647 w 280"/>
                <a:gd name="T41" fmla="*/ 2147483647 h 395"/>
                <a:gd name="T42" fmla="*/ 2147483647 w 280"/>
                <a:gd name="T43" fmla="*/ 2147483647 h 395"/>
                <a:gd name="T44" fmla="*/ 2147483647 w 280"/>
                <a:gd name="T45" fmla="*/ 2147483647 h 395"/>
                <a:gd name="T46" fmla="*/ 2147483647 w 280"/>
                <a:gd name="T47" fmla="*/ 2147483647 h 395"/>
                <a:gd name="T48" fmla="*/ 2147483647 w 280"/>
                <a:gd name="T49" fmla="*/ 2147483647 h 395"/>
                <a:gd name="T50" fmla="*/ 2147483647 w 280"/>
                <a:gd name="T51" fmla="*/ 2147483647 h 395"/>
                <a:gd name="T52" fmla="*/ 2147483647 w 280"/>
                <a:gd name="T53" fmla="*/ 2147483647 h 395"/>
                <a:gd name="T54" fmla="*/ 2147483647 w 280"/>
                <a:gd name="T55" fmla="*/ 2147483647 h 395"/>
                <a:gd name="T56" fmla="*/ 2147483647 w 280"/>
                <a:gd name="T57" fmla="*/ 0 h 395"/>
                <a:gd name="T58" fmla="*/ 2147483647 w 280"/>
                <a:gd name="T59" fmla="*/ 2147483647 h 395"/>
                <a:gd name="T60" fmla="*/ 2147483647 w 280"/>
                <a:gd name="T61" fmla="*/ 2147483647 h 395"/>
                <a:gd name="T62" fmla="*/ 2147483647 w 280"/>
                <a:gd name="T63" fmla="*/ 2147483647 h 395"/>
                <a:gd name="T64" fmla="*/ 2147483647 w 280"/>
                <a:gd name="T65" fmla="*/ 2147483647 h 395"/>
                <a:gd name="T66" fmla="*/ 2147483647 w 280"/>
                <a:gd name="T67" fmla="*/ 2147483647 h 395"/>
                <a:gd name="T68" fmla="*/ 2147483647 w 280"/>
                <a:gd name="T69" fmla="*/ 2147483647 h 395"/>
                <a:gd name="T70" fmla="*/ 2147483647 w 280"/>
                <a:gd name="T71" fmla="*/ 2147483647 h 395"/>
                <a:gd name="T72" fmla="*/ 2147483647 w 280"/>
                <a:gd name="T73" fmla="*/ 2147483647 h 395"/>
                <a:gd name="T74" fmla="*/ 2147483647 w 280"/>
                <a:gd name="T75" fmla="*/ 2147483647 h 395"/>
                <a:gd name="T76" fmla="*/ 2147483647 w 280"/>
                <a:gd name="T77" fmla="*/ 2147483647 h 395"/>
                <a:gd name="T78" fmla="*/ 2147483647 w 280"/>
                <a:gd name="T79" fmla="*/ 2147483647 h 395"/>
                <a:gd name="T80" fmla="*/ 2147483647 w 280"/>
                <a:gd name="T81" fmla="*/ 2147483647 h 395"/>
                <a:gd name="T82" fmla="*/ 2147483647 w 280"/>
                <a:gd name="T83" fmla="*/ 2147483647 h 395"/>
                <a:gd name="T84" fmla="*/ 2147483647 w 280"/>
                <a:gd name="T85" fmla="*/ 2147483647 h 395"/>
                <a:gd name="T86" fmla="*/ 2147483647 w 280"/>
                <a:gd name="T87" fmla="*/ 2147483647 h 395"/>
                <a:gd name="T88" fmla="*/ 2147483647 w 280"/>
                <a:gd name="T89" fmla="*/ 2147483647 h 395"/>
                <a:gd name="T90" fmla="*/ 2147483647 w 280"/>
                <a:gd name="T91" fmla="*/ 2147483647 h 395"/>
                <a:gd name="T92" fmla="*/ 2147483647 w 280"/>
                <a:gd name="T93" fmla="*/ 2147483647 h 395"/>
                <a:gd name="T94" fmla="*/ 2147483647 w 280"/>
                <a:gd name="T95" fmla="*/ 2147483647 h 395"/>
                <a:gd name="T96" fmla="*/ 2147483647 w 280"/>
                <a:gd name="T97" fmla="*/ 2147483647 h 395"/>
                <a:gd name="T98" fmla="*/ 2147483647 w 280"/>
                <a:gd name="T99" fmla="*/ 2147483647 h 395"/>
                <a:gd name="T100" fmla="*/ 2147483647 w 280"/>
                <a:gd name="T101" fmla="*/ 2147483647 h 395"/>
                <a:gd name="T102" fmla="*/ 2147483647 w 280"/>
                <a:gd name="T103" fmla="*/ 2147483647 h 395"/>
                <a:gd name="T104" fmla="*/ 2147483647 w 280"/>
                <a:gd name="T105" fmla="*/ 2147483647 h 395"/>
                <a:gd name="T106" fmla="*/ 2147483647 w 280"/>
                <a:gd name="T107" fmla="*/ 2147483647 h 395"/>
                <a:gd name="T108" fmla="*/ 2147483647 w 280"/>
                <a:gd name="T109" fmla="*/ 2147483647 h 395"/>
                <a:gd name="T110" fmla="*/ 2147483647 w 280"/>
                <a:gd name="T111" fmla="*/ 2147483647 h 395"/>
                <a:gd name="T112" fmla="*/ 2147483647 w 280"/>
                <a:gd name="T113" fmla="*/ 2147483647 h 395"/>
                <a:gd name="T114" fmla="*/ 2147483647 w 280"/>
                <a:gd name="T115" fmla="*/ 2147483647 h 395"/>
                <a:gd name="T116" fmla="*/ 2147483647 w 280"/>
                <a:gd name="T117" fmla="*/ 2147483647 h 39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0"/>
                <a:gd name="T178" fmla="*/ 0 h 395"/>
                <a:gd name="T179" fmla="*/ 280 w 280"/>
                <a:gd name="T180" fmla="*/ 395 h 39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0" h="395">
                  <a:moveTo>
                    <a:pt x="115" y="395"/>
                  </a:moveTo>
                  <a:lnTo>
                    <a:pt x="115" y="386"/>
                  </a:lnTo>
                  <a:lnTo>
                    <a:pt x="115" y="376"/>
                  </a:lnTo>
                  <a:lnTo>
                    <a:pt x="105" y="376"/>
                  </a:lnTo>
                  <a:lnTo>
                    <a:pt x="96" y="376"/>
                  </a:lnTo>
                  <a:lnTo>
                    <a:pt x="96" y="363"/>
                  </a:lnTo>
                  <a:lnTo>
                    <a:pt x="96" y="347"/>
                  </a:lnTo>
                  <a:lnTo>
                    <a:pt x="69" y="336"/>
                  </a:lnTo>
                  <a:lnTo>
                    <a:pt x="42" y="322"/>
                  </a:lnTo>
                  <a:lnTo>
                    <a:pt x="30" y="330"/>
                  </a:lnTo>
                  <a:lnTo>
                    <a:pt x="19" y="338"/>
                  </a:lnTo>
                  <a:lnTo>
                    <a:pt x="13" y="338"/>
                  </a:lnTo>
                  <a:lnTo>
                    <a:pt x="9" y="338"/>
                  </a:lnTo>
                  <a:lnTo>
                    <a:pt x="4" y="338"/>
                  </a:lnTo>
                  <a:lnTo>
                    <a:pt x="0" y="338"/>
                  </a:lnTo>
                  <a:lnTo>
                    <a:pt x="4" y="328"/>
                  </a:lnTo>
                  <a:lnTo>
                    <a:pt x="9" y="318"/>
                  </a:lnTo>
                  <a:lnTo>
                    <a:pt x="9" y="313"/>
                  </a:lnTo>
                  <a:lnTo>
                    <a:pt x="9" y="309"/>
                  </a:lnTo>
                  <a:lnTo>
                    <a:pt x="15" y="309"/>
                  </a:lnTo>
                  <a:lnTo>
                    <a:pt x="17" y="307"/>
                  </a:lnTo>
                  <a:lnTo>
                    <a:pt x="19" y="301"/>
                  </a:lnTo>
                  <a:lnTo>
                    <a:pt x="19" y="290"/>
                  </a:lnTo>
                  <a:lnTo>
                    <a:pt x="13" y="290"/>
                  </a:lnTo>
                  <a:lnTo>
                    <a:pt x="9" y="290"/>
                  </a:lnTo>
                  <a:lnTo>
                    <a:pt x="9" y="280"/>
                  </a:lnTo>
                  <a:lnTo>
                    <a:pt x="9" y="270"/>
                  </a:lnTo>
                  <a:lnTo>
                    <a:pt x="9" y="265"/>
                  </a:lnTo>
                  <a:lnTo>
                    <a:pt x="9" y="261"/>
                  </a:lnTo>
                  <a:lnTo>
                    <a:pt x="9" y="255"/>
                  </a:lnTo>
                  <a:lnTo>
                    <a:pt x="9" y="251"/>
                  </a:lnTo>
                  <a:lnTo>
                    <a:pt x="9" y="245"/>
                  </a:lnTo>
                  <a:lnTo>
                    <a:pt x="9" y="242"/>
                  </a:lnTo>
                  <a:lnTo>
                    <a:pt x="9" y="234"/>
                  </a:lnTo>
                  <a:lnTo>
                    <a:pt x="9" y="226"/>
                  </a:lnTo>
                  <a:lnTo>
                    <a:pt x="11" y="224"/>
                  </a:lnTo>
                  <a:lnTo>
                    <a:pt x="13" y="221"/>
                  </a:lnTo>
                  <a:lnTo>
                    <a:pt x="17" y="209"/>
                  </a:lnTo>
                  <a:lnTo>
                    <a:pt x="19" y="198"/>
                  </a:lnTo>
                  <a:lnTo>
                    <a:pt x="21" y="196"/>
                  </a:lnTo>
                  <a:lnTo>
                    <a:pt x="23" y="192"/>
                  </a:lnTo>
                  <a:lnTo>
                    <a:pt x="27" y="190"/>
                  </a:lnTo>
                  <a:lnTo>
                    <a:pt x="28" y="188"/>
                  </a:lnTo>
                  <a:lnTo>
                    <a:pt x="30" y="186"/>
                  </a:lnTo>
                  <a:lnTo>
                    <a:pt x="34" y="182"/>
                  </a:lnTo>
                  <a:lnTo>
                    <a:pt x="40" y="171"/>
                  </a:lnTo>
                  <a:lnTo>
                    <a:pt x="48" y="159"/>
                  </a:lnTo>
                  <a:lnTo>
                    <a:pt x="50" y="155"/>
                  </a:lnTo>
                  <a:lnTo>
                    <a:pt x="51" y="153"/>
                  </a:lnTo>
                  <a:lnTo>
                    <a:pt x="55" y="151"/>
                  </a:lnTo>
                  <a:lnTo>
                    <a:pt x="57" y="150"/>
                  </a:lnTo>
                  <a:lnTo>
                    <a:pt x="59" y="146"/>
                  </a:lnTo>
                  <a:lnTo>
                    <a:pt x="63" y="144"/>
                  </a:lnTo>
                  <a:lnTo>
                    <a:pt x="69" y="142"/>
                  </a:lnTo>
                  <a:lnTo>
                    <a:pt x="76" y="140"/>
                  </a:lnTo>
                  <a:lnTo>
                    <a:pt x="78" y="138"/>
                  </a:lnTo>
                  <a:lnTo>
                    <a:pt x="82" y="134"/>
                  </a:lnTo>
                  <a:lnTo>
                    <a:pt x="82" y="121"/>
                  </a:lnTo>
                  <a:lnTo>
                    <a:pt x="82" y="105"/>
                  </a:lnTo>
                  <a:lnTo>
                    <a:pt x="78" y="104"/>
                  </a:lnTo>
                  <a:lnTo>
                    <a:pt x="76" y="100"/>
                  </a:lnTo>
                  <a:lnTo>
                    <a:pt x="75" y="98"/>
                  </a:lnTo>
                  <a:lnTo>
                    <a:pt x="73" y="96"/>
                  </a:lnTo>
                  <a:lnTo>
                    <a:pt x="69" y="94"/>
                  </a:lnTo>
                  <a:lnTo>
                    <a:pt x="67" y="92"/>
                  </a:lnTo>
                  <a:lnTo>
                    <a:pt x="55" y="88"/>
                  </a:lnTo>
                  <a:lnTo>
                    <a:pt x="44" y="86"/>
                  </a:lnTo>
                  <a:lnTo>
                    <a:pt x="40" y="84"/>
                  </a:lnTo>
                  <a:lnTo>
                    <a:pt x="38" y="82"/>
                  </a:lnTo>
                  <a:lnTo>
                    <a:pt x="38" y="77"/>
                  </a:lnTo>
                  <a:lnTo>
                    <a:pt x="38" y="71"/>
                  </a:lnTo>
                  <a:lnTo>
                    <a:pt x="40" y="69"/>
                  </a:lnTo>
                  <a:lnTo>
                    <a:pt x="44" y="67"/>
                  </a:lnTo>
                  <a:lnTo>
                    <a:pt x="46" y="65"/>
                  </a:lnTo>
                  <a:lnTo>
                    <a:pt x="48" y="61"/>
                  </a:lnTo>
                  <a:lnTo>
                    <a:pt x="50" y="59"/>
                  </a:lnTo>
                  <a:lnTo>
                    <a:pt x="51" y="57"/>
                  </a:lnTo>
                  <a:lnTo>
                    <a:pt x="55" y="40"/>
                  </a:lnTo>
                  <a:lnTo>
                    <a:pt x="57" y="23"/>
                  </a:lnTo>
                  <a:lnTo>
                    <a:pt x="59" y="21"/>
                  </a:lnTo>
                  <a:lnTo>
                    <a:pt x="63" y="19"/>
                  </a:lnTo>
                  <a:lnTo>
                    <a:pt x="65" y="15"/>
                  </a:lnTo>
                  <a:lnTo>
                    <a:pt x="67" y="13"/>
                  </a:lnTo>
                  <a:lnTo>
                    <a:pt x="69" y="11"/>
                  </a:lnTo>
                  <a:lnTo>
                    <a:pt x="73" y="9"/>
                  </a:lnTo>
                  <a:lnTo>
                    <a:pt x="82" y="4"/>
                  </a:lnTo>
                  <a:lnTo>
                    <a:pt x="92" y="0"/>
                  </a:lnTo>
                  <a:lnTo>
                    <a:pt x="94" y="2"/>
                  </a:lnTo>
                  <a:lnTo>
                    <a:pt x="96" y="4"/>
                  </a:lnTo>
                  <a:lnTo>
                    <a:pt x="94" y="6"/>
                  </a:lnTo>
                  <a:lnTo>
                    <a:pt x="92" y="9"/>
                  </a:lnTo>
                  <a:lnTo>
                    <a:pt x="92" y="13"/>
                  </a:lnTo>
                  <a:lnTo>
                    <a:pt x="92" y="19"/>
                  </a:lnTo>
                  <a:lnTo>
                    <a:pt x="94" y="21"/>
                  </a:lnTo>
                  <a:lnTo>
                    <a:pt x="96" y="23"/>
                  </a:lnTo>
                  <a:lnTo>
                    <a:pt x="98" y="25"/>
                  </a:lnTo>
                  <a:lnTo>
                    <a:pt x="101" y="29"/>
                  </a:lnTo>
                  <a:lnTo>
                    <a:pt x="103" y="31"/>
                  </a:lnTo>
                  <a:lnTo>
                    <a:pt x="105" y="33"/>
                  </a:lnTo>
                  <a:lnTo>
                    <a:pt x="119" y="34"/>
                  </a:lnTo>
                  <a:lnTo>
                    <a:pt x="130" y="38"/>
                  </a:lnTo>
                  <a:lnTo>
                    <a:pt x="132" y="40"/>
                  </a:lnTo>
                  <a:lnTo>
                    <a:pt x="134" y="42"/>
                  </a:lnTo>
                  <a:lnTo>
                    <a:pt x="136" y="46"/>
                  </a:lnTo>
                  <a:lnTo>
                    <a:pt x="140" y="48"/>
                  </a:lnTo>
                  <a:lnTo>
                    <a:pt x="142" y="50"/>
                  </a:lnTo>
                  <a:lnTo>
                    <a:pt x="144" y="52"/>
                  </a:lnTo>
                  <a:lnTo>
                    <a:pt x="149" y="56"/>
                  </a:lnTo>
                  <a:lnTo>
                    <a:pt x="159" y="56"/>
                  </a:lnTo>
                  <a:lnTo>
                    <a:pt x="169" y="56"/>
                  </a:lnTo>
                  <a:lnTo>
                    <a:pt x="172" y="52"/>
                  </a:lnTo>
                  <a:lnTo>
                    <a:pt x="176" y="50"/>
                  </a:lnTo>
                  <a:lnTo>
                    <a:pt x="178" y="48"/>
                  </a:lnTo>
                  <a:lnTo>
                    <a:pt x="182" y="48"/>
                  </a:lnTo>
                  <a:lnTo>
                    <a:pt x="188" y="48"/>
                  </a:lnTo>
                  <a:lnTo>
                    <a:pt x="190" y="50"/>
                  </a:lnTo>
                  <a:lnTo>
                    <a:pt x="193" y="52"/>
                  </a:lnTo>
                  <a:lnTo>
                    <a:pt x="201" y="56"/>
                  </a:lnTo>
                  <a:lnTo>
                    <a:pt x="216" y="56"/>
                  </a:lnTo>
                  <a:lnTo>
                    <a:pt x="234" y="56"/>
                  </a:lnTo>
                  <a:lnTo>
                    <a:pt x="241" y="52"/>
                  </a:lnTo>
                  <a:lnTo>
                    <a:pt x="243" y="50"/>
                  </a:lnTo>
                  <a:lnTo>
                    <a:pt x="245" y="48"/>
                  </a:lnTo>
                  <a:lnTo>
                    <a:pt x="249" y="50"/>
                  </a:lnTo>
                  <a:lnTo>
                    <a:pt x="251" y="52"/>
                  </a:lnTo>
                  <a:lnTo>
                    <a:pt x="253" y="59"/>
                  </a:lnTo>
                  <a:lnTo>
                    <a:pt x="255" y="67"/>
                  </a:lnTo>
                  <a:lnTo>
                    <a:pt x="257" y="69"/>
                  </a:lnTo>
                  <a:lnTo>
                    <a:pt x="261" y="71"/>
                  </a:lnTo>
                  <a:lnTo>
                    <a:pt x="263" y="79"/>
                  </a:lnTo>
                  <a:lnTo>
                    <a:pt x="266" y="86"/>
                  </a:lnTo>
                  <a:lnTo>
                    <a:pt x="268" y="88"/>
                  </a:lnTo>
                  <a:lnTo>
                    <a:pt x="270" y="92"/>
                  </a:lnTo>
                  <a:lnTo>
                    <a:pt x="272" y="117"/>
                  </a:lnTo>
                  <a:lnTo>
                    <a:pt x="276" y="144"/>
                  </a:lnTo>
                  <a:lnTo>
                    <a:pt x="278" y="146"/>
                  </a:lnTo>
                  <a:lnTo>
                    <a:pt x="280" y="150"/>
                  </a:lnTo>
                  <a:lnTo>
                    <a:pt x="280" y="159"/>
                  </a:lnTo>
                  <a:lnTo>
                    <a:pt x="280" y="169"/>
                  </a:lnTo>
                  <a:lnTo>
                    <a:pt x="278" y="171"/>
                  </a:lnTo>
                  <a:lnTo>
                    <a:pt x="276" y="173"/>
                  </a:lnTo>
                  <a:lnTo>
                    <a:pt x="272" y="199"/>
                  </a:lnTo>
                  <a:lnTo>
                    <a:pt x="270" y="226"/>
                  </a:lnTo>
                  <a:lnTo>
                    <a:pt x="268" y="228"/>
                  </a:lnTo>
                  <a:lnTo>
                    <a:pt x="266" y="232"/>
                  </a:lnTo>
                  <a:lnTo>
                    <a:pt x="249" y="234"/>
                  </a:lnTo>
                  <a:lnTo>
                    <a:pt x="232" y="236"/>
                  </a:lnTo>
                  <a:lnTo>
                    <a:pt x="228" y="238"/>
                  </a:lnTo>
                  <a:lnTo>
                    <a:pt x="226" y="242"/>
                  </a:lnTo>
                  <a:lnTo>
                    <a:pt x="224" y="253"/>
                  </a:lnTo>
                  <a:lnTo>
                    <a:pt x="222" y="265"/>
                  </a:lnTo>
                  <a:lnTo>
                    <a:pt x="218" y="267"/>
                  </a:lnTo>
                  <a:lnTo>
                    <a:pt x="216" y="270"/>
                  </a:lnTo>
                  <a:lnTo>
                    <a:pt x="215" y="272"/>
                  </a:lnTo>
                  <a:lnTo>
                    <a:pt x="213" y="274"/>
                  </a:lnTo>
                  <a:lnTo>
                    <a:pt x="209" y="278"/>
                  </a:lnTo>
                  <a:lnTo>
                    <a:pt x="207" y="280"/>
                  </a:lnTo>
                  <a:lnTo>
                    <a:pt x="207" y="293"/>
                  </a:lnTo>
                  <a:lnTo>
                    <a:pt x="207" y="309"/>
                  </a:lnTo>
                  <a:lnTo>
                    <a:pt x="209" y="311"/>
                  </a:lnTo>
                  <a:lnTo>
                    <a:pt x="213" y="315"/>
                  </a:lnTo>
                  <a:lnTo>
                    <a:pt x="215" y="330"/>
                  </a:lnTo>
                  <a:lnTo>
                    <a:pt x="216" y="347"/>
                  </a:lnTo>
                  <a:lnTo>
                    <a:pt x="218" y="349"/>
                  </a:lnTo>
                  <a:lnTo>
                    <a:pt x="222" y="353"/>
                  </a:lnTo>
                  <a:lnTo>
                    <a:pt x="222" y="359"/>
                  </a:lnTo>
                  <a:lnTo>
                    <a:pt x="222" y="366"/>
                  </a:lnTo>
                  <a:lnTo>
                    <a:pt x="216" y="366"/>
                  </a:lnTo>
                  <a:lnTo>
                    <a:pt x="213" y="366"/>
                  </a:lnTo>
                  <a:lnTo>
                    <a:pt x="207" y="372"/>
                  </a:lnTo>
                  <a:lnTo>
                    <a:pt x="203" y="376"/>
                  </a:lnTo>
                  <a:lnTo>
                    <a:pt x="180" y="380"/>
                  </a:lnTo>
                  <a:lnTo>
                    <a:pt x="167" y="382"/>
                  </a:lnTo>
                  <a:lnTo>
                    <a:pt x="157" y="387"/>
                  </a:lnTo>
                  <a:lnTo>
                    <a:pt x="144" y="395"/>
                  </a:lnTo>
                  <a:lnTo>
                    <a:pt x="130" y="395"/>
                  </a:lnTo>
                  <a:lnTo>
                    <a:pt x="115" y="395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6" name="Freeform 296">
              <a:extLst>
                <a:ext uri="{FF2B5EF4-FFF2-40B4-BE49-F238E27FC236}">
                  <a16:creationId xmlns:a16="http://schemas.microsoft.com/office/drawing/2014/main" xmlns="" id="{2F9EF1A1-1A69-4242-86AD-57E907841F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3025" y="4686116"/>
              <a:ext cx="406400" cy="430212"/>
            </a:xfrm>
            <a:custGeom>
              <a:avLst/>
              <a:gdLst>
                <a:gd name="T0" fmla="*/ 2147483647 w 261"/>
                <a:gd name="T1" fmla="*/ 2147483647 h 290"/>
                <a:gd name="T2" fmla="*/ 2147483647 w 261"/>
                <a:gd name="T3" fmla="*/ 2147483647 h 290"/>
                <a:gd name="T4" fmla="*/ 2147483647 w 261"/>
                <a:gd name="T5" fmla="*/ 2147483647 h 290"/>
                <a:gd name="T6" fmla="*/ 2147483647 w 261"/>
                <a:gd name="T7" fmla="*/ 2147483647 h 290"/>
                <a:gd name="T8" fmla="*/ 2147483647 w 261"/>
                <a:gd name="T9" fmla="*/ 2147483647 h 290"/>
                <a:gd name="T10" fmla="*/ 2147483647 w 261"/>
                <a:gd name="T11" fmla="*/ 2147483647 h 290"/>
                <a:gd name="T12" fmla="*/ 2147483647 w 261"/>
                <a:gd name="T13" fmla="*/ 2147483647 h 290"/>
                <a:gd name="T14" fmla="*/ 2147483647 w 261"/>
                <a:gd name="T15" fmla="*/ 2147483647 h 290"/>
                <a:gd name="T16" fmla="*/ 2147483647 w 261"/>
                <a:gd name="T17" fmla="*/ 2147483647 h 290"/>
                <a:gd name="T18" fmla="*/ 2147483647 w 261"/>
                <a:gd name="T19" fmla="*/ 2147483647 h 290"/>
                <a:gd name="T20" fmla="*/ 2147483647 w 261"/>
                <a:gd name="T21" fmla="*/ 2147483647 h 290"/>
                <a:gd name="T22" fmla="*/ 2147483647 w 261"/>
                <a:gd name="T23" fmla="*/ 2147483647 h 290"/>
                <a:gd name="T24" fmla="*/ 2147483647 w 261"/>
                <a:gd name="T25" fmla="*/ 2147483647 h 290"/>
                <a:gd name="T26" fmla="*/ 2147483647 w 261"/>
                <a:gd name="T27" fmla="*/ 2147483647 h 290"/>
                <a:gd name="T28" fmla="*/ 2147483647 w 261"/>
                <a:gd name="T29" fmla="*/ 2147483647 h 290"/>
                <a:gd name="T30" fmla="*/ 2147483647 w 261"/>
                <a:gd name="T31" fmla="*/ 2147483647 h 290"/>
                <a:gd name="T32" fmla="*/ 2147483647 w 261"/>
                <a:gd name="T33" fmla="*/ 2147483647 h 290"/>
                <a:gd name="T34" fmla="*/ 2147483647 w 261"/>
                <a:gd name="T35" fmla="*/ 2147483647 h 290"/>
                <a:gd name="T36" fmla="*/ 2147483647 w 261"/>
                <a:gd name="T37" fmla="*/ 2147483647 h 290"/>
                <a:gd name="T38" fmla="*/ 2147483647 w 261"/>
                <a:gd name="T39" fmla="*/ 2147483647 h 290"/>
                <a:gd name="T40" fmla="*/ 2147483647 w 261"/>
                <a:gd name="T41" fmla="*/ 0 h 290"/>
                <a:gd name="T42" fmla="*/ 2147483647 w 261"/>
                <a:gd name="T43" fmla="*/ 2147483647 h 290"/>
                <a:gd name="T44" fmla="*/ 2147483647 w 261"/>
                <a:gd name="T45" fmla="*/ 2147483647 h 290"/>
                <a:gd name="T46" fmla="*/ 2147483647 w 261"/>
                <a:gd name="T47" fmla="*/ 2147483647 h 290"/>
                <a:gd name="T48" fmla="*/ 2147483647 w 261"/>
                <a:gd name="T49" fmla="*/ 2147483647 h 290"/>
                <a:gd name="T50" fmla="*/ 2147483647 w 261"/>
                <a:gd name="T51" fmla="*/ 2147483647 h 290"/>
                <a:gd name="T52" fmla="*/ 2147483647 w 261"/>
                <a:gd name="T53" fmla="*/ 2147483647 h 290"/>
                <a:gd name="T54" fmla="*/ 2147483647 w 261"/>
                <a:gd name="T55" fmla="*/ 2147483647 h 290"/>
                <a:gd name="T56" fmla="*/ 2147483647 w 261"/>
                <a:gd name="T57" fmla="*/ 2147483647 h 290"/>
                <a:gd name="T58" fmla="*/ 2147483647 w 261"/>
                <a:gd name="T59" fmla="*/ 2147483647 h 290"/>
                <a:gd name="T60" fmla="*/ 2147483647 w 261"/>
                <a:gd name="T61" fmla="*/ 2147483647 h 290"/>
                <a:gd name="T62" fmla="*/ 2147483647 w 261"/>
                <a:gd name="T63" fmla="*/ 2147483647 h 290"/>
                <a:gd name="T64" fmla="*/ 2147483647 w 261"/>
                <a:gd name="T65" fmla="*/ 2147483647 h 290"/>
                <a:gd name="T66" fmla="*/ 2147483647 w 261"/>
                <a:gd name="T67" fmla="*/ 2147483647 h 290"/>
                <a:gd name="T68" fmla="*/ 2147483647 w 261"/>
                <a:gd name="T69" fmla="*/ 2147483647 h 290"/>
                <a:gd name="T70" fmla="*/ 2147483647 w 261"/>
                <a:gd name="T71" fmla="*/ 2147483647 h 290"/>
                <a:gd name="T72" fmla="*/ 2147483647 w 261"/>
                <a:gd name="T73" fmla="*/ 2147483647 h 290"/>
                <a:gd name="T74" fmla="*/ 2147483647 w 261"/>
                <a:gd name="T75" fmla="*/ 2147483647 h 290"/>
                <a:gd name="T76" fmla="*/ 2147483647 w 261"/>
                <a:gd name="T77" fmla="*/ 2147483647 h 290"/>
                <a:gd name="T78" fmla="*/ 2147483647 w 261"/>
                <a:gd name="T79" fmla="*/ 2147483647 h 290"/>
                <a:gd name="T80" fmla="*/ 2147483647 w 261"/>
                <a:gd name="T81" fmla="*/ 2147483647 h 290"/>
                <a:gd name="T82" fmla="*/ 2147483647 w 261"/>
                <a:gd name="T83" fmla="*/ 2147483647 h 290"/>
                <a:gd name="T84" fmla="*/ 2147483647 w 261"/>
                <a:gd name="T85" fmla="*/ 2147483647 h 290"/>
                <a:gd name="T86" fmla="*/ 2147483647 w 261"/>
                <a:gd name="T87" fmla="*/ 2147483647 h 290"/>
                <a:gd name="T88" fmla="*/ 2147483647 w 261"/>
                <a:gd name="T89" fmla="*/ 2147483647 h 290"/>
                <a:gd name="T90" fmla="*/ 2147483647 w 261"/>
                <a:gd name="T91" fmla="*/ 2147483647 h 290"/>
                <a:gd name="T92" fmla="*/ 0 w 261"/>
                <a:gd name="T93" fmla="*/ 2147483647 h 290"/>
                <a:gd name="T94" fmla="*/ 2147483647 w 261"/>
                <a:gd name="T95" fmla="*/ 2147483647 h 290"/>
                <a:gd name="T96" fmla="*/ 2147483647 w 261"/>
                <a:gd name="T97" fmla="*/ 2147483647 h 290"/>
                <a:gd name="T98" fmla="*/ 2147483647 w 261"/>
                <a:gd name="T99" fmla="*/ 2147483647 h 290"/>
                <a:gd name="T100" fmla="*/ 2147483647 w 261"/>
                <a:gd name="T101" fmla="*/ 2147483647 h 290"/>
                <a:gd name="T102" fmla="*/ 2147483647 w 261"/>
                <a:gd name="T103" fmla="*/ 2147483647 h 290"/>
                <a:gd name="T104" fmla="*/ 2147483647 w 261"/>
                <a:gd name="T105" fmla="*/ 2147483647 h 290"/>
                <a:gd name="T106" fmla="*/ 2147483647 w 261"/>
                <a:gd name="T107" fmla="*/ 2147483647 h 29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61"/>
                <a:gd name="T163" fmla="*/ 0 h 290"/>
                <a:gd name="T164" fmla="*/ 261 w 261"/>
                <a:gd name="T165" fmla="*/ 290 h 29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61" h="290">
                  <a:moveTo>
                    <a:pt x="54" y="183"/>
                  </a:moveTo>
                  <a:lnTo>
                    <a:pt x="58" y="179"/>
                  </a:lnTo>
                  <a:lnTo>
                    <a:pt x="67" y="169"/>
                  </a:lnTo>
                  <a:lnTo>
                    <a:pt x="75" y="167"/>
                  </a:lnTo>
                  <a:lnTo>
                    <a:pt x="79" y="169"/>
                  </a:lnTo>
                  <a:lnTo>
                    <a:pt x="82" y="163"/>
                  </a:lnTo>
                  <a:lnTo>
                    <a:pt x="94" y="163"/>
                  </a:lnTo>
                  <a:lnTo>
                    <a:pt x="107" y="163"/>
                  </a:lnTo>
                  <a:lnTo>
                    <a:pt x="107" y="158"/>
                  </a:lnTo>
                  <a:lnTo>
                    <a:pt x="107" y="150"/>
                  </a:lnTo>
                  <a:lnTo>
                    <a:pt x="109" y="148"/>
                  </a:lnTo>
                  <a:lnTo>
                    <a:pt x="111" y="144"/>
                  </a:lnTo>
                  <a:lnTo>
                    <a:pt x="113" y="142"/>
                  </a:lnTo>
                  <a:lnTo>
                    <a:pt x="117" y="140"/>
                  </a:lnTo>
                  <a:lnTo>
                    <a:pt x="119" y="137"/>
                  </a:lnTo>
                  <a:lnTo>
                    <a:pt x="121" y="135"/>
                  </a:lnTo>
                  <a:lnTo>
                    <a:pt x="127" y="119"/>
                  </a:lnTo>
                  <a:lnTo>
                    <a:pt x="132" y="104"/>
                  </a:lnTo>
                  <a:lnTo>
                    <a:pt x="113" y="104"/>
                  </a:lnTo>
                  <a:lnTo>
                    <a:pt x="94" y="104"/>
                  </a:lnTo>
                  <a:lnTo>
                    <a:pt x="73" y="106"/>
                  </a:lnTo>
                  <a:lnTo>
                    <a:pt x="54" y="106"/>
                  </a:lnTo>
                  <a:lnTo>
                    <a:pt x="52" y="104"/>
                  </a:lnTo>
                  <a:lnTo>
                    <a:pt x="48" y="102"/>
                  </a:lnTo>
                  <a:lnTo>
                    <a:pt x="40" y="98"/>
                  </a:lnTo>
                  <a:lnTo>
                    <a:pt x="35" y="96"/>
                  </a:lnTo>
                  <a:lnTo>
                    <a:pt x="31" y="94"/>
                  </a:lnTo>
                  <a:lnTo>
                    <a:pt x="29" y="92"/>
                  </a:lnTo>
                  <a:lnTo>
                    <a:pt x="27" y="79"/>
                  </a:lnTo>
                  <a:lnTo>
                    <a:pt x="25" y="67"/>
                  </a:lnTo>
                  <a:lnTo>
                    <a:pt x="21" y="66"/>
                  </a:lnTo>
                  <a:lnTo>
                    <a:pt x="19" y="62"/>
                  </a:lnTo>
                  <a:lnTo>
                    <a:pt x="19" y="52"/>
                  </a:lnTo>
                  <a:lnTo>
                    <a:pt x="19" y="43"/>
                  </a:lnTo>
                  <a:lnTo>
                    <a:pt x="21" y="41"/>
                  </a:lnTo>
                  <a:lnTo>
                    <a:pt x="25" y="39"/>
                  </a:lnTo>
                  <a:lnTo>
                    <a:pt x="38" y="39"/>
                  </a:lnTo>
                  <a:lnTo>
                    <a:pt x="54" y="39"/>
                  </a:lnTo>
                  <a:lnTo>
                    <a:pt x="56" y="41"/>
                  </a:lnTo>
                  <a:lnTo>
                    <a:pt x="58" y="43"/>
                  </a:lnTo>
                  <a:lnTo>
                    <a:pt x="56" y="44"/>
                  </a:lnTo>
                  <a:lnTo>
                    <a:pt x="54" y="48"/>
                  </a:lnTo>
                  <a:lnTo>
                    <a:pt x="54" y="52"/>
                  </a:lnTo>
                  <a:lnTo>
                    <a:pt x="54" y="58"/>
                  </a:lnTo>
                  <a:lnTo>
                    <a:pt x="56" y="60"/>
                  </a:lnTo>
                  <a:lnTo>
                    <a:pt x="58" y="62"/>
                  </a:lnTo>
                  <a:lnTo>
                    <a:pt x="65" y="69"/>
                  </a:lnTo>
                  <a:lnTo>
                    <a:pt x="73" y="77"/>
                  </a:lnTo>
                  <a:lnTo>
                    <a:pt x="75" y="79"/>
                  </a:lnTo>
                  <a:lnTo>
                    <a:pt x="79" y="81"/>
                  </a:lnTo>
                  <a:lnTo>
                    <a:pt x="82" y="81"/>
                  </a:lnTo>
                  <a:lnTo>
                    <a:pt x="86" y="81"/>
                  </a:lnTo>
                  <a:lnTo>
                    <a:pt x="90" y="79"/>
                  </a:lnTo>
                  <a:lnTo>
                    <a:pt x="92" y="77"/>
                  </a:lnTo>
                  <a:lnTo>
                    <a:pt x="113" y="69"/>
                  </a:lnTo>
                  <a:lnTo>
                    <a:pt x="136" y="62"/>
                  </a:lnTo>
                  <a:lnTo>
                    <a:pt x="138" y="60"/>
                  </a:lnTo>
                  <a:lnTo>
                    <a:pt x="140" y="58"/>
                  </a:lnTo>
                  <a:lnTo>
                    <a:pt x="142" y="43"/>
                  </a:lnTo>
                  <a:lnTo>
                    <a:pt x="142" y="29"/>
                  </a:lnTo>
                  <a:lnTo>
                    <a:pt x="144" y="14"/>
                  </a:lnTo>
                  <a:lnTo>
                    <a:pt x="146" y="0"/>
                  </a:lnTo>
                  <a:lnTo>
                    <a:pt x="157" y="0"/>
                  </a:lnTo>
                  <a:lnTo>
                    <a:pt x="169" y="0"/>
                  </a:lnTo>
                  <a:lnTo>
                    <a:pt x="173" y="2"/>
                  </a:lnTo>
                  <a:lnTo>
                    <a:pt x="175" y="4"/>
                  </a:lnTo>
                  <a:lnTo>
                    <a:pt x="176" y="6"/>
                  </a:lnTo>
                  <a:lnTo>
                    <a:pt x="178" y="10"/>
                  </a:lnTo>
                  <a:lnTo>
                    <a:pt x="182" y="12"/>
                  </a:lnTo>
                  <a:lnTo>
                    <a:pt x="184" y="14"/>
                  </a:lnTo>
                  <a:lnTo>
                    <a:pt x="186" y="16"/>
                  </a:lnTo>
                  <a:lnTo>
                    <a:pt x="190" y="19"/>
                  </a:lnTo>
                  <a:lnTo>
                    <a:pt x="192" y="21"/>
                  </a:lnTo>
                  <a:lnTo>
                    <a:pt x="194" y="23"/>
                  </a:lnTo>
                  <a:lnTo>
                    <a:pt x="221" y="25"/>
                  </a:lnTo>
                  <a:lnTo>
                    <a:pt x="247" y="29"/>
                  </a:lnTo>
                  <a:lnTo>
                    <a:pt x="249" y="31"/>
                  </a:lnTo>
                  <a:lnTo>
                    <a:pt x="251" y="33"/>
                  </a:lnTo>
                  <a:lnTo>
                    <a:pt x="253" y="35"/>
                  </a:lnTo>
                  <a:lnTo>
                    <a:pt x="257" y="39"/>
                  </a:lnTo>
                  <a:lnTo>
                    <a:pt x="259" y="41"/>
                  </a:lnTo>
                  <a:lnTo>
                    <a:pt x="261" y="43"/>
                  </a:lnTo>
                  <a:lnTo>
                    <a:pt x="261" y="60"/>
                  </a:lnTo>
                  <a:lnTo>
                    <a:pt x="261" y="77"/>
                  </a:lnTo>
                  <a:lnTo>
                    <a:pt x="261" y="94"/>
                  </a:lnTo>
                  <a:lnTo>
                    <a:pt x="261" y="110"/>
                  </a:lnTo>
                  <a:lnTo>
                    <a:pt x="259" y="114"/>
                  </a:lnTo>
                  <a:lnTo>
                    <a:pt x="257" y="115"/>
                  </a:lnTo>
                  <a:lnTo>
                    <a:pt x="253" y="117"/>
                  </a:lnTo>
                  <a:lnTo>
                    <a:pt x="251" y="121"/>
                  </a:lnTo>
                  <a:lnTo>
                    <a:pt x="249" y="123"/>
                  </a:lnTo>
                  <a:lnTo>
                    <a:pt x="247" y="125"/>
                  </a:lnTo>
                  <a:lnTo>
                    <a:pt x="246" y="127"/>
                  </a:lnTo>
                  <a:lnTo>
                    <a:pt x="242" y="131"/>
                  </a:lnTo>
                  <a:lnTo>
                    <a:pt x="240" y="133"/>
                  </a:lnTo>
                  <a:lnTo>
                    <a:pt x="238" y="135"/>
                  </a:lnTo>
                  <a:lnTo>
                    <a:pt x="234" y="142"/>
                  </a:lnTo>
                  <a:lnTo>
                    <a:pt x="232" y="150"/>
                  </a:lnTo>
                  <a:lnTo>
                    <a:pt x="230" y="152"/>
                  </a:lnTo>
                  <a:lnTo>
                    <a:pt x="228" y="154"/>
                  </a:lnTo>
                  <a:lnTo>
                    <a:pt x="224" y="156"/>
                  </a:lnTo>
                  <a:lnTo>
                    <a:pt x="223" y="160"/>
                  </a:lnTo>
                  <a:lnTo>
                    <a:pt x="221" y="161"/>
                  </a:lnTo>
                  <a:lnTo>
                    <a:pt x="219" y="163"/>
                  </a:lnTo>
                  <a:lnTo>
                    <a:pt x="219" y="169"/>
                  </a:lnTo>
                  <a:lnTo>
                    <a:pt x="219" y="173"/>
                  </a:lnTo>
                  <a:lnTo>
                    <a:pt x="221" y="177"/>
                  </a:lnTo>
                  <a:lnTo>
                    <a:pt x="223" y="179"/>
                  </a:lnTo>
                  <a:lnTo>
                    <a:pt x="236" y="181"/>
                  </a:lnTo>
                  <a:lnTo>
                    <a:pt x="247" y="183"/>
                  </a:lnTo>
                  <a:lnTo>
                    <a:pt x="249" y="186"/>
                  </a:lnTo>
                  <a:lnTo>
                    <a:pt x="251" y="188"/>
                  </a:lnTo>
                  <a:lnTo>
                    <a:pt x="257" y="196"/>
                  </a:lnTo>
                  <a:lnTo>
                    <a:pt x="261" y="202"/>
                  </a:lnTo>
                  <a:lnTo>
                    <a:pt x="257" y="202"/>
                  </a:lnTo>
                  <a:lnTo>
                    <a:pt x="251" y="202"/>
                  </a:lnTo>
                  <a:lnTo>
                    <a:pt x="192" y="194"/>
                  </a:lnTo>
                  <a:lnTo>
                    <a:pt x="159" y="190"/>
                  </a:lnTo>
                  <a:lnTo>
                    <a:pt x="142" y="190"/>
                  </a:lnTo>
                  <a:lnTo>
                    <a:pt x="127" y="192"/>
                  </a:lnTo>
                  <a:lnTo>
                    <a:pt x="123" y="209"/>
                  </a:lnTo>
                  <a:lnTo>
                    <a:pt x="119" y="227"/>
                  </a:lnTo>
                  <a:lnTo>
                    <a:pt x="115" y="244"/>
                  </a:lnTo>
                  <a:lnTo>
                    <a:pt x="111" y="261"/>
                  </a:lnTo>
                  <a:lnTo>
                    <a:pt x="105" y="257"/>
                  </a:lnTo>
                  <a:lnTo>
                    <a:pt x="100" y="254"/>
                  </a:lnTo>
                  <a:lnTo>
                    <a:pt x="79" y="271"/>
                  </a:lnTo>
                  <a:lnTo>
                    <a:pt x="58" y="290"/>
                  </a:lnTo>
                  <a:lnTo>
                    <a:pt x="56" y="290"/>
                  </a:lnTo>
                  <a:lnTo>
                    <a:pt x="54" y="290"/>
                  </a:lnTo>
                  <a:lnTo>
                    <a:pt x="52" y="288"/>
                  </a:lnTo>
                  <a:lnTo>
                    <a:pt x="48" y="284"/>
                  </a:lnTo>
                  <a:lnTo>
                    <a:pt x="46" y="282"/>
                  </a:lnTo>
                  <a:lnTo>
                    <a:pt x="44" y="280"/>
                  </a:lnTo>
                  <a:lnTo>
                    <a:pt x="42" y="277"/>
                  </a:lnTo>
                  <a:lnTo>
                    <a:pt x="40" y="275"/>
                  </a:lnTo>
                  <a:lnTo>
                    <a:pt x="23" y="273"/>
                  </a:lnTo>
                  <a:lnTo>
                    <a:pt x="6" y="271"/>
                  </a:lnTo>
                  <a:lnTo>
                    <a:pt x="2" y="267"/>
                  </a:lnTo>
                  <a:lnTo>
                    <a:pt x="0" y="265"/>
                  </a:lnTo>
                  <a:lnTo>
                    <a:pt x="2" y="263"/>
                  </a:lnTo>
                  <a:lnTo>
                    <a:pt x="6" y="261"/>
                  </a:lnTo>
                  <a:lnTo>
                    <a:pt x="8" y="257"/>
                  </a:lnTo>
                  <a:lnTo>
                    <a:pt x="10" y="255"/>
                  </a:lnTo>
                  <a:lnTo>
                    <a:pt x="13" y="254"/>
                  </a:lnTo>
                  <a:lnTo>
                    <a:pt x="15" y="252"/>
                  </a:lnTo>
                  <a:lnTo>
                    <a:pt x="17" y="244"/>
                  </a:lnTo>
                  <a:lnTo>
                    <a:pt x="19" y="236"/>
                  </a:lnTo>
                  <a:lnTo>
                    <a:pt x="21" y="234"/>
                  </a:lnTo>
                  <a:lnTo>
                    <a:pt x="25" y="231"/>
                  </a:lnTo>
                  <a:lnTo>
                    <a:pt x="27" y="229"/>
                  </a:lnTo>
                  <a:lnTo>
                    <a:pt x="29" y="227"/>
                  </a:lnTo>
                  <a:lnTo>
                    <a:pt x="31" y="225"/>
                  </a:lnTo>
                  <a:lnTo>
                    <a:pt x="35" y="223"/>
                  </a:lnTo>
                  <a:lnTo>
                    <a:pt x="36" y="209"/>
                  </a:lnTo>
                  <a:lnTo>
                    <a:pt x="40" y="198"/>
                  </a:lnTo>
                  <a:lnTo>
                    <a:pt x="42" y="196"/>
                  </a:lnTo>
                  <a:lnTo>
                    <a:pt x="44" y="192"/>
                  </a:lnTo>
                  <a:lnTo>
                    <a:pt x="46" y="190"/>
                  </a:lnTo>
                  <a:lnTo>
                    <a:pt x="48" y="188"/>
                  </a:lnTo>
                  <a:lnTo>
                    <a:pt x="52" y="184"/>
                  </a:lnTo>
                  <a:lnTo>
                    <a:pt x="54" y="183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7" name="Freeform 297">
              <a:extLst>
                <a:ext uri="{FF2B5EF4-FFF2-40B4-BE49-F238E27FC236}">
                  <a16:creationId xmlns:a16="http://schemas.microsoft.com/office/drawing/2014/main" xmlns="" id="{E46E7709-D6C7-9D49-93A8-D5C2F62D5F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8388" y="4494028"/>
              <a:ext cx="485775" cy="652463"/>
            </a:xfrm>
            <a:custGeom>
              <a:avLst/>
              <a:gdLst>
                <a:gd name="T0" fmla="*/ 2147483647 w 311"/>
                <a:gd name="T1" fmla="*/ 2147483647 h 435"/>
                <a:gd name="T2" fmla="*/ 2147483647 w 311"/>
                <a:gd name="T3" fmla="*/ 2147483647 h 435"/>
                <a:gd name="T4" fmla="*/ 2147483647 w 311"/>
                <a:gd name="T5" fmla="*/ 2147483647 h 435"/>
                <a:gd name="T6" fmla="*/ 2147483647 w 311"/>
                <a:gd name="T7" fmla="*/ 2147483647 h 435"/>
                <a:gd name="T8" fmla="*/ 2147483647 w 311"/>
                <a:gd name="T9" fmla="*/ 2147483647 h 435"/>
                <a:gd name="T10" fmla="*/ 2147483647 w 311"/>
                <a:gd name="T11" fmla="*/ 2147483647 h 435"/>
                <a:gd name="T12" fmla="*/ 2147483647 w 311"/>
                <a:gd name="T13" fmla="*/ 2147483647 h 435"/>
                <a:gd name="T14" fmla="*/ 2147483647 w 311"/>
                <a:gd name="T15" fmla="*/ 2147483647 h 435"/>
                <a:gd name="T16" fmla="*/ 2147483647 w 311"/>
                <a:gd name="T17" fmla="*/ 2147483647 h 435"/>
                <a:gd name="T18" fmla="*/ 2147483647 w 311"/>
                <a:gd name="T19" fmla="*/ 2147483647 h 435"/>
                <a:gd name="T20" fmla="*/ 2147483647 w 311"/>
                <a:gd name="T21" fmla="*/ 2147483647 h 435"/>
                <a:gd name="T22" fmla="*/ 2147483647 w 311"/>
                <a:gd name="T23" fmla="*/ 2147483647 h 435"/>
                <a:gd name="T24" fmla="*/ 2147483647 w 311"/>
                <a:gd name="T25" fmla="*/ 2147483647 h 435"/>
                <a:gd name="T26" fmla="*/ 2147483647 w 311"/>
                <a:gd name="T27" fmla="*/ 2147483647 h 435"/>
                <a:gd name="T28" fmla="*/ 2147483647 w 311"/>
                <a:gd name="T29" fmla="*/ 2147483647 h 435"/>
                <a:gd name="T30" fmla="*/ 2147483647 w 311"/>
                <a:gd name="T31" fmla="*/ 2147483647 h 435"/>
                <a:gd name="T32" fmla="*/ 2147483647 w 311"/>
                <a:gd name="T33" fmla="*/ 2147483647 h 435"/>
                <a:gd name="T34" fmla="*/ 2147483647 w 311"/>
                <a:gd name="T35" fmla="*/ 2147483647 h 435"/>
                <a:gd name="T36" fmla="*/ 2147483647 w 311"/>
                <a:gd name="T37" fmla="*/ 2147483647 h 435"/>
                <a:gd name="T38" fmla="*/ 2147483647 w 311"/>
                <a:gd name="T39" fmla="*/ 2147483647 h 435"/>
                <a:gd name="T40" fmla="*/ 2147483647 w 311"/>
                <a:gd name="T41" fmla="*/ 2147483647 h 435"/>
                <a:gd name="T42" fmla="*/ 2147483647 w 311"/>
                <a:gd name="T43" fmla="*/ 2147483647 h 435"/>
                <a:gd name="T44" fmla="*/ 2147483647 w 311"/>
                <a:gd name="T45" fmla="*/ 2147483647 h 435"/>
                <a:gd name="T46" fmla="*/ 2147483647 w 311"/>
                <a:gd name="T47" fmla="*/ 2147483647 h 435"/>
                <a:gd name="T48" fmla="*/ 2147483647 w 311"/>
                <a:gd name="T49" fmla="*/ 2147483647 h 435"/>
                <a:gd name="T50" fmla="*/ 2147483647 w 311"/>
                <a:gd name="T51" fmla="*/ 2147483647 h 435"/>
                <a:gd name="T52" fmla="*/ 2147483647 w 311"/>
                <a:gd name="T53" fmla="*/ 2147483647 h 435"/>
                <a:gd name="T54" fmla="*/ 2147483647 w 311"/>
                <a:gd name="T55" fmla="*/ 2147483647 h 435"/>
                <a:gd name="T56" fmla="*/ 2147483647 w 311"/>
                <a:gd name="T57" fmla="*/ 2147483647 h 435"/>
                <a:gd name="T58" fmla="*/ 2147483647 w 311"/>
                <a:gd name="T59" fmla="*/ 2147483647 h 435"/>
                <a:gd name="T60" fmla="*/ 2147483647 w 311"/>
                <a:gd name="T61" fmla="*/ 2147483647 h 435"/>
                <a:gd name="T62" fmla="*/ 2147483647 w 311"/>
                <a:gd name="T63" fmla="*/ 0 h 435"/>
                <a:gd name="T64" fmla="*/ 2147483647 w 311"/>
                <a:gd name="T65" fmla="*/ 2147483647 h 435"/>
                <a:gd name="T66" fmla="*/ 2147483647 w 311"/>
                <a:gd name="T67" fmla="*/ 2147483647 h 435"/>
                <a:gd name="T68" fmla="*/ 2147483647 w 311"/>
                <a:gd name="T69" fmla="*/ 2147483647 h 435"/>
                <a:gd name="T70" fmla="*/ 2147483647 w 311"/>
                <a:gd name="T71" fmla="*/ 2147483647 h 435"/>
                <a:gd name="T72" fmla="*/ 2147483647 w 311"/>
                <a:gd name="T73" fmla="*/ 2147483647 h 435"/>
                <a:gd name="T74" fmla="*/ 2147483647 w 311"/>
                <a:gd name="T75" fmla="*/ 2147483647 h 435"/>
                <a:gd name="T76" fmla="*/ 2147483647 w 311"/>
                <a:gd name="T77" fmla="*/ 2147483647 h 435"/>
                <a:gd name="T78" fmla="*/ 2147483647 w 311"/>
                <a:gd name="T79" fmla="*/ 2147483647 h 435"/>
                <a:gd name="T80" fmla="*/ 2147483647 w 311"/>
                <a:gd name="T81" fmla="*/ 2147483647 h 435"/>
                <a:gd name="T82" fmla="*/ 2147483647 w 311"/>
                <a:gd name="T83" fmla="*/ 2147483647 h 435"/>
                <a:gd name="T84" fmla="*/ 2147483647 w 311"/>
                <a:gd name="T85" fmla="*/ 2147483647 h 435"/>
                <a:gd name="T86" fmla="*/ 2147483647 w 311"/>
                <a:gd name="T87" fmla="*/ 2147483647 h 435"/>
                <a:gd name="T88" fmla="*/ 2147483647 w 311"/>
                <a:gd name="T89" fmla="*/ 2147483647 h 435"/>
                <a:gd name="T90" fmla="*/ 2147483647 w 311"/>
                <a:gd name="T91" fmla="*/ 2147483647 h 435"/>
                <a:gd name="T92" fmla="*/ 2147483647 w 311"/>
                <a:gd name="T93" fmla="*/ 2147483647 h 435"/>
                <a:gd name="T94" fmla="*/ 2147483647 w 311"/>
                <a:gd name="T95" fmla="*/ 2147483647 h 435"/>
                <a:gd name="T96" fmla="*/ 2147483647 w 311"/>
                <a:gd name="T97" fmla="*/ 2147483647 h 435"/>
                <a:gd name="T98" fmla="*/ 2147483647 w 311"/>
                <a:gd name="T99" fmla="*/ 2147483647 h 435"/>
                <a:gd name="T100" fmla="*/ 2147483647 w 311"/>
                <a:gd name="T101" fmla="*/ 2147483647 h 435"/>
                <a:gd name="T102" fmla="*/ 2147483647 w 311"/>
                <a:gd name="T103" fmla="*/ 2147483647 h 435"/>
                <a:gd name="T104" fmla="*/ 2147483647 w 311"/>
                <a:gd name="T105" fmla="*/ 2147483647 h 435"/>
                <a:gd name="T106" fmla="*/ 2147483647 w 311"/>
                <a:gd name="T107" fmla="*/ 2147483647 h 435"/>
                <a:gd name="T108" fmla="*/ 2147483647 w 311"/>
                <a:gd name="T109" fmla="*/ 2147483647 h 435"/>
                <a:gd name="T110" fmla="*/ 2147483647 w 311"/>
                <a:gd name="T111" fmla="*/ 2147483647 h 435"/>
                <a:gd name="T112" fmla="*/ 2147483647 w 311"/>
                <a:gd name="T113" fmla="*/ 2147483647 h 435"/>
                <a:gd name="T114" fmla="*/ 2147483647 w 311"/>
                <a:gd name="T115" fmla="*/ 2147483647 h 43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1"/>
                <a:gd name="T175" fmla="*/ 0 h 435"/>
                <a:gd name="T176" fmla="*/ 311 w 311"/>
                <a:gd name="T177" fmla="*/ 435 h 43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1" h="435">
                  <a:moveTo>
                    <a:pt x="238" y="291"/>
                  </a:moveTo>
                  <a:lnTo>
                    <a:pt x="233" y="297"/>
                  </a:lnTo>
                  <a:lnTo>
                    <a:pt x="223" y="305"/>
                  </a:lnTo>
                  <a:lnTo>
                    <a:pt x="221" y="307"/>
                  </a:lnTo>
                  <a:lnTo>
                    <a:pt x="219" y="309"/>
                  </a:lnTo>
                  <a:lnTo>
                    <a:pt x="217" y="312"/>
                  </a:lnTo>
                  <a:lnTo>
                    <a:pt x="215" y="314"/>
                  </a:lnTo>
                  <a:lnTo>
                    <a:pt x="211" y="316"/>
                  </a:lnTo>
                  <a:lnTo>
                    <a:pt x="210" y="318"/>
                  </a:lnTo>
                  <a:lnTo>
                    <a:pt x="206" y="332"/>
                  </a:lnTo>
                  <a:lnTo>
                    <a:pt x="204" y="343"/>
                  </a:lnTo>
                  <a:lnTo>
                    <a:pt x="202" y="345"/>
                  </a:lnTo>
                  <a:lnTo>
                    <a:pt x="200" y="349"/>
                  </a:lnTo>
                  <a:lnTo>
                    <a:pt x="196" y="351"/>
                  </a:lnTo>
                  <a:lnTo>
                    <a:pt x="194" y="353"/>
                  </a:lnTo>
                  <a:lnTo>
                    <a:pt x="192" y="355"/>
                  </a:lnTo>
                  <a:lnTo>
                    <a:pt x="190" y="357"/>
                  </a:lnTo>
                  <a:lnTo>
                    <a:pt x="188" y="364"/>
                  </a:lnTo>
                  <a:lnTo>
                    <a:pt x="185" y="372"/>
                  </a:lnTo>
                  <a:lnTo>
                    <a:pt x="183" y="374"/>
                  </a:lnTo>
                  <a:lnTo>
                    <a:pt x="181" y="378"/>
                  </a:lnTo>
                  <a:lnTo>
                    <a:pt x="177" y="380"/>
                  </a:lnTo>
                  <a:lnTo>
                    <a:pt x="175" y="381"/>
                  </a:lnTo>
                  <a:lnTo>
                    <a:pt x="173" y="383"/>
                  </a:lnTo>
                  <a:lnTo>
                    <a:pt x="171" y="387"/>
                  </a:lnTo>
                  <a:lnTo>
                    <a:pt x="171" y="391"/>
                  </a:lnTo>
                  <a:lnTo>
                    <a:pt x="171" y="397"/>
                  </a:lnTo>
                  <a:lnTo>
                    <a:pt x="173" y="399"/>
                  </a:lnTo>
                  <a:lnTo>
                    <a:pt x="175" y="401"/>
                  </a:lnTo>
                  <a:lnTo>
                    <a:pt x="173" y="403"/>
                  </a:lnTo>
                  <a:lnTo>
                    <a:pt x="171" y="406"/>
                  </a:lnTo>
                  <a:lnTo>
                    <a:pt x="167" y="408"/>
                  </a:lnTo>
                  <a:lnTo>
                    <a:pt x="165" y="410"/>
                  </a:lnTo>
                  <a:lnTo>
                    <a:pt x="163" y="414"/>
                  </a:lnTo>
                  <a:lnTo>
                    <a:pt x="162" y="416"/>
                  </a:lnTo>
                  <a:lnTo>
                    <a:pt x="158" y="418"/>
                  </a:lnTo>
                  <a:lnTo>
                    <a:pt x="156" y="420"/>
                  </a:lnTo>
                  <a:lnTo>
                    <a:pt x="154" y="424"/>
                  </a:lnTo>
                  <a:lnTo>
                    <a:pt x="150" y="426"/>
                  </a:lnTo>
                  <a:lnTo>
                    <a:pt x="148" y="428"/>
                  </a:lnTo>
                  <a:lnTo>
                    <a:pt x="146" y="429"/>
                  </a:lnTo>
                  <a:lnTo>
                    <a:pt x="144" y="433"/>
                  </a:lnTo>
                  <a:lnTo>
                    <a:pt x="142" y="435"/>
                  </a:lnTo>
                  <a:lnTo>
                    <a:pt x="137" y="435"/>
                  </a:lnTo>
                  <a:lnTo>
                    <a:pt x="133" y="435"/>
                  </a:lnTo>
                  <a:lnTo>
                    <a:pt x="129" y="433"/>
                  </a:lnTo>
                  <a:lnTo>
                    <a:pt x="127" y="429"/>
                  </a:lnTo>
                  <a:lnTo>
                    <a:pt x="119" y="428"/>
                  </a:lnTo>
                  <a:lnTo>
                    <a:pt x="112" y="426"/>
                  </a:lnTo>
                  <a:lnTo>
                    <a:pt x="110" y="424"/>
                  </a:lnTo>
                  <a:lnTo>
                    <a:pt x="108" y="420"/>
                  </a:lnTo>
                  <a:lnTo>
                    <a:pt x="85" y="418"/>
                  </a:lnTo>
                  <a:lnTo>
                    <a:pt x="64" y="416"/>
                  </a:lnTo>
                  <a:lnTo>
                    <a:pt x="62" y="414"/>
                  </a:lnTo>
                  <a:lnTo>
                    <a:pt x="60" y="410"/>
                  </a:lnTo>
                  <a:lnTo>
                    <a:pt x="60" y="406"/>
                  </a:lnTo>
                  <a:lnTo>
                    <a:pt x="60" y="401"/>
                  </a:lnTo>
                  <a:lnTo>
                    <a:pt x="62" y="399"/>
                  </a:lnTo>
                  <a:lnTo>
                    <a:pt x="64" y="397"/>
                  </a:lnTo>
                  <a:lnTo>
                    <a:pt x="68" y="391"/>
                  </a:lnTo>
                  <a:lnTo>
                    <a:pt x="68" y="381"/>
                  </a:lnTo>
                  <a:lnTo>
                    <a:pt x="68" y="372"/>
                  </a:lnTo>
                  <a:lnTo>
                    <a:pt x="64" y="368"/>
                  </a:lnTo>
                  <a:lnTo>
                    <a:pt x="62" y="364"/>
                  </a:lnTo>
                  <a:lnTo>
                    <a:pt x="60" y="362"/>
                  </a:lnTo>
                  <a:lnTo>
                    <a:pt x="64" y="358"/>
                  </a:lnTo>
                  <a:lnTo>
                    <a:pt x="69" y="353"/>
                  </a:lnTo>
                  <a:lnTo>
                    <a:pt x="71" y="351"/>
                  </a:lnTo>
                  <a:lnTo>
                    <a:pt x="73" y="349"/>
                  </a:lnTo>
                  <a:lnTo>
                    <a:pt x="73" y="337"/>
                  </a:lnTo>
                  <a:lnTo>
                    <a:pt x="73" y="328"/>
                  </a:lnTo>
                  <a:lnTo>
                    <a:pt x="71" y="326"/>
                  </a:lnTo>
                  <a:lnTo>
                    <a:pt x="69" y="324"/>
                  </a:lnTo>
                  <a:lnTo>
                    <a:pt x="58" y="322"/>
                  </a:lnTo>
                  <a:lnTo>
                    <a:pt x="45" y="318"/>
                  </a:lnTo>
                  <a:lnTo>
                    <a:pt x="43" y="316"/>
                  </a:lnTo>
                  <a:lnTo>
                    <a:pt x="41" y="314"/>
                  </a:lnTo>
                  <a:lnTo>
                    <a:pt x="37" y="297"/>
                  </a:lnTo>
                  <a:lnTo>
                    <a:pt x="35" y="280"/>
                  </a:lnTo>
                  <a:lnTo>
                    <a:pt x="33" y="278"/>
                  </a:lnTo>
                  <a:lnTo>
                    <a:pt x="31" y="276"/>
                  </a:lnTo>
                  <a:lnTo>
                    <a:pt x="27" y="264"/>
                  </a:lnTo>
                  <a:lnTo>
                    <a:pt x="25" y="251"/>
                  </a:lnTo>
                  <a:lnTo>
                    <a:pt x="23" y="249"/>
                  </a:lnTo>
                  <a:lnTo>
                    <a:pt x="21" y="247"/>
                  </a:lnTo>
                  <a:lnTo>
                    <a:pt x="18" y="234"/>
                  </a:lnTo>
                  <a:lnTo>
                    <a:pt x="16" y="222"/>
                  </a:lnTo>
                  <a:lnTo>
                    <a:pt x="14" y="220"/>
                  </a:lnTo>
                  <a:lnTo>
                    <a:pt x="12" y="218"/>
                  </a:lnTo>
                  <a:lnTo>
                    <a:pt x="8" y="192"/>
                  </a:lnTo>
                  <a:lnTo>
                    <a:pt x="6" y="165"/>
                  </a:lnTo>
                  <a:lnTo>
                    <a:pt x="4" y="161"/>
                  </a:lnTo>
                  <a:lnTo>
                    <a:pt x="0" y="159"/>
                  </a:lnTo>
                  <a:lnTo>
                    <a:pt x="6" y="149"/>
                  </a:lnTo>
                  <a:lnTo>
                    <a:pt x="12" y="140"/>
                  </a:lnTo>
                  <a:lnTo>
                    <a:pt x="14" y="138"/>
                  </a:lnTo>
                  <a:lnTo>
                    <a:pt x="16" y="136"/>
                  </a:lnTo>
                  <a:lnTo>
                    <a:pt x="18" y="132"/>
                  </a:lnTo>
                  <a:lnTo>
                    <a:pt x="21" y="130"/>
                  </a:lnTo>
                  <a:lnTo>
                    <a:pt x="23" y="128"/>
                  </a:lnTo>
                  <a:lnTo>
                    <a:pt x="25" y="126"/>
                  </a:lnTo>
                  <a:lnTo>
                    <a:pt x="27" y="119"/>
                  </a:lnTo>
                  <a:lnTo>
                    <a:pt x="31" y="111"/>
                  </a:lnTo>
                  <a:lnTo>
                    <a:pt x="33" y="109"/>
                  </a:lnTo>
                  <a:lnTo>
                    <a:pt x="35" y="107"/>
                  </a:lnTo>
                  <a:lnTo>
                    <a:pt x="37" y="86"/>
                  </a:lnTo>
                  <a:lnTo>
                    <a:pt x="41" y="67"/>
                  </a:lnTo>
                  <a:lnTo>
                    <a:pt x="68" y="67"/>
                  </a:lnTo>
                  <a:lnTo>
                    <a:pt x="83" y="67"/>
                  </a:lnTo>
                  <a:lnTo>
                    <a:pt x="85" y="67"/>
                  </a:lnTo>
                  <a:lnTo>
                    <a:pt x="87" y="65"/>
                  </a:lnTo>
                  <a:lnTo>
                    <a:pt x="89" y="65"/>
                  </a:lnTo>
                  <a:lnTo>
                    <a:pt x="89" y="63"/>
                  </a:lnTo>
                  <a:lnTo>
                    <a:pt x="91" y="59"/>
                  </a:lnTo>
                  <a:lnTo>
                    <a:pt x="92" y="57"/>
                  </a:lnTo>
                  <a:lnTo>
                    <a:pt x="96" y="38"/>
                  </a:lnTo>
                  <a:lnTo>
                    <a:pt x="98" y="19"/>
                  </a:lnTo>
                  <a:lnTo>
                    <a:pt x="110" y="19"/>
                  </a:lnTo>
                  <a:lnTo>
                    <a:pt x="115" y="19"/>
                  </a:lnTo>
                  <a:lnTo>
                    <a:pt x="117" y="17"/>
                  </a:lnTo>
                  <a:lnTo>
                    <a:pt x="117" y="15"/>
                  </a:lnTo>
                  <a:lnTo>
                    <a:pt x="119" y="11"/>
                  </a:lnTo>
                  <a:lnTo>
                    <a:pt x="121" y="9"/>
                  </a:lnTo>
                  <a:lnTo>
                    <a:pt x="129" y="7"/>
                  </a:lnTo>
                  <a:lnTo>
                    <a:pt x="137" y="3"/>
                  </a:lnTo>
                  <a:lnTo>
                    <a:pt x="139" y="2"/>
                  </a:lnTo>
                  <a:lnTo>
                    <a:pt x="142" y="0"/>
                  </a:lnTo>
                  <a:lnTo>
                    <a:pt x="146" y="0"/>
                  </a:lnTo>
                  <a:lnTo>
                    <a:pt x="150" y="0"/>
                  </a:lnTo>
                  <a:lnTo>
                    <a:pt x="154" y="2"/>
                  </a:lnTo>
                  <a:lnTo>
                    <a:pt x="156" y="3"/>
                  </a:lnTo>
                  <a:lnTo>
                    <a:pt x="158" y="11"/>
                  </a:lnTo>
                  <a:lnTo>
                    <a:pt x="162" y="19"/>
                  </a:lnTo>
                  <a:lnTo>
                    <a:pt x="163" y="21"/>
                  </a:lnTo>
                  <a:lnTo>
                    <a:pt x="165" y="25"/>
                  </a:lnTo>
                  <a:lnTo>
                    <a:pt x="173" y="27"/>
                  </a:lnTo>
                  <a:lnTo>
                    <a:pt x="181" y="28"/>
                  </a:lnTo>
                  <a:lnTo>
                    <a:pt x="183" y="30"/>
                  </a:lnTo>
                  <a:lnTo>
                    <a:pt x="185" y="34"/>
                  </a:lnTo>
                  <a:lnTo>
                    <a:pt x="192" y="36"/>
                  </a:lnTo>
                  <a:lnTo>
                    <a:pt x="200" y="38"/>
                  </a:lnTo>
                  <a:lnTo>
                    <a:pt x="202" y="42"/>
                  </a:lnTo>
                  <a:lnTo>
                    <a:pt x="204" y="44"/>
                  </a:lnTo>
                  <a:lnTo>
                    <a:pt x="211" y="51"/>
                  </a:lnTo>
                  <a:lnTo>
                    <a:pt x="219" y="57"/>
                  </a:lnTo>
                  <a:lnTo>
                    <a:pt x="221" y="59"/>
                  </a:lnTo>
                  <a:lnTo>
                    <a:pt x="223" y="63"/>
                  </a:lnTo>
                  <a:lnTo>
                    <a:pt x="227" y="69"/>
                  </a:lnTo>
                  <a:lnTo>
                    <a:pt x="229" y="76"/>
                  </a:lnTo>
                  <a:lnTo>
                    <a:pt x="231" y="80"/>
                  </a:lnTo>
                  <a:lnTo>
                    <a:pt x="233" y="82"/>
                  </a:lnTo>
                  <a:lnTo>
                    <a:pt x="238" y="82"/>
                  </a:lnTo>
                  <a:lnTo>
                    <a:pt x="244" y="82"/>
                  </a:lnTo>
                  <a:lnTo>
                    <a:pt x="246" y="80"/>
                  </a:lnTo>
                  <a:lnTo>
                    <a:pt x="248" y="76"/>
                  </a:lnTo>
                  <a:lnTo>
                    <a:pt x="250" y="80"/>
                  </a:lnTo>
                  <a:lnTo>
                    <a:pt x="254" y="82"/>
                  </a:lnTo>
                  <a:lnTo>
                    <a:pt x="256" y="84"/>
                  </a:lnTo>
                  <a:lnTo>
                    <a:pt x="257" y="86"/>
                  </a:lnTo>
                  <a:lnTo>
                    <a:pt x="259" y="90"/>
                  </a:lnTo>
                  <a:lnTo>
                    <a:pt x="261" y="92"/>
                  </a:lnTo>
                  <a:lnTo>
                    <a:pt x="265" y="94"/>
                  </a:lnTo>
                  <a:lnTo>
                    <a:pt x="267" y="96"/>
                  </a:lnTo>
                  <a:lnTo>
                    <a:pt x="269" y="99"/>
                  </a:lnTo>
                  <a:lnTo>
                    <a:pt x="273" y="101"/>
                  </a:lnTo>
                  <a:lnTo>
                    <a:pt x="275" y="103"/>
                  </a:lnTo>
                  <a:lnTo>
                    <a:pt x="277" y="107"/>
                  </a:lnTo>
                  <a:lnTo>
                    <a:pt x="279" y="109"/>
                  </a:lnTo>
                  <a:lnTo>
                    <a:pt x="282" y="111"/>
                  </a:lnTo>
                  <a:lnTo>
                    <a:pt x="288" y="113"/>
                  </a:lnTo>
                  <a:lnTo>
                    <a:pt x="296" y="117"/>
                  </a:lnTo>
                  <a:lnTo>
                    <a:pt x="298" y="119"/>
                  </a:lnTo>
                  <a:lnTo>
                    <a:pt x="302" y="121"/>
                  </a:lnTo>
                  <a:lnTo>
                    <a:pt x="304" y="136"/>
                  </a:lnTo>
                  <a:lnTo>
                    <a:pt x="305" y="149"/>
                  </a:lnTo>
                  <a:lnTo>
                    <a:pt x="307" y="165"/>
                  </a:lnTo>
                  <a:lnTo>
                    <a:pt x="311" y="178"/>
                  </a:lnTo>
                  <a:lnTo>
                    <a:pt x="307" y="182"/>
                  </a:lnTo>
                  <a:lnTo>
                    <a:pt x="305" y="184"/>
                  </a:lnTo>
                  <a:lnTo>
                    <a:pt x="284" y="184"/>
                  </a:lnTo>
                  <a:lnTo>
                    <a:pt x="261" y="184"/>
                  </a:lnTo>
                  <a:lnTo>
                    <a:pt x="261" y="190"/>
                  </a:lnTo>
                  <a:lnTo>
                    <a:pt x="261" y="197"/>
                  </a:lnTo>
                  <a:lnTo>
                    <a:pt x="259" y="201"/>
                  </a:lnTo>
                  <a:lnTo>
                    <a:pt x="257" y="203"/>
                  </a:lnTo>
                  <a:lnTo>
                    <a:pt x="256" y="201"/>
                  </a:lnTo>
                  <a:lnTo>
                    <a:pt x="254" y="197"/>
                  </a:lnTo>
                  <a:lnTo>
                    <a:pt x="254" y="190"/>
                  </a:lnTo>
                  <a:lnTo>
                    <a:pt x="254" y="184"/>
                  </a:lnTo>
                  <a:lnTo>
                    <a:pt x="246" y="184"/>
                  </a:lnTo>
                  <a:lnTo>
                    <a:pt x="238" y="184"/>
                  </a:lnTo>
                  <a:lnTo>
                    <a:pt x="236" y="182"/>
                  </a:lnTo>
                  <a:lnTo>
                    <a:pt x="233" y="178"/>
                  </a:lnTo>
                  <a:lnTo>
                    <a:pt x="236" y="176"/>
                  </a:lnTo>
                  <a:lnTo>
                    <a:pt x="238" y="174"/>
                  </a:lnTo>
                  <a:lnTo>
                    <a:pt x="238" y="169"/>
                  </a:lnTo>
                  <a:lnTo>
                    <a:pt x="238" y="165"/>
                  </a:lnTo>
                  <a:lnTo>
                    <a:pt x="236" y="161"/>
                  </a:lnTo>
                  <a:lnTo>
                    <a:pt x="233" y="159"/>
                  </a:lnTo>
                  <a:lnTo>
                    <a:pt x="213" y="159"/>
                  </a:lnTo>
                  <a:lnTo>
                    <a:pt x="194" y="159"/>
                  </a:lnTo>
                  <a:lnTo>
                    <a:pt x="192" y="161"/>
                  </a:lnTo>
                  <a:lnTo>
                    <a:pt x="190" y="165"/>
                  </a:lnTo>
                  <a:lnTo>
                    <a:pt x="186" y="169"/>
                  </a:lnTo>
                  <a:lnTo>
                    <a:pt x="186" y="178"/>
                  </a:lnTo>
                  <a:lnTo>
                    <a:pt x="186" y="190"/>
                  </a:lnTo>
                  <a:lnTo>
                    <a:pt x="190" y="193"/>
                  </a:lnTo>
                  <a:lnTo>
                    <a:pt x="192" y="195"/>
                  </a:lnTo>
                  <a:lnTo>
                    <a:pt x="194" y="197"/>
                  </a:lnTo>
                  <a:lnTo>
                    <a:pt x="196" y="211"/>
                  </a:lnTo>
                  <a:lnTo>
                    <a:pt x="200" y="222"/>
                  </a:lnTo>
                  <a:lnTo>
                    <a:pt x="202" y="224"/>
                  </a:lnTo>
                  <a:lnTo>
                    <a:pt x="204" y="228"/>
                  </a:lnTo>
                  <a:lnTo>
                    <a:pt x="211" y="230"/>
                  </a:lnTo>
                  <a:lnTo>
                    <a:pt x="219" y="232"/>
                  </a:lnTo>
                  <a:lnTo>
                    <a:pt x="221" y="234"/>
                  </a:lnTo>
                  <a:lnTo>
                    <a:pt x="223" y="236"/>
                  </a:lnTo>
                  <a:lnTo>
                    <a:pt x="231" y="238"/>
                  </a:lnTo>
                  <a:lnTo>
                    <a:pt x="275" y="236"/>
                  </a:lnTo>
                  <a:lnTo>
                    <a:pt x="286" y="236"/>
                  </a:lnTo>
                  <a:lnTo>
                    <a:pt x="300" y="236"/>
                  </a:lnTo>
                  <a:lnTo>
                    <a:pt x="296" y="245"/>
                  </a:lnTo>
                  <a:lnTo>
                    <a:pt x="292" y="257"/>
                  </a:lnTo>
                  <a:lnTo>
                    <a:pt x="288" y="259"/>
                  </a:lnTo>
                  <a:lnTo>
                    <a:pt x="286" y="261"/>
                  </a:lnTo>
                  <a:lnTo>
                    <a:pt x="284" y="263"/>
                  </a:lnTo>
                  <a:lnTo>
                    <a:pt x="282" y="266"/>
                  </a:lnTo>
                  <a:lnTo>
                    <a:pt x="279" y="268"/>
                  </a:lnTo>
                  <a:lnTo>
                    <a:pt x="277" y="270"/>
                  </a:lnTo>
                  <a:lnTo>
                    <a:pt x="275" y="276"/>
                  </a:lnTo>
                  <a:lnTo>
                    <a:pt x="275" y="284"/>
                  </a:lnTo>
                  <a:lnTo>
                    <a:pt x="263" y="284"/>
                  </a:lnTo>
                  <a:lnTo>
                    <a:pt x="254" y="286"/>
                  </a:lnTo>
                  <a:lnTo>
                    <a:pt x="246" y="287"/>
                  </a:lnTo>
                  <a:lnTo>
                    <a:pt x="238" y="291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8" name="Freeform 298">
              <a:extLst>
                <a:ext uri="{FF2B5EF4-FFF2-40B4-BE49-F238E27FC236}">
                  <a16:creationId xmlns:a16="http://schemas.microsoft.com/office/drawing/2014/main" xmlns="" id="{1637090B-6DF2-774B-BBA6-F905F41F2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9100" y="4740091"/>
              <a:ext cx="444500" cy="242887"/>
            </a:xfrm>
            <a:custGeom>
              <a:avLst/>
              <a:gdLst>
                <a:gd name="T0" fmla="*/ 2147483647 w 289"/>
                <a:gd name="T1" fmla="*/ 2147483647 h 163"/>
                <a:gd name="T2" fmla="*/ 2147483647 w 289"/>
                <a:gd name="T3" fmla="*/ 2147483647 h 163"/>
                <a:gd name="T4" fmla="*/ 2147483647 w 289"/>
                <a:gd name="T5" fmla="*/ 2147483647 h 163"/>
                <a:gd name="T6" fmla="*/ 2147483647 w 289"/>
                <a:gd name="T7" fmla="*/ 2147483647 h 163"/>
                <a:gd name="T8" fmla="*/ 2147483647 w 289"/>
                <a:gd name="T9" fmla="*/ 2147483647 h 163"/>
                <a:gd name="T10" fmla="*/ 2147483647 w 289"/>
                <a:gd name="T11" fmla="*/ 2147483647 h 163"/>
                <a:gd name="T12" fmla="*/ 2147483647 w 289"/>
                <a:gd name="T13" fmla="*/ 2147483647 h 163"/>
                <a:gd name="T14" fmla="*/ 2147483647 w 289"/>
                <a:gd name="T15" fmla="*/ 2147483647 h 163"/>
                <a:gd name="T16" fmla="*/ 2147483647 w 289"/>
                <a:gd name="T17" fmla="*/ 2147483647 h 163"/>
                <a:gd name="T18" fmla="*/ 2147483647 w 289"/>
                <a:gd name="T19" fmla="*/ 2147483647 h 163"/>
                <a:gd name="T20" fmla="*/ 2147483647 w 289"/>
                <a:gd name="T21" fmla="*/ 2147483647 h 163"/>
                <a:gd name="T22" fmla="*/ 2147483647 w 289"/>
                <a:gd name="T23" fmla="*/ 2147483647 h 163"/>
                <a:gd name="T24" fmla="*/ 2147483647 w 289"/>
                <a:gd name="T25" fmla="*/ 2147483647 h 163"/>
                <a:gd name="T26" fmla="*/ 2147483647 w 289"/>
                <a:gd name="T27" fmla="*/ 2147483647 h 163"/>
                <a:gd name="T28" fmla="*/ 2147483647 w 289"/>
                <a:gd name="T29" fmla="*/ 2147483647 h 163"/>
                <a:gd name="T30" fmla="*/ 2147483647 w 289"/>
                <a:gd name="T31" fmla="*/ 2147483647 h 163"/>
                <a:gd name="T32" fmla="*/ 2147483647 w 289"/>
                <a:gd name="T33" fmla="*/ 2147483647 h 163"/>
                <a:gd name="T34" fmla="*/ 2147483647 w 289"/>
                <a:gd name="T35" fmla="*/ 2147483647 h 163"/>
                <a:gd name="T36" fmla="*/ 2147483647 w 289"/>
                <a:gd name="T37" fmla="*/ 2147483647 h 163"/>
                <a:gd name="T38" fmla="*/ 2147483647 w 289"/>
                <a:gd name="T39" fmla="*/ 2147483647 h 163"/>
                <a:gd name="T40" fmla="*/ 2147483647 w 289"/>
                <a:gd name="T41" fmla="*/ 2147483647 h 163"/>
                <a:gd name="T42" fmla="*/ 2147483647 w 289"/>
                <a:gd name="T43" fmla="*/ 2147483647 h 163"/>
                <a:gd name="T44" fmla="*/ 2147483647 w 289"/>
                <a:gd name="T45" fmla="*/ 2147483647 h 163"/>
                <a:gd name="T46" fmla="*/ 2147483647 w 289"/>
                <a:gd name="T47" fmla="*/ 2147483647 h 163"/>
                <a:gd name="T48" fmla="*/ 2147483647 w 289"/>
                <a:gd name="T49" fmla="*/ 2147483647 h 163"/>
                <a:gd name="T50" fmla="*/ 2147483647 w 289"/>
                <a:gd name="T51" fmla="*/ 2147483647 h 163"/>
                <a:gd name="T52" fmla="*/ 2147483647 w 289"/>
                <a:gd name="T53" fmla="*/ 2147483647 h 163"/>
                <a:gd name="T54" fmla="*/ 2147483647 w 289"/>
                <a:gd name="T55" fmla="*/ 2147483647 h 163"/>
                <a:gd name="T56" fmla="*/ 2147483647 w 289"/>
                <a:gd name="T57" fmla="*/ 2147483647 h 163"/>
                <a:gd name="T58" fmla="*/ 2147483647 w 289"/>
                <a:gd name="T59" fmla="*/ 2147483647 h 163"/>
                <a:gd name="T60" fmla="*/ 2147483647 w 289"/>
                <a:gd name="T61" fmla="*/ 2147483647 h 163"/>
                <a:gd name="T62" fmla="*/ 2147483647 w 289"/>
                <a:gd name="T63" fmla="*/ 2147483647 h 163"/>
                <a:gd name="T64" fmla="*/ 2147483647 w 289"/>
                <a:gd name="T65" fmla="*/ 2147483647 h 163"/>
                <a:gd name="T66" fmla="*/ 2147483647 w 289"/>
                <a:gd name="T67" fmla="*/ 2147483647 h 163"/>
                <a:gd name="T68" fmla="*/ 2147483647 w 289"/>
                <a:gd name="T69" fmla="*/ 2147483647 h 163"/>
                <a:gd name="T70" fmla="*/ 2147483647 w 289"/>
                <a:gd name="T71" fmla="*/ 2147483647 h 163"/>
                <a:gd name="T72" fmla="*/ 2147483647 w 289"/>
                <a:gd name="T73" fmla="*/ 2147483647 h 163"/>
                <a:gd name="T74" fmla="*/ 2147483647 w 289"/>
                <a:gd name="T75" fmla="*/ 2147483647 h 163"/>
                <a:gd name="T76" fmla="*/ 2147483647 w 289"/>
                <a:gd name="T77" fmla="*/ 2147483647 h 163"/>
                <a:gd name="T78" fmla="*/ 2147483647 w 289"/>
                <a:gd name="T79" fmla="*/ 2147483647 h 163"/>
                <a:gd name="T80" fmla="*/ 2147483647 w 289"/>
                <a:gd name="T81" fmla="*/ 2147483647 h 163"/>
                <a:gd name="T82" fmla="*/ 2147483647 w 289"/>
                <a:gd name="T83" fmla="*/ 2147483647 h 163"/>
                <a:gd name="T84" fmla="*/ 2147483647 w 289"/>
                <a:gd name="T85" fmla="*/ 2147483647 h 163"/>
                <a:gd name="T86" fmla="*/ 2147483647 w 289"/>
                <a:gd name="T87" fmla="*/ 2147483647 h 163"/>
                <a:gd name="T88" fmla="*/ 2147483647 w 289"/>
                <a:gd name="T89" fmla="*/ 2147483647 h 163"/>
                <a:gd name="T90" fmla="*/ 2147483647 w 289"/>
                <a:gd name="T91" fmla="*/ 2147483647 h 163"/>
                <a:gd name="T92" fmla="*/ 2147483647 w 289"/>
                <a:gd name="T93" fmla="*/ 2147483647 h 163"/>
                <a:gd name="T94" fmla="*/ 2147483647 w 289"/>
                <a:gd name="T95" fmla="*/ 2147483647 h 163"/>
                <a:gd name="T96" fmla="*/ 2147483647 w 289"/>
                <a:gd name="T97" fmla="*/ 2147483647 h 16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89"/>
                <a:gd name="T148" fmla="*/ 0 h 163"/>
                <a:gd name="T149" fmla="*/ 289 w 289"/>
                <a:gd name="T150" fmla="*/ 163 h 16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89" h="163">
                  <a:moveTo>
                    <a:pt x="47" y="163"/>
                  </a:moveTo>
                  <a:lnTo>
                    <a:pt x="47" y="153"/>
                  </a:lnTo>
                  <a:lnTo>
                    <a:pt x="47" y="144"/>
                  </a:lnTo>
                  <a:lnTo>
                    <a:pt x="40" y="144"/>
                  </a:lnTo>
                  <a:lnTo>
                    <a:pt x="34" y="144"/>
                  </a:lnTo>
                  <a:lnTo>
                    <a:pt x="30" y="142"/>
                  </a:lnTo>
                  <a:lnTo>
                    <a:pt x="28" y="140"/>
                  </a:lnTo>
                  <a:lnTo>
                    <a:pt x="17" y="138"/>
                  </a:lnTo>
                  <a:lnTo>
                    <a:pt x="5" y="134"/>
                  </a:lnTo>
                  <a:lnTo>
                    <a:pt x="1" y="132"/>
                  </a:lnTo>
                  <a:lnTo>
                    <a:pt x="0" y="130"/>
                  </a:lnTo>
                  <a:lnTo>
                    <a:pt x="1" y="126"/>
                  </a:lnTo>
                  <a:lnTo>
                    <a:pt x="5" y="124"/>
                  </a:lnTo>
                  <a:lnTo>
                    <a:pt x="7" y="122"/>
                  </a:lnTo>
                  <a:lnTo>
                    <a:pt x="9" y="121"/>
                  </a:lnTo>
                  <a:lnTo>
                    <a:pt x="11" y="117"/>
                  </a:lnTo>
                  <a:lnTo>
                    <a:pt x="15" y="115"/>
                  </a:lnTo>
                  <a:lnTo>
                    <a:pt x="17" y="107"/>
                  </a:lnTo>
                  <a:lnTo>
                    <a:pt x="19" y="101"/>
                  </a:lnTo>
                  <a:lnTo>
                    <a:pt x="23" y="98"/>
                  </a:lnTo>
                  <a:lnTo>
                    <a:pt x="24" y="96"/>
                  </a:lnTo>
                  <a:lnTo>
                    <a:pt x="26" y="94"/>
                  </a:lnTo>
                  <a:lnTo>
                    <a:pt x="28" y="92"/>
                  </a:lnTo>
                  <a:lnTo>
                    <a:pt x="30" y="88"/>
                  </a:lnTo>
                  <a:lnTo>
                    <a:pt x="34" y="86"/>
                  </a:lnTo>
                  <a:lnTo>
                    <a:pt x="36" y="84"/>
                  </a:lnTo>
                  <a:lnTo>
                    <a:pt x="38" y="82"/>
                  </a:lnTo>
                  <a:lnTo>
                    <a:pt x="40" y="78"/>
                  </a:lnTo>
                  <a:lnTo>
                    <a:pt x="44" y="76"/>
                  </a:lnTo>
                  <a:lnTo>
                    <a:pt x="46" y="76"/>
                  </a:lnTo>
                  <a:lnTo>
                    <a:pt x="47" y="73"/>
                  </a:lnTo>
                  <a:lnTo>
                    <a:pt x="47" y="69"/>
                  </a:lnTo>
                  <a:lnTo>
                    <a:pt x="47" y="48"/>
                  </a:lnTo>
                  <a:lnTo>
                    <a:pt x="47" y="9"/>
                  </a:lnTo>
                  <a:lnTo>
                    <a:pt x="63" y="5"/>
                  </a:lnTo>
                  <a:lnTo>
                    <a:pt x="78" y="4"/>
                  </a:lnTo>
                  <a:lnTo>
                    <a:pt x="80" y="2"/>
                  </a:lnTo>
                  <a:lnTo>
                    <a:pt x="82" y="0"/>
                  </a:lnTo>
                  <a:lnTo>
                    <a:pt x="84" y="2"/>
                  </a:lnTo>
                  <a:lnTo>
                    <a:pt x="88" y="4"/>
                  </a:lnTo>
                  <a:lnTo>
                    <a:pt x="99" y="5"/>
                  </a:lnTo>
                  <a:lnTo>
                    <a:pt x="111" y="9"/>
                  </a:lnTo>
                  <a:lnTo>
                    <a:pt x="113" y="11"/>
                  </a:lnTo>
                  <a:lnTo>
                    <a:pt x="117" y="13"/>
                  </a:lnTo>
                  <a:lnTo>
                    <a:pt x="118" y="17"/>
                  </a:lnTo>
                  <a:lnTo>
                    <a:pt x="120" y="19"/>
                  </a:lnTo>
                  <a:lnTo>
                    <a:pt x="122" y="21"/>
                  </a:lnTo>
                  <a:lnTo>
                    <a:pt x="126" y="23"/>
                  </a:lnTo>
                  <a:lnTo>
                    <a:pt x="130" y="27"/>
                  </a:lnTo>
                  <a:lnTo>
                    <a:pt x="140" y="27"/>
                  </a:lnTo>
                  <a:lnTo>
                    <a:pt x="149" y="27"/>
                  </a:lnTo>
                  <a:lnTo>
                    <a:pt x="155" y="23"/>
                  </a:lnTo>
                  <a:lnTo>
                    <a:pt x="157" y="21"/>
                  </a:lnTo>
                  <a:lnTo>
                    <a:pt x="159" y="19"/>
                  </a:lnTo>
                  <a:lnTo>
                    <a:pt x="172" y="19"/>
                  </a:lnTo>
                  <a:lnTo>
                    <a:pt x="184" y="19"/>
                  </a:lnTo>
                  <a:lnTo>
                    <a:pt x="186" y="32"/>
                  </a:lnTo>
                  <a:lnTo>
                    <a:pt x="188" y="48"/>
                  </a:lnTo>
                  <a:lnTo>
                    <a:pt x="191" y="50"/>
                  </a:lnTo>
                  <a:lnTo>
                    <a:pt x="193" y="53"/>
                  </a:lnTo>
                  <a:lnTo>
                    <a:pt x="195" y="59"/>
                  </a:lnTo>
                  <a:lnTo>
                    <a:pt x="199" y="67"/>
                  </a:lnTo>
                  <a:lnTo>
                    <a:pt x="201" y="69"/>
                  </a:lnTo>
                  <a:lnTo>
                    <a:pt x="203" y="71"/>
                  </a:lnTo>
                  <a:lnTo>
                    <a:pt x="205" y="78"/>
                  </a:lnTo>
                  <a:lnTo>
                    <a:pt x="209" y="86"/>
                  </a:lnTo>
                  <a:lnTo>
                    <a:pt x="211" y="88"/>
                  </a:lnTo>
                  <a:lnTo>
                    <a:pt x="213" y="92"/>
                  </a:lnTo>
                  <a:lnTo>
                    <a:pt x="214" y="94"/>
                  </a:lnTo>
                  <a:lnTo>
                    <a:pt x="216" y="96"/>
                  </a:lnTo>
                  <a:lnTo>
                    <a:pt x="220" y="98"/>
                  </a:lnTo>
                  <a:lnTo>
                    <a:pt x="222" y="101"/>
                  </a:lnTo>
                  <a:lnTo>
                    <a:pt x="234" y="103"/>
                  </a:lnTo>
                  <a:lnTo>
                    <a:pt x="247" y="105"/>
                  </a:lnTo>
                  <a:lnTo>
                    <a:pt x="249" y="109"/>
                  </a:lnTo>
                  <a:lnTo>
                    <a:pt x="251" y="111"/>
                  </a:lnTo>
                  <a:lnTo>
                    <a:pt x="255" y="113"/>
                  </a:lnTo>
                  <a:lnTo>
                    <a:pt x="257" y="115"/>
                  </a:lnTo>
                  <a:lnTo>
                    <a:pt x="259" y="117"/>
                  </a:lnTo>
                  <a:lnTo>
                    <a:pt x="260" y="121"/>
                  </a:lnTo>
                  <a:lnTo>
                    <a:pt x="262" y="126"/>
                  </a:lnTo>
                  <a:lnTo>
                    <a:pt x="266" y="134"/>
                  </a:lnTo>
                  <a:lnTo>
                    <a:pt x="268" y="138"/>
                  </a:lnTo>
                  <a:lnTo>
                    <a:pt x="270" y="140"/>
                  </a:lnTo>
                  <a:lnTo>
                    <a:pt x="272" y="142"/>
                  </a:lnTo>
                  <a:lnTo>
                    <a:pt x="276" y="144"/>
                  </a:lnTo>
                  <a:lnTo>
                    <a:pt x="278" y="147"/>
                  </a:lnTo>
                  <a:lnTo>
                    <a:pt x="280" y="149"/>
                  </a:lnTo>
                  <a:lnTo>
                    <a:pt x="283" y="151"/>
                  </a:lnTo>
                  <a:lnTo>
                    <a:pt x="285" y="153"/>
                  </a:lnTo>
                  <a:lnTo>
                    <a:pt x="287" y="157"/>
                  </a:lnTo>
                  <a:lnTo>
                    <a:pt x="289" y="159"/>
                  </a:lnTo>
                  <a:lnTo>
                    <a:pt x="289" y="161"/>
                  </a:lnTo>
                  <a:lnTo>
                    <a:pt x="289" y="163"/>
                  </a:lnTo>
                  <a:lnTo>
                    <a:pt x="230" y="163"/>
                  </a:lnTo>
                  <a:lnTo>
                    <a:pt x="168" y="163"/>
                  </a:lnTo>
                  <a:lnTo>
                    <a:pt x="109" y="163"/>
                  </a:lnTo>
                  <a:lnTo>
                    <a:pt x="47" y="163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29" name="Freeform 299">
              <a:extLst>
                <a:ext uri="{FF2B5EF4-FFF2-40B4-BE49-F238E27FC236}">
                  <a16:creationId xmlns:a16="http://schemas.microsoft.com/office/drawing/2014/main" xmlns="" id="{30C7CAE0-5881-294A-AD32-DDCB8A9CDC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1525" y="4668653"/>
              <a:ext cx="660400" cy="644525"/>
            </a:xfrm>
            <a:custGeom>
              <a:avLst/>
              <a:gdLst>
                <a:gd name="T0" fmla="*/ 2147483647 w 424"/>
                <a:gd name="T1" fmla="*/ 2147483647 h 430"/>
                <a:gd name="T2" fmla="*/ 2147483647 w 424"/>
                <a:gd name="T3" fmla="*/ 2147483647 h 430"/>
                <a:gd name="T4" fmla="*/ 2147483647 w 424"/>
                <a:gd name="T5" fmla="*/ 2147483647 h 430"/>
                <a:gd name="T6" fmla="*/ 2147483647 w 424"/>
                <a:gd name="T7" fmla="*/ 2147483647 h 430"/>
                <a:gd name="T8" fmla="*/ 2147483647 w 424"/>
                <a:gd name="T9" fmla="*/ 2147483647 h 430"/>
                <a:gd name="T10" fmla="*/ 2147483647 w 424"/>
                <a:gd name="T11" fmla="*/ 2147483647 h 430"/>
                <a:gd name="T12" fmla="*/ 2147483647 w 424"/>
                <a:gd name="T13" fmla="*/ 2147483647 h 430"/>
                <a:gd name="T14" fmla="*/ 2147483647 w 424"/>
                <a:gd name="T15" fmla="*/ 2147483647 h 430"/>
                <a:gd name="T16" fmla="*/ 2147483647 w 424"/>
                <a:gd name="T17" fmla="*/ 2147483647 h 430"/>
                <a:gd name="T18" fmla="*/ 2147483647 w 424"/>
                <a:gd name="T19" fmla="*/ 2147483647 h 430"/>
                <a:gd name="T20" fmla="*/ 2147483647 w 424"/>
                <a:gd name="T21" fmla="*/ 2147483647 h 430"/>
                <a:gd name="T22" fmla="*/ 0 w 424"/>
                <a:gd name="T23" fmla="*/ 2147483647 h 430"/>
                <a:gd name="T24" fmla="*/ 0 w 424"/>
                <a:gd name="T25" fmla="*/ 2147483647 h 430"/>
                <a:gd name="T26" fmla="*/ 2147483647 w 424"/>
                <a:gd name="T27" fmla="*/ 2147483647 h 430"/>
                <a:gd name="T28" fmla="*/ 2147483647 w 424"/>
                <a:gd name="T29" fmla="*/ 2147483647 h 430"/>
                <a:gd name="T30" fmla="*/ 2147483647 w 424"/>
                <a:gd name="T31" fmla="*/ 2147483647 h 430"/>
                <a:gd name="T32" fmla="*/ 2147483647 w 424"/>
                <a:gd name="T33" fmla="*/ 2147483647 h 430"/>
                <a:gd name="T34" fmla="*/ 2147483647 w 424"/>
                <a:gd name="T35" fmla="*/ 2147483647 h 430"/>
                <a:gd name="T36" fmla="*/ 2147483647 w 424"/>
                <a:gd name="T37" fmla="*/ 2147483647 h 430"/>
                <a:gd name="T38" fmla="*/ 2147483647 w 424"/>
                <a:gd name="T39" fmla="*/ 2147483647 h 430"/>
                <a:gd name="T40" fmla="*/ 2147483647 w 424"/>
                <a:gd name="T41" fmla="*/ 2147483647 h 430"/>
                <a:gd name="T42" fmla="*/ 2147483647 w 424"/>
                <a:gd name="T43" fmla="*/ 2147483647 h 430"/>
                <a:gd name="T44" fmla="*/ 2147483647 w 424"/>
                <a:gd name="T45" fmla="*/ 2147483647 h 430"/>
                <a:gd name="T46" fmla="*/ 2147483647 w 424"/>
                <a:gd name="T47" fmla="*/ 2147483647 h 430"/>
                <a:gd name="T48" fmla="*/ 2147483647 w 424"/>
                <a:gd name="T49" fmla="*/ 2147483647 h 430"/>
                <a:gd name="T50" fmla="*/ 2147483647 w 424"/>
                <a:gd name="T51" fmla="*/ 2147483647 h 430"/>
                <a:gd name="T52" fmla="*/ 2147483647 w 424"/>
                <a:gd name="T53" fmla="*/ 0 h 430"/>
                <a:gd name="T54" fmla="*/ 2147483647 w 424"/>
                <a:gd name="T55" fmla="*/ 2147483647 h 430"/>
                <a:gd name="T56" fmla="*/ 2147483647 w 424"/>
                <a:gd name="T57" fmla="*/ 2147483647 h 430"/>
                <a:gd name="T58" fmla="*/ 2147483647 w 424"/>
                <a:gd name="T59" fmla="*/ 2147483647 h 430"/>
                <a:gd name="T60" fmla="*/ 2147483647 w 424"/>
                <a:gd name="T61" fmla="*/ 2147483647 h 430"/>
                <a:gd name="T62" fmla="*/ 2147483647 w 424"/>
                <a:gd name="T63" fmla="*/ 2147483647 h 430"/>
                <a:gd name="T64" fmla="*/ 2147483647 w 424"/>
                <a:gd name="T65" fmla="*/ 2147483647 h 430"/>
                <a:gd name="T66" fmla="*/ 2147483647 w 424"/>
                <a:gd name="T67" fmla="*/ 2147483647 h 430"/>
                <a:gd name="T68" fmla="*/ 2147483647 w 424"/>
                <a:gd name="T69" fmla="*/ 2147483647 h 430"/>
                <a:gd name="T70" fmla="*/ 2147483647 w 424"/>
                <a:gd name="T71" fmla="*/ 2147483647 h 430"/>
                <a:gd name="T72" fmla="*/ 2147483647 w 424"/>
                <a:gd name="T73" fmla="*/ 2147483647 h 430"/>
                <a:gd name="T74" fmla="*/ 2147483647 w 424"/>
                <a:gd name="T75" fmla="*/ 2147483647 h 430"/>
                <a:gd name="T76" fmla="*/ 2147483647 w 424"/>
                <a:gd name="T77" fmla="*/ 2147483647 h 430"/>
                <a:gd name="T78" fmla="*/ 2147483647 w 424"/>
                <a:gd name="T79" fmla="*/ 2147483647 h 430"/>
                <a:gd name="T80" fmla="*/ 2147483647 w 424"/>
                <a:gd name="T81" fmla="*/ 2147483647 h 430"/>
                <a:gd name="T82" fmla="*/ 2147483647 w 424"/>
                <a:gd name="T83" fmla="*/ 2147483647 h 430"/>
                <a:gd name="T84" fmla="*/ 2147483647 w 424"/>
                <a:gd name="T85" fmla="*/ 2147483647 h 430"/>
                <a:gd name="T86" fmla="*/ 2147483647 w 424"/>
                <a:gd name="T87" fmla="*/ 2147483647 h 430"/>
                <a:gd name="T88" fmla="*/ 2147483647 w 424"/>
                <a:gd name="T89" fmla="*/ 2147483647 h 430"/>
                <a:gd name="T90" fmla="*/ 2147483647 w 424"/>
                <a:gd name="T91" fmla="*/ 2147483647 h 430"/>
                <a:gd name="T92" fmla="*/ 2147483647 w 424"/>
                <a:gd name="T93" fmla="*/ 2147483647 h 430"/>
                <a:gd name="T94" fmla="*/ 2147483647 w 424"/>
                <a:gd name="T95" fmla="*/ 2147483647 h 430"/>
                <a:gd name="T96" fmla="*/ 2147483647 w 424"/>
                <a:gd name="T97" fmla="*/ 2147483647 h 430"/>
                <a:gd name="T98" fmla="*/ 2147483647 w 424"/>
                <a:gd name="T99" fmla="*/ 2147483647 h 430"/>
                <a:gd name="T100" fmla="*/ 2147483647 w 424"/>
                <a:gd name="T101" fmla="*/ 2147483647 h 430"/>
                <a:gd name="T102" fmla="*/ 2147483647 w 424"/>
                <a:gd name="T103" fmla="*/ 2147483647 h 430"/>
                <a:gd name="T104" fmla="*/ 2147483647 w 424"/>
                <a:gd name="T105" fmla="*/ 2147483647 h 430"/>
                <a:gd name="T106" fmla="*/ 2147483647 w 424"/>
                <a:gd name="T107" fmla="*/ 2147483647 h 430"/>
                <a:gd name="T108" fmla="*/ 2147483647 w 424"/>
                <a:gd name="T109" fmla="*/ 2147483647 h 430"/>
                <a:gd name="T110" fmla="*/ 2147483647 w 424"/>
                <a:gd name="T111" fmla="*/ 2147483647 h 430"/>
                <a:gd name="T112" fmla="*/ 2147483647 w 424"/>
                <a:gd name="T113" fmla="*/ 2147483647 h 430"/>
                <a:gd name="T114" fmla="*/ 2147483647 w 424"/>
                <a:gd name="T115" fmla="*/ 2147483647 h 430"/>
                <a:gd name="T116" fmla="*/ 2147483647 w 424"/>
                <a:gd name="T117" fmla="*/ 2147483647 h 430"/>
                <a:gd name="T118" fmla="*/ 2147483647 w 424"/>
                <a:gd name="T119" fmla="*/ 2147483647 h 430"/>
                <a:gd name="T120" fmla="*/ 2147483647 w 424"/>
                <a:gd name="T121" fmla="*/ 2147483647 h 43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24"/>
                <a:gd name="T184" fmla="*/ 0 h 430"/>
                <a:gd name="T185" fmla="*/ 424 w 424"/>
                <a:gd name="T186" fmla="*/ 430 h 43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24" h="430">
                  <a:moveTo>
                    <a:pt x="356" y="424"/>
                  </a:moveTo>
                  <a:lnTo>
                    <a:pt x="333" y="420"/>
                  </a:lnTo>
                  <a:lnTo>
                    <a:pt x="308" y="414"/>
                  </a:lnTo>
                  <a:lnTo>
                    <a:pt x="303" y="395"/>
                  </a:lnTo>
                  <a:lnTo>
                    <a:pt x="299" y="376"/>
                  </a:lnTo>
                  <a:lnTo>
                    <a:pt x="299" y="360"/>
                  </a:lnTo>
                  <a:lnTo>
                    <a:pt x="299" y="347"/>
                  </a:lnTo>
                  <a:lnTo>
                    <a:pt x="255" y="334"/>
                  </a:lnTo>
                  <a:lnTo>
                    <a:pt x="218" y="322"/>
                  </a:lnTo>
                  <a:lnTo>
                    <a:pt x="199" y="320"/>
                  </a:lnTo>
                  <a:lnTo>
                    <a:pt x="180" y="318"/>
                  </a:lnTo>
                  <a:lnTo>
                    <a:pt x="159" y="318"/>
                  </a:lnTo>
                  <a:lnTo>
                    <a:pt x="134" y="318"/>
                  </a:lnTo>
                  <a:lnTo>
                    <a:pt x="134" y="312"/>
                  </a:lnTo>
                  <a:lnTo>
                    <a:pt x="134" y="309"/>
                  </a:lnTo>
                  <a:lnTo>
                    <a:pt x="130" y="293"/>
                  </a:lnTo>
                  <a:lnTo>
                    <a:pt x="128" y="276"/>
                  </a:lnTo>
                  <a:lnTo>
                    <a:pt x="117" y="274"/>
                  </a:lnTo>
                  <a:lnTo>
                    <a:pt x="105" y="270"/>
                  </a:lnTo>
                  <a:lnTo>
                    <a:pt x="97" y="259"/>
                  </a:lnTo>
                  <a:lnTo>
                    <a:pt x="92" y="247"/>
                  </a:lnTo>
                  <a:lnTo>
                    <a:pt x="88" y="234"/>
                  </a:lnTo>
                  <a:lnTo>
                    <a:pt x="86" y="211"/>
                  </a:lnTo>
                  <a:lnTo>
                    <a:pt x="82" y="205"/>
                  </a:lnTo>
                  <a:lnTo>
                    <a:pt x="76" y="199"/>
                  </a:lnTo>
                  <a:lnTo>
                    <a:pt x="65" y="192"/>
                  </a:lnTo>
                  <a:lnTo>
                    <a:pt x="47" y="182"/>
                  </a:lnTo>
                  <a:lnTo>
                    <a:pt x="47" y="178"/>
                  </a:lnTo>
                  <a:lnTo>
                    <a:pt x="47" y="172"/>
                  </a:lnTo>
                  <a:lnTo>
                    <a:pt x="47" y="169"/>
                  </a:lnTo>
                  <a:lnTo>
                    <a:pt x="47" y="163"/>
                  </a:lnTo>
                  <a:lnTo>
                    <a:pt x="44" y="157"/>
                  </a:lnTo>
                  <a:lnTo>
                    <a:pt x="40" y="151"/>
                  </a:lnTo>
                  <a:lnTo>
                    <a:pt x="19" y="147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0" y="134"/>
                  </a:lnTo>
                  <a:lnTo>
                    <a:pt x="0" y="132"/>
                  </a:lnTo>
                  <a:lnTo>
                    <a:pt x="0" y="130"/>
                  </a:lnTo>
                  <a:lnTo>
                    <a:pt x="1" y="126"/>
                  </a:lnTo>
                  <a:lnTo>
                    <a:pt x="3" y="124"/>
                  </a:lnTo>
                  <a:lnTo>
                    <a:pt x="17" y="123"/>
                  </a:lnTo>
                  <a:lnTo>
                    <a:pt x="28" y="119"/>
                  </a:lnTo>
                  <a:lnTo>
                    <a:pt x="30" y="117"/>
                  </a:lnTo>
                  <a:lnTo>
                    <a:pt x="32" y="115"/>
                  </a:lnTo>
                  <a:lnTo>
                    <a:pt x="34" y="113"/>
                  </a:lnTo>
                  <a:lnTo>
                    <a:pt x="38" y="111"/>
                  </a:lnTo>
                  <a:lnTo>
                    <a:pt x="40" y="107"/>
                  </a:lnTo>
                  <a:lnTo>
                    <a:pt x="42" y="105"/>
                  </a:lnTo>
                  <a:lnTo>
                    <a:pt x="44" y="103"/>
                  </a:lnTo>
                  <a:lnTo>
                    <a:pt x="47" y="101"/>
                  </a:lnTo>
                  <a:lnTo>
                    <a:pt x="49" y="98"/>
                  </a:lnTo>
                  <a:lnTo>
                    <a:pt x="51" y="96"/>
                  </a:lnTo>
                  <a:lnTo>
                    <a:pt x="65" y="94"/>
                  </a:lnTo>
                  <a:lnTo>
                    <a:pt x="76" y="90"/>
                  </a:lnTo>
                  <a:lnTo>
                    <a:pt x="78" y="88"/>
                  </a:lnTo>
                  <a:lnTo>
                    <a:pt x="82" y="86"/>
                  </a:lnTo>
                  <a:lnTo>
                    <a:pt x="84" y="84"/>
                  </a:lnTo>
                  <a:lnTo>
                    <a:pt x="86" y="80"/>
                  </a:lnTo>
                  <a:lnTo>
                    <a:pt x="88" y="78"/>
                  </a:lnTo>
                  <a:lnTo>
                    <a:pt x="92" y="76"/>
                  </a:lnTo>
                  <a:lnTo>
                    <a:pt x="94" y="75"/>
                  </a:lnTo>
                  <a:lnTo>
                    <a:pt x="95" y="71"/>
                  </a:lnTo>
                  <a:lnTo>
                    <a:pt x="97" y="69"/>
                  </a:lnTo>
                  <a:lnTo>
                    <a:pt x="101" y="67"/>
                  </a:lnTo>
                  <a:lnTo>
                    <a:pt x="103" y="65"/>
                  </a:lnTo>
                  <a:lnTo>
                    <a:pt x="105" y="61"/>
                  </a:lnTo>
                  <a:lnTo>
                    <a:pt x="107" y="59"/>
                  </a:lnTo>
                  <a:lnTo>
                    <a:pt x="111" y="57"/>
                  </a:lnTo>
                  <a:lnTo>
                    <a:pt x="113" y="50"/>
                  </a:lnTo>
                  <a:lnTo>
                    <a:pt x="115" y="42"/>
                  </a:lnTo>
                  <a:lnTo>
                    <a:pt x="117" y="40"/>
                  </a:lnTo>
                  <a:lnTo>
                    <a:pt x="120" y="38"/>
                  </a:lnTo>
                  <a:lnTo>
                    <a:pt x="132" y="34"/>
                  </a:lnTo>
                  <a:lnTo>
                    <a:pt x="143" y="32"/>
                  </a:lnTo>
                  <a:lnTo>
                    <a:pt x="147" y="30"/>
                  </a:lnTo>
                  <a:lnTo>
                    <a:pt x="149" y="28"/>
                  </a:lnTo>
                  <a:lnTo>
                    <a:pt x="151" y="13"/>
                  </a:lnTo>
                  <a:lnTo>
                    <a:pt x="153" y="0"/>
                  </a:lnTo>
                  <a:lnTo>
                    <a:pt x="161" y="0"/>
                  </a:lnTo>
                  <a:lnTo>
                    <a:pt x="168" y="0"/>
                  </a:lnTo>
                  <a:lnTo>
                    <a:pt x="170" y="2"/>
                  </a:lnTo>
                  <a:lnTo>
                    <a:pt x="174" y="4"/>
                  </a:lnTo>
                  <a:lnTo>
                    <a:pt x="176" y="15"/>
                  </a:lnTo>
                  <a:lnTo>
                    <a:pt x="178" y="28"/>
                  </a:lnTo>
                  <a:lnTo>
                    <a:pt x="180" y="30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88" y="48"/>
                  </a:lnTo>
                  <a:lnTo>
                    <a:pt x="189" y="50"/>
                  </a:lnTo>
                  <a:lnTo>
                    <a:pt x="191" y="52"/>
                  </a:lnTo>
                  <a:lnTo>
                    <a:pt x="195" y="78"/>
                  </a:lnTo>
                  <a:lnTo>
                    <a:pt x="197" y="105"/>
                  </a:lnTo>
                  <a:lnTo>
                    <a:pt x="199" y="107"/>
                  </a:lnTo>
                  <a:lnTo>
                    <a:pt x="203" y="111"/>
                  </a:lnTo>
                  <a:lnTo>
                    <a:pt x="205" y="123"/>
                  </a:lnTo>
                  <a:lnTo>
                    <a:pt x="207" y="134"/>
                  </a:lnTo>
                  <a:lnTo>
                    <a:pt x="209" y="136"/>
                  </a:lnTo>
                  <a:lnTo>
                    <a:pt x="212" y="140"/>
                  </a:lnTo>
                  <a:lnTo>
                    <a:pt x="214" y="151"/>
                  </a:lnTo>
                  <a:lnTo>
                    <a:pt x="216" y="163"/>
                  </a:lnTo>
                  <a:lnTo>
                    <a:pt x="218" y="165"/>
                  </a:lnTo>
                  <a:lnTo>
                    <a:pt x="222" y="169"/>
                  </a:lnTo>
                  <a:lnTo>
                    <a:pt x="224" y="184"/>
                  </a:lnTo>
                  <a:lnTo>
                    <a:pt x="226" y="201"/>
                  </a:lnTo>
                  <a:lnTo>
                    <a:pt x="228" y="205"/>
                  </a:lnTo>
                  <a:lnTo>
                    <a:pt x="232" y="207"/>
                  </a:lnTo>
                  <a:lnTo>
                    <a:pt x="243" y="209"/>
                  </a:lnTo>
                  <a:lnTo>
                    <a:pt x="255" y="211"/>
                  </a:lnTo>
                  <a:lnTo>
                    <a:pt x="259" y="215"/>
                  </a:lnTo>
                  <a:lnTo>
                    <a:pt x="260" y="217"/>
                  </a:lnTo>
                  <a:lnTo>
                    <a:pt x="260" y="220"/>
                  </a:lnTo>
                  <a:lnTo>
                    <a:pt x="260" y="226"/>
                  </a:lnTo>
                  <a:lnTo>
                    <a:pt x="259" y="228"/>
                  </a:lnTo>
                  <a:lnTo>
                    <a:pt x="255" y="232"/>
                  </a:lnTo>
                  <a:lnTo>
                    <a:pt x="247" y="232"/>
                  </a:lnTo>
                  <a:lnTo>
                    <a:pt x="241" y="232"/>
                  </a:lnTo>
                  <a:lnTo>
                    <a:pt x="243" y="241"/>
                  </a:lnTo>
                  <a:lnTo>
                    <a:pt x="245" y="251"/>
                  </a:lnTo>
                  <a:lnTo>
                    <a:pt x="247" y="253"/>
                  </a:lnTo>
                  <a:lnTo>
                    <a:pt x="251" y="255"/>
                  </a:lnTo>
                  <a:lnTo>
                    <a:pt x="251" y="264"/>
                  </a:lnTo>
                  <a:lnTo>
                    <a:pt x="251" y="274"/>
                  </a:lnTo>
                  <a:lnTo>
                    <a:pt x="247" y="276"/>
                  </a:lnTo>
                  <a:lnTo>
                    <a:pt x="245" y="280"/>
                  </a:lnTo>
                  <a:lnTo>
                    <a:pt x="245" y="289"/>
                  </a:lnTo>
                  <a:lnTo>
                    <a:pt x="245" y="299"/>
                  </a:lnTo>
                  <a:lnTo>
                    <a:pt x="247" y="301"/>
                  </a:lnTo>
                  <a:lnTo>
                    <a:pt x="251" y="303"/>
                  </a:lnTo>
                  <a:lnTo>
                    <a:pt x="272" y="307"/>
                  </a:lnTo>
                  <a:lnTo>
                    <a:pt x="293" y="309"/>
                  </a:lnTo>
                  <a:lnTo>
                    <a:pt x="297" y="311"/>
                  </a:lnTo>
                  <a:lnTo>
                    <a:pt x="299" y="312"/>
                  </a:lnTo>
                  <a:lnTo>
                    <a:pt x="306" y="316"/>
                  </a:lnTo>
                  <a:lnTo>
                    <a:pt x="312" y="318"/>
                  </a:lnTo>
                  <a:lnTo>
                    <a:pt x="316" y="320"/>
                  </a:lnTo>
                  <a:lnTo>
                    <a:pt x="318" y="322"/>
                  </a:lnTo>
                  <a:lnTo>
                    <a:pt x="328" y="322"/>
                  </a:lnTo>
                  <a:lnTo>
                    <a:pt x="337" y="322"/>
                  </a:lnTo>
                  <a:lnTo>
                    <a:pt x="339" y="320"/>
                  </a:lnTo>
                  <a:lnTo>
                    <a:pt x="341" y="318"/>
                  </a:lnTo>
                  <a:lnTo>
                    <a:pt x="345" y="316"/>
                  </a:lnTo>
                  <a:lnTo>
                    <a:pt x="347" y="312"/>
                  </a:lnTo>
                  <a:lnTo>
                    <a:pt x="349" y="311"/>
                  </a:lnTo>
                  <a:lnTo>
                    <a:pt x="353" y="309"/>
                  </a:lnTo>
                  <a:lnTo>
                    <a:pt x="354" y="307"/>
                  </a:lnTo>
                  <a:lnTo>
                    <a:pt x="356" y="303"/>
                  </a:lnTo>
                  <a:lnTo>
                    <a:pt x="358" y="301"/>
                  </a:lnTo>
                  <a:lnTo>
                    <a:pt x="362" y="299"/>
                  </a:lnTo>
                  <a:lnTo>
                    <a:pt x="364" y="297"/>
                  </a:lnTo>
                  <a:lnTo>
                    <a:pt x="366" y="293"/>
                  </a:lnTo>
                  <a:lnTo>
                    <a:pt x="368" y="291"/>
                  </a:lnTo>
                  <a:lnTo>
                    <a:pt x="372" y="289"/>
                  </a:lnTo>
                  <a:lnTo>
                    <a:pt x="385" y="289"/>
                  </a:lnTo>
                  <a:lnTo>
                    <a:pt x="401" y="289"/>
                  </a:lnTo>
                  <a:lnTo>
                    <a:pt x="402" y="291"/>
                  </a:lnTo>
                  <a:lnTo>
                    <a:pt x="406" y="293"/>
                  </a:lnTo>
                  <a:lnTo>
                    <a:pt x="408" y="297"/>
                  </a:lnTo>
                  <a:lnTo>
                    <a:pt x="410" y="299"/>
                  </a:lnTo>
                  <a:lnTo>
                    <a:pt x="412" y="301"/>
                  </a:lnTo>
                  <a:lnTo>
                    <a:pt x="414" y="303"/>
                  </a:lnTo>
                  <a:lnTo>
                    <a:pt x="414" y="307"/>
                  </a:lnTo>
                  <a:lnTo>
                    <a:pt x="414" y="309"/>
                  </a:lnTo>
                  <a:lnTo>
                    <a:pt x="414" y="312"/>
                  </a:lnTo>
                  <a:lnTo>
                    <a:pt x="414" y="318"/>
                  </a:lnTo>
                  <a:lnTo>
                    <a:pt x="410" y="322"/>
                  </a:lnTo>
                  <a:lnTo>
                    <a:pt x="406" y="328"/>
                  </a:lnTo>
                  <a:lnTo>
                    <a:pt x="401" y="332"/>
                  </a:lnTo>
                  <a:lnTo>
                    <a:pt x="395" y="337"/>
                  </a:lnTo>
                  <a:lnTo>
                    <a:pt x="393" y="337"/>
                  </a:lnTo>
                  <a:lnTo>
                    <a:pt x="391" y="343"/>
                  </a:lnTo>
                  <a:lnTo>
                    <a:pt x="391" y="355"/>
                  </a:lnTo>
                  <a:lnTo>
                    <a:pt x="393" y="378"/>
                  </a:lnTo>
                  <a:lnTo>
                    <a:pt x="402" y="382"/>
                  </a:lnTo>
                  <a:lnTo>
                    <a:pt x="414" y="385"/>
                  </a:lnTo>
                  <a:lnTo>
                    <a:pt x="420" y="401"/>
                  </a:lnTo>
                  <a:lnTo>
                    <a:pt x="424" y="414"/>
                  </a:lnTo>
                  <a:lnTo>
                    <a:pt x="420" y="422"/>
                  </a:lnTo>
                  <a:lnTo>
                    <a:pt x="414" y="430"/>
                  </a:lnTo>
                  <a:lnTo>
                    <a:pt x="389" y="424"/>
                  </a:lnTo>
                  <a:lnTo>
                    <a:pt x="374" y="422"/>
                  </a:lnTo>
                  <a:lnTo>
                    <a:pt x="366" y="422"/>
                  </a:lnTo>
                  <a:lnTo>
                    <a:pt x="356" y="424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0" name="Freeform 300">
              <a:extLst>
                <a:ext uri="{FF2B5EF4-FFF2-40B4-BE49-F238E27FC236}">
                  <a16:creationId xmlns:a16="http://schemas.microsoft.com/office/drawing/2014/main" xmlns="" id="{37D5583B-96C1-A24E-8FC2-154BEB72FC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9863" y="4494028"/>
              <a:ext cx="942975" cy="695325"/>
            </a:xfrm>
            <a:custGeom>
              <a:avLst/>
              <a:gdLst>
                <a:gd name="T0" fmla="*/ 2147483647 w 608"/>
                <a:gd name="T1" fmla="*/ 2147483647 h 464"/>
                <a:gd name="T2" fmla="*/ 2147483647 w 608"/>
                <a:gd name="T3" fmla="*/ 2147483647 h 464"/>
                <a:gd name="T4" fmla="*/ 2147483647 w 608"/>
                <a:gd name="T5" fmla="*/ 2147483647 h 464"/>
                <a:gd name="T6" fmla="*/ 2147483647 w 608"/>
                <a:gd name="T7" fmla="*/ 2147483647 h 464"/>
                <a:gd name="T8" fmla="*/ 2147483647 w 608"/>
                <a:gd name="T9" fmla="*/ 2147483647 h 464"/>
                <a:gd name="T10" fmla="*/ 2147483647 w 608"/>
                <a:gd name="T11" fmla="*/ 2147483647 h 464"/>
                <a:gd name="T12" fmla="*/ 2147483647 w 608"/>
                <a:gd name="T13" fmla="*/ 2147483647 h 464"/>
                <a:gd name="T14" fmla="*/ 2147483647 w 608"/>
                <a:gd name="T15" fmla="*/ 2147483647 h 464"/>
                <a:gd name="T16" fmla="*/ 2147483647 w 608"/>
                <a:gd name="T17" fmla="*/ 2147483647 h 464"/>
                <a:gd name="T18" fmla="*/ 2147483647 w 608"/>
                <a:gd name="T19" fmla="*/ 2147483647 h 464"/>
                <a:gd name="T20" fmla="*/ 2147483647 w 608"/>
                <a:gd name="T21" fmla="*/ 2147483647 h 464"/>
                <a:gd name="T22" fmla="*/ 2147483647 w 608"/>
                <a:gd name="T23" fmla="*/ 2147483647 h 464"/>
                <a:gd name="T24" fmla="*/ 2147483647 w 608"/>
                <a:gd name="T25" fmla="*/ 2147483647 h 464"/>
                <a:gd name="T26" fmla="*/ 2147483647 w 608"/>
                <a:gd name="T27" fmla="*/ 2147483647 h 464"/>
                <a:gd name="T28" fmla="*/ 2147483647 w 608"/>
                <a:gd name="T29" fmla="*/ 2147483647 h 464"/>
                <a:gd name="T30" fmla="*/ 2147483647 w 608"/>
                <a:gd name="T31" fmla="*/ 2147483647 h 464"/>
                <a:gd name="T32" fmla="*/ 2147483647 w 608"/>
                <a:gd name="T33" fmla="*/ 2147483647 h 464"/>
                <a:gd name="T34" fmla="*/ 2147483647 w 608"/>
                <a:gd name="T35" fmla="*/ 2147483647 h 464"/>
                <a:gd name="T36" fmla="*/ 2147483647 w 608"/>
                <a:gd name="T37" fmla="*/ 2147483647 h 464"/>
                <a:gd name="T38" fmla="*/ 2147483647 w 608"/>
                <a:gd name="T39" fmla="*/ 2147483647 h 464"/>
                <a:gd name="T40" fmla="*/ 2147483647 w 608"/>
                <a:gd name="T41" fmla="*/ 2147483647 h 464"/>
                <a:gd name="T42" fmla="*/ 2147483647 w 608"/>
                <a:gd name="T43" fmla="*/ 2147483647 h 464"/>
                <a:gd name="T44" fmla="*/ 2147483647 w 608"/>
                <a:gd name="T45" fmla="*/ 2147483647 h 464"/>
                <a:gd name="T46" fmla="*/ 2147483647 w 608"/>
                <a:gd name="T47" fmla="*/ 2147483647 h 464"/>
                <a:gd name="T48" fmla="*/ 2147483647 w 608"/>
                <a:gd name="T49" fmla="*/ 2147483647 h 464"/>
                <a:gd name="T50" fmla="*/ 2147483647 w 608"/>
                <a:gd name="T51" fmla="*/ 2147483647 h 464"/>
                <a:gd name="T52" fmla="*/ 2147483647 w 608"/>
                <a:gd name="T53" fmla="*/ 2147483647 h 464"/>
                <a:gd name="T54" fmla="*/ 2147483647 w 608"/>
                <a:gd name="T55" fmla="*/ 2147483647 h 464"/>
                <a:gd name="T56" fmla="*/ 2147483647 w 608"/>
                <a:gd name="T57" fmla="*/ 2147483647 h 464"/>
                <a:gd name="T58" fmla="*/ 2147483647 w 608"/>
                <a:gd name="T59" fmla="*/ 2147483647 h 464"/>
                <a:gd name="T60" fmla="*/ 2147483647 w 608"/>
                <a:gd name="T61" fmla="*/ 2147483647 h 464"/>
                <a:gd name="T62" fmla="*/ 2147483647 w 608"/>
                <a:gd name="T63" fmla="*/ 2147483647 h 464"/>
                <a:gd name="T64" fmla="*/ 2147483647 w 608"/>
                <a:gd name="T65" fmla="*/ 2147483647 h 464"/>
                <a:gd name="T66" fmla="*/ 2147483647 w 608"/>
                <a:gd name="T67" fmla="*/ 2147483647 h 464"/>
                <a:gd name="T68" fmla="*/ 2147483647 w 608"/>
                <a:gd name="T69" fmla="*/ 2147483647 h 464"/>
                <a:gd name="T70" fmla="*/ 2147483647 w 608"/>
                <a:gd name="T71" fmla="*/ 2147483647 h 464"/>
                <a:gd name="T72" fmla="*/ 2147483647 w 608"/>
                <a:gd name="T73" fmla="*/ 2147483647 h 464"/>
                <a:gd name="T74" fmla="*/ 2147483647 w 608"/>
                <a:gd name="T75" fmla="*/ 2147483647 h 464"/>
                <a:gd name="T76" fmla="*/ 2147483647 w 608"/>
                <a:gd name="T77" fmla="*/ 2147483647 h 464"/>
                <a:gd name="T78" fmla="*/ 2147483647 w 608"/>
                <a:gd name="T79" fmla="*/ 2147483647 h 464"/>
                <a:gd name="T80" fmla="*/ 2147483647 w 608"/>
                <a:gd name="T81" fmla="*/ 2147483647 h 464"/>
                <a:gd name="T82" fmla="*/ 2147483647 w 608"/>
                <a:gd name="T83" fmla="*/ 2147483647 h 464"/>
                <a:gd name="T84" fmla="*/ 2147483647 w 608"/>
                <a:gd name="T85" fmla="*/ 2147483647 h 464"/>
                <a:gd name="T86" fmla="*/ 2147483647 w 608"/>
                <a:gd name="T87" fmla="*/ 2147483647 h 464"/>
                <a:gd name="T88" fmla="*/ 2147483647 w 608"/>
                <a:gd name="T89" fmla="*/ 2147483647 h 464"/>
                <a:gd name="T90" fmla="*/ 2147483647 w 608"/>
                <a:gd name="T91" fmla="*/ 2147483647 h 464"/>
                <a:gd name="T92" fmla="*/ 2147483647 w 608"/>
                <a:gd name="T93" fmla="*/ 2147483647 h 464"/>
                <a:gd name="T94" fmla="*/ 2147483647 w 608"/>
                <a:gd name="T95" fmla="*/ 2147483647 h 464"/>
                <a:gd name="T96" fmla="*/ 2147483647 w 608"/>
                <a:gd name="T97" fmla="*/ 2147483647 h 464"/>
                <a:gd name="T98" fmla="*/ 0 w 608"/>
                <a:gd name="T99" fmla="*/ 2147483647 h 464"/>
                <a:gd name="T100" fmla="*/ 2147483647 w 608"/>
                <a:gd name="T101" fmla="*/ 2147483647 h 464"/>
                <a:gd name="T102" fmla="*/ 2147483647 w 608"/>
                <a:gd name="T103" fmla="*/ 2147483647 h 464"/>
                <a:gd name="T104" fmla="*/ 2147483647 w 608"/>
                <a:gd name="T105" fmla="*/ 2147483647 h 464"/>
                <a:gd name="T106" fmla="*/ 2147483647 w 608"/>
                <a:gd name="T107" fmla="*/ 2147483647 h 464"/>
                <a:gd name="T108" fmla="*/ 2147483647 w 608"/>
                <a:gd name="T109" fmla="*/ 2147483647 h 464"/>
                <a:gd name="T110" fmla="*/ 2147483647 w 608"/>
                <a:gd name="T111" fmla="*/ 2147483647 h 464"/>
                <a:gd name="T112" fmla="*/ 2147483647 w 608"/>
                <a:gd name="T113" fmla="*/ 2147483647 h 464"/>
                <a:gd name="T114" fmla="*/ 2147483647 w 608"/>
                <a:gd name="T115" fmla="*/ 2147483647 h 464"/>
                <a:gd name="T116" fmla="*/ 2147483647 w 608"/>
                <a:gd name="T117" fmla="*/ 2147483647 h 464"/>
                <a:gd name="T118" fmla="*/ 2147483647 w 608"/>
                <a:gd name="T119" fmla="*/ 2147483647 h 464"/>
                <a:gd name="T120" fmla="*/ 2147483647 w 608"/>
                <a:gd name="T121" fmla="*/ 0 h 464"/>
                <a:gd name="T122" fmla="*/ 2147483647 w 608"/>
                <a:gd name="T123" fmla="*/ 2147483647 h 4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8"/>
                <a:gd name="T187" fmla="*/ 0 h 464"/>
                <a:gd name="T188" fmla="*/ 608 w 608"/>
                <a:gd name="T189" fmla="*/ 464 h 4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8" h="464">
                  <a:moveTo>
                    <a:pt x="213" y="9"/>
                  </a:moveTo>
                  <a:lnTo>
                    <a:pt x="228" y="21"/>
                  </a:lnTo>
                  <a:lnTo>
                    <a:pt x="241" y="25"/>
                  </a:lnTo>
                  <a:lnTo>
                    <a:pt x="257" y="28"/>
                  </a:lnTo>
                  <a:lnTo>
                    <a:pt x="276" y="28"/>
                  </a:lnTo>
                  <a:lnTo>
                    <a:pt x="278" y="30"/>
                  </a:lnTo>
                  <a:lnTo>
                    <a:pt x="280" y="34"/>
                  </a:lnTo>
                  <a:lnTo>
                    <a:pt x="282" y="36"/>
                  </a:lnTo>
                  <a:lnTo>
                    <a:pt x="286" y="38"/>
                  </a:lnTo>
                  <a:lnTo>
                    <a:pt x="287" y="42"/>
                  </a:lnTo>
                  <a:lnTo>
                    <a:pt x="289" y="44"/>
                  </a:lnTo>
                  <a:lnTo>
                    <a:pt x="309" y="44"/>
                  </a:lnTo>
                  <a:lnTo>
                    <a:pt x="328" y="44"/>
                  </a:lnTo>
                  <a:lnTo>
                    <a:pt x="332" y="42"/>
                  </a:lnTo>
                  <a:lnTo>
                    <a:pt x="333" y="38"/>
                  </a:lnTo>
                  <a:lnTo>
                    <a:pt x="335" y="36"/>
                  </a:lnTo>
                  <a:lnTo>
                    <a:pt x="337" y="34"/>
                  </a:lnTo>
                  <a:lnTo>
                    <a:pt x="339" y="30"/>
                  </a:lnTo>
                  <a:lnTo>
                    <a:pt x="343" y="28"/>
                  </a:lnTo>
                  <a:lnTo>
                    <a:pt x="351" y="27"/>
                  </a:lnTo>
                  <a:lnTo>
                    <a:pt x="358" y="25"/>
                  </a:lnTo>
                  <a:lnTo>
                    <a:pt x="360" y="21"/>
                  </a:lnTo>
                  <a:lnTo>
                    <a:pt x="362" y="19"/>
                  </a:lnTo>
                  <a:lnTo>
                    <a:pt x="372" y="19"/>
                  </a:lnTo>
                  <a:lnTo>
                    <a:pt x="381" y="19"/>
                  </a:lnTo>
                  <a:lnTo>
                    <a:pt x="383" y="21"/>
                  </a:lnTo>
                  <a:lnTo>
                    <a:pt x="387" y="25"/>
                  </a:lnTo>
                  <a:lnTo>
                    <a:pt x="397" y="27"/>
                  </a:lnTo>
                  <a:lnTo>
                    <a:pt x="406" y="28"/>
                  </a:lnTo>
                  <a:lnTo>
                    <a:pt x="408" y="44"/>
                  </a:lnTo>
                  <a:lnTo>
                    <a:pt x="410" y="57"/>
                  </a:lnTo>
                  <a:lnTo>
                    <a:pt x="412" y="59"/>
                  </a:lnTo>
                  <a:lnTo>
                    <a:pt x="416" y="63"/>
                  </a:lnTo>
                  <a:lnTo>
                    <a:pt x="418" y="84"/>
                  </a:lnTo>
                  <a:lnTo>
                    <a:pt x="420" y="107"/>
                  </a:lnTo>
                  <a:lnTo>
                    <a:pt x="422" y="109"/>
                  </a:lnTo>
                  <a:lnTo>
                    <a:pt x="426" y="111"/>
                  </a:lnTo>
                  <a:lnTo>
                    <a:pt x="443" y="113"/>
                  </a:lnTo>
                  <a:lnTo>
                    <a:pt x="462" y="113"/>
                  </a:lnTo>
                  <a:lnTo>
                    <a:pt x="479" y="115"/>
                  </a:lnTo>
                  <a:lnTo>
                    <a:pt x="497" y="117"/>
                  </a:lnTo>
                  <a:lnTo>
                    <a:pt x="500" y="119"/>
                  </a:lnTo>
                  <a:lnTo>
                    <a:pt x="502" y="121"/>
                  </a:lnTo>
                  <a:lnTo>
                    <a:pt x="510" y="122"/>
                  </a:lnTo>
                  <a:lnTo>
                    <a:pt x="518" y="126"/>
                  </a:lnTo>
                  <a:lnTo>
                    <a:pt x="520" y="128"/>
                  </a:lnTo>
                  <a:lnTo>
                    <a:pt x="521" y="130"/>
                  </a:lnTo>
                  <a:lnTo>
                    <a:pt x="529" y="144"/>
                  </a:lnTo>
                  <a:lnTo>
                    <a:pt x="537" y="155"/>
                  </a:lnTo>
                  <a:lnTo>
                    <a:pt x="539" y="157"/>
                  </a:lnTo>
                  <a:lnTo>
                    <a:pt x="541" y="159"/>
                  </a:lnTo>
                  <a:lnTo>
                    <a:pt x="543" y="161"/>
                  </a:lnTo>
                  <a:lnTo>
                    <a:pt x="546" y="165"/>
                  </a:lnTo>
                  <a:lnTo>
                    <a:pt x="548" y="167"/>
                  </a:lnTo>
                  <a:lnTo>
                    <a:pt x="550" y="169"/>
                  </a:lnTo>
                  <a:lnTo>
                    <a:pt x="552" y="170"/>
                  </a:lnTo>
                  <a:lnTo>
                    <a:pt x="556" y="174"/>
                  </a:lnTo>
                  <a:lnTo>
                    <a:pt x="558" y="176"/>
                  </a:lnTo>
                  <a:lnTo>
                    <a:pt x="560" y="178"/>
                  </a:lnTo>
                  <a:lnTo>
                    <a:pt x="568" y="182"/>
                  </a:lnTo>
                  <a:lnTo>
                    <a:pt x="575" y="184"/>
                  </a:lnTo>
                  <a:lnTo>
                    <a:pt x="577" y="186"/>
                  </a:lnTo>
                  <a:lnTo>
                    <a:pt x="579" y="188"/>
                  </a:lnTo>
                  <a:lnTo>
                    <a:pt x="577" y="192"/>
                  </a:lnTo>
                  <a:lnTo>
                    <a:pt x="575" y="193"/>
                  </a:lnTo>
                  <a:lnTo>
                    <a:pt x="571" y="205"/>
                  </a:lnTo>
                  <a:lnTo>
                    <a:pt x="569" y="218"/>
                  </a:lnTo>
                  <a:lnTo>
                    <a:pt x="568" y="220"/>
                  </a:lnTo>
                  <a:lnTo>
                    <a:pt x="566" y="222"/>
                  </a:lnTo>
                  <a:lnTo>
                    <a:pt x="564" y="230"/>
                  </a:lnTo>
                  <a:lnTo>
                    <a:pt x="560" y="236"/>
                  </a:lnTo>
                  <a:lnTo>
                    <a:pt x="558" y="240"/>
                  </a:lnTo>
                  <a:lnTo>
                    <a:pt x="556" y="241"/>
                  </a:lnTo>
                  <a:lnTo>
                    <a:pt x="552" y="245"/>
                  </a:lnTo>
                  <a:lnTo>
                    <a:pt x="552" y="251"/>
                  </a:lnTo>
                  <a:lnTo>
                    <a:pt x="552" y="259"/>
                  </a:lnTo>
                  <a:lnTo>
                    <a:pt x="556" y="261"/>
                  </a:lnTo>
                  <a:lnTo>
                    <a:pt x="558" y="263"/>
                  </a:lnTo>
                  <a:lnTo>
                    <a:pt x="560" y="266"/>
                  </a:lnTo>
                  <a:lnTo>
                    <a:pt x="560" y="272"/>
                  </a:lnTo>
                  <a:lnTo>
                    <a:pt x="560" y="280"/>
                  </a:lnTo>
                  <a:lnTo>
                    <a:pt x="571" y="280"/>
                  </a:lnTo>
                  <a:lnTo>
                    <a:pt x="585" y="280"/>
                  </a:lnTo>
                  <a:lnTo>
                    <a:pt x="587" y="282"/>
                  </a:lnTo>
                  <a:lnTo>
                    <a:pt x="591" y="286"/>
                  </a:lnTo>
                  <a:lnTo>
                    <a:pt x="596" y="287"/>
                  </a:lnTo>
                  <a:lnTo>
                    <a:pt x="604" y="289"/>
                  </a:lnTo>
                  <a:lnTo>
                    <a:pt x="606" y="291"/>
                  </a:lnTo>
                  <a:lnTo>
                    <a:pt x="608" y="295"/>
                  </a:lnTo>
                  <a:lnTo>
                    <a:pt x="608" y="305"/>
                  </a:lnTo>
                  <a:lnTo>
                    <a:pt x="608" y="314"/>
                  </a:lnTo>
                  <a:lnTo>
                    <a:pt x="606" y="316"/>
                  </a:lnTo>
                  <a:lnTo>
                    <a:pt x="604" y="318"/>
                  </a:lnTo>
                  <a:lnTo>
                    <a:pt x="596" y="322"/>
                  </a:lnTo>
                  <a:lnTo>
                    <a:pt x="591" y="324"/>
                  </a:lnTo>
                  <a:lnTo>
                    <a:pt x="587" y="326"/>
                  </a:lnTo>
                  <a:lnTo>
                    <a:pt x="585" y="328"/>
                  </a:lnTo>
                  <a:lnTo>
                    <a:pt x="583" y="343"/>
                  </a:lnTo>
                  <a:lnTo>
                    <a:pt x="581" y="358"/>
                  </a:lnTo>
                  <a:lnTo>
                    <a:pt x="581" y="372"/>
                  </a:lnTo>
                  <a:lnTo>
                    <a:pt x="579" y="387"/>
                  </a:lnTo>
                  <a:lnTo>
                    <a:pt x="566" y="389"/>
                  </a:lnTo>
                  <a:lnTo>
                    <a:pt x="550" y="391"/>
                  </a:lnTo>
                  <a:lnTo>
                    <a:pt x="548" y="393"/>
                  </a:lnTo>
                  <a:lnTo>
                    <a:pt x="546" y="397"/>
                  </a:lnTo>
                  <a:lnTo>
                    <a:pt x="541" y="397"/>
                  </a:lnTo>
                  <a:lnTo>
                    <a:pt x="537" y="397"/>
                  </a:lnTo>
                  <a:lnTo>
                    <a:pt x="533" y="393"/>
                  </a:lnTo>
                  <a:lnTo>
                    <a:pt x="531" y="391"/>
                  </a:lnTo>
                  <a:lnTo>
                    <a:pt x="514" y="393"/>
                  </a:lnTo>
                  <a:lnTo>
                    <a:pt x="497" y="397"/>
                  </a:lnTo>
                  <a:lnTo>
                    <a:pt x="495" y="393"/>
                  </a:lnTo>
                  <a:lnTo>
                    <a:pt x="493" y="391"/>
                  </a:lnTo>
                  <a:lnTo>
                    <a:pt x="487" y="391"/>
                  </a:lnTo>
                  <a:lnTo>
                    <a:pt x="483" y="391"/>
                  </a:lnTo>
                  <a:lnTo>
                    <a:pt x="481" y="393"/>
                  </a:lnTo>
                  <a:lnTo>
                    <a:pt x="479" y="397"/>
                  </a:lnTo>
                  <a:lnTo>
                    <a:pt x="466" y="399"/>
                  </a:lnTo>
                  <a:lnTo>
                    <a:pt x="454" y="401"/>
                  </a:lnTo>
                  <a:lnTo>
                    <a:pt x="452" y="403"/>
                  </a:lnTo>
                  <a:lnTo>
                    <a:pt x="449" y="406"/>
                  </a:lnTo>
                  <a:lnTo>
                    <a:pt x="447" y="408"/>
                  </a:lnTo>
                  <a:lnTo>
                    <a:pt x="445" y="410"/>
                  </a:lnTo>
                  <a:lnTo>
                    <a:pt x="443" y="414"/>
                  </a:lnTo>
                  <a:lnTo>
                    <a:pt x="439" y="416"/>
                  </a:lnTo>
                  <a:lnTo>
                    <a:pt x="431" y="418"/>
                  </a:lnTo>
                  <a:lnTo>
                    <a:pt x="426" y="420"/>
                  </a:lnTo>
                  <a:lnTo>
                    <a:pt x="422" y="424"/>
                  </a:lnTo>
                  <a:lnTo>
                    <a:pt x="420" y="426"/>
                  </a:lnTo>
                  <a:lnTo>
                    <a:pt x="408" y="428"/>
                  </a:lnTo>
                  <a:lnTo>
                    <a:pt x="397" y="429"/>
                  </a:lnTo>
                  <a:lnTo>
                    <a:pt x="393" y="433"/>
                  </a:lnTo>
                  <a:lnTo>
                    <a:pt x="391" y="435"/>
                  </a:lnTo>
                  <a:lnTo>
                    <a:pt x="374" y="437"/>
                  </a:lnTo>
                  <a:lnTo>
                    <a:pt x="358" y="439"/>
                  </a:lnTo>
                  <a:lnTo>
                    <a:pt x="355" y="443"/>
                  </a:lnTo>
                  <a:lnTo>
                    <a:pt x="353" y="445"/>
                  </a:lnTo>
                  <a:lnTo>
                    <a:pt x="351" y="452"/>
                  </a:lnTo>
                  <a:lnTo>
                    <a:pt x="347" y="460"/>
                  </a:lnTo>
                  <a:lnTo>
                    <a:pt x="345" y="462"/>
                  </a:lnTo>
                  <a:lnTo>
                    <a:pt x="343" y="464"/>
                  </a:lnTo>
                  <a:lnTo>
                    <a:pt x="337" y="445"/>
                  </a:lnTo>
                  <a:lnTo>
                    <a:pt x="333" y="426"/>
                  </a:lnTo>
                  <a:lnTo>
                    <a:pt x="332" y="424"/>
                  </a:lnTo>
                  <a:lnTo>
                    <a:pt x="328" y="420"/>
                  </a:lnTo>
                  <a:lnTo>
                    <a:pt x="332" y="418"/>
                  </a:lnTo>
                  <a:lnTo>
                    <a:pt x="333" y="416"/>
                  </a:lnTo>
                  <a:lnTo>
                    <a:pt x="333" y="410"/>
                  </a:lnTo>
                  <a:lnTo>
                    <a:pt x="333" y="406"/>
                  </a:lnTo>
                  <a:lnTo>
                    <a:pt x="332" y="403"/>
                  </a:lnTo>
                  <a:lnTo>
                    <a:pt x="328" y="401"/>
                  </a:lnTo>
                  <a:lnTo>
                    <a:pt x="312" y="401"/>
                  </a:lnTo>
                  <a:lnTo>
                    <a:pt x="297" y="399"/>
                  </a:lnTo>
                  <a:lnTo>
                    <a:pt x="282" y="397"/>
                  </a:lnTo>
                  <a:lnTo>
                    <a:pt x="264" y="397"/>
                  </a:lnTo>
                  <a:lnTo>
                    <a:pt x="262" y="393"/>
                  </a:lnTo>
                  <a:lnTo>
                    <a:pt x="261" y="391"/>
                  </a:lnTo>
                  <a:lnTo>
                    <a:pt x="253" y="389"/>
                  </a:lnTo>
                  <a:lnTo>
                    <a:pt x="247" y="387"/>
                  </a:lnTo>
                  <a:lnTo>
                    <a:pt x="243" y="383"/>
                  </a:lnTo>
                  <a:lnTo>
                    <a:pt x="241" y="381"/>
                  </a:lnTo>
                  <a:lnTo>
                    <a:pt x="220" y="380"/>
                  </a:lnTo>
                  <a:lnTo>
                    <a:pt x="197" y="378"/>
                  </a:lnTo>
                  <a:lnTo>
                    <a:pt x="195" y="374"/>
                  </a:lnTo>
                  <a:lnTo>
                    <a:pt x="193" y="372"/>
                  </a:lnTo>
                  <a:lnTo>
                    <a:pt x="186" y="355"/>
                  </a:lnTo>
                  <a:lnTo>
                    <a:pt x="178" y="339"/>
                  </a:lnTo>
                  <a:lnTo>
                    <a:pt x="176" y="335"/>
                  </a:lnTo>
                  <a:lnTo>
                    <a:pt x="174" y="334"/>
                  </a:lnTo>
                  <a:lnTo>
                    <a:pt x="167" y="332"/>
                  </a:lnTo>
                  <a:lnTo>
                    <a:pt x="159" y="328"/>
                  </a:lnTo>
                  <a:lnTo>
                    <a:pt x="157" y="326"/>
                  </a:lnTo>
                  <a:lnTo>
                    <a:pt x="155" y="324"/>
                  </a:lnTo>
                  <a:lnTo>
                    <a:pt x="147" y="322"/>
                  </a:lnTo>
                  <a:lnTo>
                    <a:pt x="140" y="318"/>
                  </a:lnTo>
                  <a:lnTo>
                    <a:pt x="138" y="316"/>
                  </a:lnTo>
                  <a:lnTo>
                    <a:pt x="134" y="314"/>
                  </a:lnTo>
                  <a:lnTo>
                    <a:pt x="122" y="312"/>
                  </a:lnTo>
                  <a:lnTo>
                    <a:pt x="111" y="309"/>
                  </a:lnTo>
                  <a:lnTo>
                    <a:pt x="107" y="307"/>
                  </a:lnTo>
                  <a:lnTo>
                    <a:pt x="105" y="305"/>
                  </a:lnTo>
                  <a:lnTo>
                    <a:pt x="97" y="303"/>
                  </a:lnTo>
                  <a:lnTo>
                    <a:pt x="92" y="299"/>
                  </a:lnTo>
                  <a:lnTo>
                    <a:pt x="88" y="297"/>
                  </a:lnTo>
                  <a:lnTo>
                    <a:pt x="86" y="295"/>
                  </a:lnTo>
                  <a:lnTo>
                    <a:pt x="71" y="291"/>
                  </a:lnTo>
                  <a:lnTo>
                    <a:pt x="55" y="287"/>
                  </a:lnTo>
                  <a:lnTo>
                    <a:pt x="40" y="284"/>
                  </a:lnTo>
                  <a:lnTo>
                    <a:pt x="23" y="280"/>
                  </a:lnTo>
                  <a:lnTo>
                    <a:pt x="21" y="278"/>
                  </a:lnTo>
                  <a:lnTo>
                    <a:pt x="19" y="276"/>
                  </a:lnTo>
                  <a:lnTo>
                    <a:pt x="17" y="249"/>
                  </a:lnTo>
                  <a:lnTo>
                    <a:pt x="15" y="222"/>
                  </a:lnTo>
                  <a:lnTo>
                    <a:pt x="11" y="220"/>
                  </a:lnTo>
                  <a:lnTo>
                    <a:pt x="9" y="218"/>
                  </a:lnTo>
                  <a:lnTo>
                    <a:pt x="7" y="211"/>
                  </a:lnTo>
                  <a:lnTo>
                    <a:pt x="5" y="203"/>
                  </a:lnTo>
                  <a:lnTo>
                    <a:pt x="2" y="201"/>
                  </a:lnTo>
                  <a:lnTo>
                    <a:pt x="0" y="197"/>
                  </a:lnTo>
                  <a:lnTo>
                    <a:pt x="0" y="193"/>
                  </a:lnTo>
                  <a:lnTo>
                    <a:pt x="0" y="188"/>
                  </a:lnTo>
                  <a:lnTo>
                    <a:pt x="2" y="186"/>
                  </a:lnTo>
                  <a:lnTo>
                    <a:pt x="5" y="184"/>
                  </a:lnTo>
                  <a:lnTo>
                    <a:pt x="7" y="172"/>
                  </a:lnTo>
                  <a:lnTo>
                    <a:pt x="9" y="159"/>
                  </a:lnTo>
                  <a:lnTo>
                    <a:pt x="11" y="157"/>
                  </a:lnTo>
                  <a:lnTo>
                    <a:pt x="15" y="155"/>
                  </a:lnTo>
                  <a:lnTo>
                    <a:pt x="17" y="151"/>
                  </a:lnTo>
                  <a:lnTo>
                    <a:pt x="19" y="149"/>
                  </a:lnTo>
                  <a:lnTo>
                    <a:pt x="21" y="147"/>
                  </a:lnTo>
                  <a:lnTo>
                    <a:pt x="23" y="145"/>
                  </a:lnTo>
                  <a:lnTo>
                    <a:pt x="26" y="132"/>
                  </a:lnTo>
                  <a:lnTo>
                    <a:pt x="28" y="121"/>
                  </a:lnTo>
                  <a:lnTo>
                    <a:pt x="30" y="119"/>
                  </a:lnTo>
                  <a:lnTo>
                    <a:pt x="34" y="117"/>
                  </a:lnTo>
                  <a:lnTo>
                    <a:pt x="40" y="113"/>
                  </a:lnTo>
                  <a:lnTo>
                    <a:pt x="48" y="111"/>
                  </a:lnTo>
                  <a:lnTo>
                    <a:pt x="50" y="109"/>
                  </a:lnTo>
                  <a:lnTo>
                    <a:pt x="53" y="107"/>
                  </a:lnTo>
                  <a:lnTo>
                    <a:pt x="59" y="103"/>
                  </a:lnTo>
                  <a:lnTo>
                    <a:pt x="67" y="101"/>
                  </a:lnTo>
                  <a:lnTo>
                    <a:pt x="69" y="99"/>
                  </a:lnTo>
                  <a:lnTo>
                    <a:pt x="73" y="96"/>
                  </a:lnTo>
                  <a:lnTo>
                    <a:pt x="74" y="94"/>
                  </a:lnTo>
                  <a:lnTo>
                    <a:pt x="76" y="92"/>
                  </a:lnTo>
                  <a:lnTo>
                    <a:pt x="78" y="90"/>
                  </a:lnTo>
                  <a:lnTo>
                    <a:pt x="82" y="86"/>
                  </a:lnTo>
                  <a:lnTo>
                    <a:pt x="84" y="74"/>
                  </a:lnTo>
                  <a:lnTo>
                    <a:pt x="86" y="63"/>
                  </a:lnTo>
                  <a:lnTo>
                    <a:pt x="88" y="59"/>
                  </a:lnTo>
                  <a:lnTo>
                    <a:pt x="92" y="57"/>
                  </a:lnTo>
                  <a:lnTo>
                    <a:pt x="94" y="51"/>
                  </a:lnTo>
                  <a:lnTo>
                    <a:pt x="96" y="44"/>
                  </a:lnTo>
                  <a:lnTo>
                    <a:pt x="99" y="42"/>
                  </a:lnTo>
                  <a:lnTo>
                    <a:pt x="101" y="38"/>
                  </a:lnTo>
                  <a:lnTo>
                    <a:pt x="103" y="27"/>
                  </a:lnTo>
                  <a:lnTo>
                    <a:pt x="105" y="15"/>
                  </a:lnTo>
                  <a:lnTo>
                    <a:pt x="107" y="11"/>
                  </a:lnTo>
                  <a:lnTo>
                    <a:pt x="111" y="9"/>
                  </a:lnTo>
                  <a:lnTo>
                    <a:pt x="119" y="7"/>
                  </a:lnTo>
                  <a:lnTo>
                    <a:pt x="126" y="3"/>
                  </a:lnTo>
                  <a:lnTo>
                    <a:pt x="128" y="2"/>
                  </a:lnTo>
                  <a:lnTo>
                    <a:pt x="130" y="0"/>
                  </a:lnTo>
                  <a:lnTo>
                    <a:pt x="140" y="0"/>
                  </a:lnTo>
                  <a:lnTo>
                    <a:pt x="149" y="0"/>
                  </a:lnTo>
                  <a:lnTo>
                    <a:pt x="151" y="2"/>
                  </a:lnTo>
                  <a:lnTo>
                    <a:pt x="155" y="3"/>
                  </a:lnTo>
                  <a:lnTo>
                    <a:pt x="168" y="5"/>
                  </a:lnTo>
                  <a:lnTo>
                    <a:pt x="184" y="7"/>
                  </a:lnTo>
                  <a:lnTo>
                    <a:pt x="197" y="7"/>
                  </a:lnTo>
                  <a:lnTo>
                    <a:pt x="213" y="9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1" name="Freeform 301">
              <a:extLst>
                <a:ext uri="{FF2B5EF4-FFF2-40B4-BE49-F238E27FC236}">
                  <a16:creationId xmlns:a16="http://schemas.microsoft.com/office/drawing/2014/main" xmlns="" id="{B305F9DA-81F0-E749-AA2E-87C54DF81A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3675" y="4030478"/>
              <a:ext cx="642938" cy="738188"/>
            </a:xfrm>
            <a:custGeom>
              <a:avLst/>
              <a:gdLst>
                <a:gd name="T0" fmla="*/ 2147483647 w 414"/>
                <a:gd name="T1" fmla="*/ 2147483647 h 493"/>
                <a:gd name="T2" fmla="*/ 2147483647 w 414"/>
                <a:gd name="T3" fmla="*/ 2147483647 h 493"/>
                <a:gd name="T4" fmla="*/ 2147483647 w 414"/>
                <a:gd name="T5" fmla="*/ 2147483647 h 493"/>
                <a:gd name="T6" fmla="*/ 2147483647 w 414"/>
                <a:gd name="T7" fmla="*/ 2147483647 h 493"/>
                <a:gd name="T8" fmla="*/ 2147483647 w 414"/>
                <a:gd name="T9" fmla="*/ 2147483647 h 493"/>
                <a:gd name="T10" fmla="*/ 2147483647 w 414"/>
                <a:gd name="T11" fmla="*/ 2147483647 h 493"/>
                <a:gd name="T12" fmla="*/ 2147483647 w 414"/>
                <a:gd name="T13" fmla="*/ 2147483647 h 493"/>
                <a:gd name="T14" fmla="*/ 2147483647 w 414"/>
                <a:gd name="T15" fmla="*/ 2147483647 h 493"/>
                <a:gd name="T16" fmla="*/ 2147483647 w 414"/>
                <a:gd name="T17" fmla="*/ 2147483647 h 493"/>
                <a:gd name="T18" fmla="*/ 2147483647 w 414"/>
                <a:gd name="T19" fmla="*/ 2147483647 h 493"/>
                <a:gd name="T20" fmla="*/ 2147483647 w 414"/>
                <a:gd name="T21" fmla="*/ 2147483647 h 493"/>
                <a:gd name="T22" fmla="*/ 2147483647 w 414"/>
                <a:gd name="T23" fmla="*/ 2147483647 h 493"/>
                <a:gd name="T24" fmla="*/ 2147483647 w 414"/>
                <a:gd name="T25" fmla="*/ 2147483647 h 493"/>
                <a:gd name="T26" fmla="*/ 2147483647 w 414"/>
                <a:gd name="T27" fmla="*/ 2147483647 h 493"/>
                <a:gd name="T28" fmla="*/ 2147483647 w 414"/>
                <a:gd name="T29" fmla="*/ 2147483647 h 493"/>
                <a:gd name="T30" fmla="*/ 2147483647 w 414"/>
                <a:gd name="T31" fmla="*/ 2147483647 h 493"/>
                <a:gd name="T32" fmla="*/ 2147483647 w 414"/>
                <a:gd name="T33" fmla="*/ 2147483647 h 493"/>
                <a:gd name="T34" fmla="*/ 2147483647 w 414"/>
                <a:gd name="T35" fmla="*/ 2147483647 h 493"/>
                <a:gd name="T36" fmla="*/ 2147483647 w 414"/>
                <a:gd name="T37" fmla="*/ 2147483647 h 493"/>
                <a:gd name="T38" fmla="*/ 2147483647 w 414"/>
                <a:gd name="T39" fmla="*/ 2147483647 h 493"/>
                <a:gd name="T40" fmla="*/ 2147483647 w 414"/>
                <a:gd name="T41" fmla="*/ 2147483647 h 493"/>
                <a:gd name="T42" fmla="*/ 2147483647 w 414"/>
                <a:gd name="T43" fmla="*/ 2147483647 h 493"/>
                <a:gd name="T44" fmla="*/ 2147483647 w 414"/>
                <a:gd name="T45" fmla="*/ 2147483647 h 493"/>
                <a:gd name="T46" fmla="*/ 2147483647 w 414"/>
                <a:gd name="T47" fmla="*/ 2147483647 h 493"/>
                <a:gd name="T48" fmla="*/ 2147483647 w 414"/>
                <a:gd name="T49" fmla="*/ 2147483647 h 493"/>
                <a:gd name="T50" fmla="*/ 2147483647 w 414"/>
                <a:gd name="T51" fmla="*/ 2147483647 h 493"/>
                <a:gd name="T52" fmla="*/ 2147483647 w 414"/>
                <a:gd name="T53" fmla="*/ 2147483647 h 493"/>
                <a:gd name="T54" fmla="*/ 2147483647 w 414"/>
                <a:gd name="T55" fmla="*/ 2147483647 h 493"/>
                <a:gd name="T56" fmla="*/ 2147483647 w 414"/>
                <a:gd name="T57" fmla="*/ 2147483647 h 493"/>
                <a:gd name="T58" fmla="*/ 2147483647 w 414"/>
                <a:gd name="T59" fmla="*/ 2147483647 h 493"/>
                <a:gd name="T60" fmla="*/ 2147483647 w 414"/>
                <a:gd name="T61" fmla="*/ 2147483647 h 493"/>
                <a:gd name="T62" fmla="*/ 2147483647 w 414"/>
                <a:gd name="T63" fmla="*/ 2147483647 h 493"/>
                <a:gd name="T64" fmla="*/ 2147483647 w 414"/>
                <a:gd name="T65" fmla="*/ 2147483647 h 493"/>
                <a:gd name="T66" fmla="*/ 2147483647 w 414"/>
                <a:gd name="T67" fmla="*/ 2147483647 h 493"/>
                <a:gd name="T68" fmla="*/ 2147483647 w 414"/>
                <a:gd name="T69" fmla="*/ 2147483647 h 493"/>
                <a:gd name="T70" fmla="*/ 2147483647 w 414"/>
                <a:gd name="T71" fmla="*/ 2147483647 h 493"/>
                <a:gd name="T72" fmla="*/ 2147483647 w 414"/>
                <a:gd name="T73" fmla="*/ 2147483647 h 493"/>
                <a:gd name="T74" fmla="*/ 2147483647 w 414"/>
                <a:gd name="T75" fmla="*/ 2147483647 h 493"/>
                <a:gd name="T76" fmla="*/ 2147483647 w 414"/>
                <a:gd name="T77" fmla="*/ 2147483647 h 493"/>
                <a:gd name="T78" fmla="*/ 2147483647 w 414"/>
                <a:gd name="T79" fmla="*/ 0 h 493"/>
                <a:gd name="T80" fmla="*/ 2147483647 w 414"/>
                <a:gd name="T81" fmla="*/ 2147483647 h 493"/>
                <a:gd name="T82" fmla="*/ 2147483647 w 414"/>
                <a:gd name="T83" fmla="*/ 2147483647 h 493"/>
                <a:gd name="T84" fmla="*/ 2147483647 w 414"/>
                <a:gd name="T85" fmla="*/ 2147483647 h 493"/>
                <a:gd name="T86" fmla="*/ 2147483647 w 414"/>
                <a:gd name="T87" fmla="*/ 2147483647 h 493"/>
                <a:gd name="T88" fmla="*/ 2147483647 w 414"/>
                <a:gd name="T89" fmla="*/ 2147483647 h 493"/>
                <a:gd name="T90" fmla="*/ 2147483647 w 414"/>
                <a:gd name="T91" fmla="*/ 2147483647 h 493"/>
                <a:gd name="T92" fmla="*/ 2147483647 w 414"/>
                <a:gd name="T93" fmla="*/ 2147483647 h 493"/>
                <a:gd name="T94" fmla="*/ 2147483647 w 414"/>
                <a:gd name="T95" fmla="*/ 2147483647 h 493"/>
                <a:gd name="T96" fmla="*/ 2147483647 w 414"/>
                <a:gd name="T97" fmla="*/ 2147483647 h 493"/>
                <a:gd name="T98" fmla="*/ 2147483647 w 414"/>
                <a:gd name="T99" fmla="*/ 2147483647 h 493"/>
                <a:gd name="T100" fmla="*/ 2147483647 w 414"/>
                <a:gd name="T101" fmla="*/ 2147483647 h 493"/>
                <a:gd name="T102" fmla="*/ 2147483647 w 414"/>
                <a:gd name="T103" fmla="*/ 2147483647 h 493"/>
                <a:gd name="T104" fmla="*/ 2147483647 w 414"/>
                <a:gd name="T105" fmla="*/ 2147483647 h 493"/>
                <a:gd name="T106" fmla="*/ 2147483647 w 414"/>
                <a:gd name="T107" fmla="*/ 2147483647 h 493"/>
                <a:gd name="T108" fmla="*/ 2147483647 w 414"/>
                <a:gd name="T109" fmla="*/ 2147483647 h 493"/>
                <a:gd name="T110" fmla="*/ 2147483647 w 414"/>
                <a:gd name="T111" fmla="*/ 2147483647 h 493"/>
                <a:gd name="T112" fmla="*/ 2147483647 w 414"/>
                <a:gd name="T113" fmla="*/ 2147483647 h 493"/>
                <a:gd name="T114" fmla="*/ 2147483647 w 414"/>
                <a:gd name="T115" fmla="*/ 2147483647 h 493"/>
                <a:gd name="T116" fmla="*/ 2147483647 w 414"/>
                <a:gd name="T117" fmla="*/ 2147483647 h 493"/>
                <a:gd name="T118" fmla="*/ 2147483647 w 414"/>
                <a:gd name="T119" fmla="*/ 2147483647 h 493"/>
                <a:gd name="T120" fmla="*/ 2147483647 w 414"/>
                <a:gd name="T121" fmla="*/ 2147483647 h 493"/>
                <a:gd name="T122" fmla="*/ 2147483647 w 414"/>
                <a:gd name="T123" fmla="*/ 2147483647 h 49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14"/>
                <a:gd name="T187" fmla="*/ 0 h 493"/>
                <a:gd name="T188" fmla="*/ 414 w 414"/>
                <a:gd name="T189" fmla="*/ 493 h 49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14" h="493">
                  <a:moveTo>
                    <a:pt x="274" y="493"/>
                  </a:moveTo>
                  <a:lnTo>
                    <a:pt x="272" y="491"/>
                  </a:lnTo>
                  <a:lnTo>
                    <a:pt x="270" y="487"/>
                  </a:lnTo>
                  <a:lnTo>
                    <a:pt x="266" y="485"/>
                  </a:lnTo>
                  <a:lnTo>
                    <a:pt x="264" y="483"/>
                  </a:lnTo>
                  <a:lnTo>
                    <a:pt x="262" y="479"/>
                  </a:lnTo>
                  <a:lnTo>
                    <a:pt x="261" y="478"/>
                  </a:lnTo>
                  <a:lnTo>
                    <a:pt x="247" y="476"/>
                  </a:lnTo>
                  <a:lnTo>
                    <a:pt x="236" y="474"/>
                  </a:lnTo>
                  <a:lnTo>
                    <a:pt x="234" y="470"/>
                  </a:lnTo>
                  <a:lnTo>
                    <a:pt x="232" y="468"/>
                  </a:lnTo>
                  <a:lnTo>
                    <a:pt x="226" y="468"/>
                  </a:lnTo>
                  <a:lnTo>
                    <a:pt x="222" y="468"/>
                  </a:lnTo>
                  <a:lnTo>
                    <a:pt x="218" y="470"/>
                  </a:lnTo>
                  <a:lnTo>
                    <a:pt x="216" y="474"/>
                  </a:lnTo>
                  <a:lnTo>
                    <a:pt x="201" y="474"/>
                  </a:lnTo>
                  <a:lnTo>
                    <a:pt x="188" y="474"/>
                  </a:lnTo>
                  <a:lnTo>
                    <a:pt x="184" y="470"/>
                  </a:lnTo>
                  <a:lnTo>
                    <a:pt x="182" y="468"/>
                  </a:lnTo>
                  <a:lnTo>
                    <a:pt x="180" y="466"/>
                  </a:lnTo>
                  <a:lnTo>
                    <a:pt x="178" y="464"/>
                  </a:lnTo>
                  <a:lnTo>
                    <a:pt x="174" y="460"/>
                  </a:lnTo>
                  <a:lnTo>
                    <a:pt x="172" y="458"/>
                  </a:lnTo>
                  <a:lnTo>
                    <a:pt x="145" y="456"/>
                  </a:lnTo>
                  <a:lnTo>
                    <a:pt x="121" y="454"/>
                  </a:lnTo>
                  <a:lnTo>
                    <a:pt x="117" y="451"/>
                  </a:lnTo>
                  <a:lnTo>
                    <a:pt x="115" y="449"/>
                  </a:lnTo>
                  <a:lnTo>
                    <a:pt x="113" y="447"/>
                  </a:lnTo>
                  <a:lnTo>
                    <a:pt x="111" y="445"/>
                  </a:lnTo>
                  <a:lnTo>
                    <a:pt x="107" y="441"/>
                  </a:lnTo>
                  <a:lnTo>
                    <a:pt x="105" y="439"/>
                  </a:lnTo>
                  <a:lnTo>
                    <a:pt x="103" y="437"/>
                  </a:lnTo>
                  <a:lnTo>
                    <a:pt x="99" y="435"/>
                  </a:lnTo>
                  <a:lnTo>
                    <a:pt x="97" y="431"/>
                  </a:lnTo>
                  <a:lnTo>
                    <a:pt x="96" y="430"/>
                  </a:lnTo>
                  <a:lnTo>
                    <a:pt x="74" y="428"/>
                  </a:lnTo>
                  <a:lnTo>
                    <a:pt x="51" y="426"/>
                  </a:lnTo>
                  <a:lnTo>
                    <a:pt x="50" y="422"/>
                  </a:lnTo>
                  <a:lnTo>
                    <a:pt x="48" y="420"/>
                  </a:lnTo>
                  <a:lnTo>
                    <a:pt x="40" y="418"/>
                  </a:lnTo>
                  <a:lnTo>
                    <a:pt x="32" y="416"/>
                  </a:lnTo>
                  <a:lnTo>
                    <a:pt x="30" y="412"/>
                  </a:lnTo>
                  <a:lnTo>
                    <a:pt x="28" y="410"/>
                  </a:lnTo>
                  <a:lnTo>
                    <a:pt x="25" y="408"/>
                  </a:lnTo>
                  <a:lnTo>
                    <a:pt x="23" y="405"/>
                  </a:lnTo>
                  <a:lnTo>
                    <a:pt x="21" y="403"/>
                  </a:lnTo>
                  <a:lnTo>
                    <a:pt x="19" y="401"/>
                  </a:lnTo>
                  <a:lnTo>
                    <a:pt x="15" y="399"/>
                  </a:lnTo>
                  <a:lnTo>
                    <a:pt x="13" y="395"/>
                  </a:lnTo>
                  <a:lnTo>
                    <a:pt x="11" y="393"/>
                  </a:lnTo>
                  <a:lnTo>
                    <a:pt x="7" y="391"/>
                  </a:lnTo>
                  <a:lnTo>
                    <a:pt x="5" y="389"/>
                  </a:lnTo>
                  <a:lnTo>
                    <a:pt x="3" y="385"/>
                  </a:lnTo>
                  <a:lnTo>
                    <a:pt x="2" y="383"/>
                  </a:lnTo>
                  <a:lnTo>
                    <a:pt x="0" y="382"/>
                  </a:lnTo>
                  <a:lnTo>
                    <a:pt x="2" y="380"/>
                  </a:lnTo>
                  <a:lnTo>
                    <a:pt x="3" y="376"/>
                  </a:lnTo>
                  <a:lnTo>
                    <a:pt x="5" y="368"/>
                  </a:lnTo>
                  <a:lnTo>
                    <a:pt x="7" y="362"/>
                  </a:lnTo>
                  <a:lnTo>
                    <a:pt x="11" y="359"/>
                  </a:lnTo>
                  <a:lnTo>
                    <a:pt x="13" y="357"/>
                  </a:lnTo>
                  <a:lnTo>
                    <a:pt x="15" y="355"/>
                  </a:lnTo>
                  <a:lnTo>
                    <a:pt x="19" y="353"/>
                  </a:lnTo>
                  <a:lnTo>
                    <a:pt x="21" y="351"/>
                  </a:lnTo>
                  <a:lnTo>
                    <a:pt x="23" y="347"/>
                  </a:lnTo>
                  <a:lnTo>
                    <a:pt x="25" y="345"/>
                  </a:lnTo>
                  <a:lnTo>
                    <a:pt x="28" y="343"/>
                  </a:lnTo>
                  <a:lnTo>
                    <a:pt x="30" y="339"/>
                  </a:lnTo>
                  <a:lnTo>
                    <a:pt x="32" y="337"/>
                  </a:lnTo>
                  <a:lnTo>
                    <a:pt x="40" y="336"/>
                  </a:lnTo>
                  <a:lnTo>
                    <a:pt x="48" y="334"/>
                  </a:lnTo>
                  <a:lnTo>
                    <a:pt x="50" y="330"/>
                  </a:lnTo>
                  <a:lnTo>
                    <a:pt x="51" y="328"/>
                  </a:lnTo>
                  <a:lnTo>
                    <a:pt x="59" y="320"/>
                  </a:lnTo>
                  <a:lnTo>
                    <a:pt x="67" y="312"/>
                  </a:lnTo>
                  <a:lnTo>
                    <a:pt x="69" y="311"/>
                  </a:lnTo>
                  <a:lnTo>
                    <a:pt x="71" y="309"/>
                  </a:lnTo>
                  <a:lnTo>
                    <a:pt x="74" y="307"/>
                  </a:lnTo>
                  <a:lnTo>
                    <a:pt x="76" y="305"/>
                  </a:lnTo>
                  <a:lnTo>
                    <a:pt x="78" y="301"/>
                  </a:lnTo>
                  <a:lnTo>
                    <a:pt x="80" y="299"/>
                  </a:lnTo>
                  <a:lnTo>
                    <a:pt x="84" y="301"/>
                  </a:lnTo>
                  <a:lnTo>
                    <a:pt x="86" y="305"/>
                  </a:lnTo>
                  <a:lnTo>
                    <a:pt x="96" y="305"/>
                  </a:lnTo>
                  <a:lnTo>
                    <a:pt x="105" y="305"/>
                  </a:lnTo>
                  <a:lnTo>
                    <a:pt x="107" y="301"/>
                  </a:lnTo>
                  <a:lnTo>
                    <a:pt x="111" y="299"/>
                  </a:lnTo>
                  <a:lnTo>
                    <a:pt x="113" y="291"/>
                  </a:lnTo>
                  <a:lnTo>
                    <a:pt x="115" y="284"/>
                  </a:lnTo>
                  <a:lnTo>
                    <a:pt x="117" y="282"/>
                  </a:lnTo>
                  <a:lnTo>
                    <a:pt x="121" y="280"/>
                  </a:lnTo>
                  <a:lnTo>
                    <a:pt x="132" y="278"/>
                  </a:lnTo>
                  <a:lnTo>
                    <a:pt x="144" y="274"/>
                  </a:lnTo>
                  <a:lnTo>
                    <a:pt x="145" y="272"/>
                  </a:lnTo>
                  <a:lnTo>
                    <a:pt x="149" y="270"/>
                  </a:lnTo>
                  <a:lnTo>
                    <a:pt x="151" y="268"/>
                  </a:lnTo>
                  <a:lnTo>
                    <a:pt x="153" y="265"/>
                  </a:lnTo>
                  <a:lnTo>
                    <a:pt x="155" y="263"/>
                  </a:lnTo>
                  <a:lnTo>
                    <a:pt x="159" y="261"/>
                  </a:lnTo>
                  <a:lnTo>
                    <a:pt x="159" y="245"/>
                  </a:lnTo>
                  <a:lnTo>
                    <a:pt x="159" y="232"/>
                  </a:lnTo>
                  <a:lnTo>
                    <a:pt x="155" y="228"/>
                  </a:lnTo>
                  <a:lnTo>
                    <a:pt x="153" y="226"/>
                  </a:lnTo>
                  <a:lnTo>
                    <a:pt x="155" y="224"/>
                  </a:lnTo>
                  <a:lnTo>
                    <a:pt x="159" y="222"/>
                  </a:lnTo>
                  <a:lnTo>
                    <a:pt x="161" y="215"/>
                  </a:lnTo>
                  <a:lnTo>
                    <a:pt x="163" y="207"/>
                  </a:lnTo>
                  <a:lnTo>
                    <a:pt x="167" y="205"/>
                  </a:lnTo>
                  <a:lnTo>
                    <a:pt x="168" y="203"/>
                  </a:lnTo>
                  <a:lnTo>
                    <a:pt x="168" y="194"/>
                  </a:lnTo>
                  <a:lnTo>
                    <a:pt x="168" y="184"/>
                  </a:lnTo>
                  <a:lnTo>
                    <a:pt x="167" y="180"/>
                  </a:lnTo>
                  <a:lnTo>
                    <a:pt x="163" y="178"/>
                  </a:lnTo>
                  <a:lnTo>
                    <a:pt x="163" y="169"/>
                  </a:lnTo>
                  <a:lnTo>
                    <a:pt x="163" y="159"/>
                  </a:lnTo>
                  <a:lnTo>
                    <a:pt x="167" y="157"/>
                  </a:lnTo>
                  <a:lnTo>
                    <a:pt x="168" y="153"/>
                  </a:lnTo>
                  <a:lnTo>
                    <a:pt x="176" y="151"/>
                  </a:lnTo>
                  <a:lnTo>
                    <a:pt x="182" y="149"/>
                  </a:lnTo>
                  <a:lnTo>
                    <a:pt x="184" y="147"/>
                  </a:lnTo>
                  <a:lnTo>
                    <a:pt x="188" y="146"/>
                  </a:lnTo>
                  <a:lnTo>
                    <a:pt x="190" y="142"/>
                  </a:lnTo>
                  <a:lnTo>
                    <a:pt x="191" y="140"/>
                  </a:lnTo>
                  <a:lnTo>
                    <a:pt x="195" y="136"/>
                  </a:lnTo>
                  <a:lnTo>
                    <a:pt x="197" y="134"/>
                  </a:lnTo>
                  <a:lnTo>
                    <a:pt x="199" y="132"/>
                  </a:lnTo>
                  <a:lnTo>
                    <a:pt x="201" y="130"/>
                  </a:lnTo>
                  <a:lnTo>
                    <a:pt x="205" y="126"/>
                  </a:lnTo>
                  <a:lnTo>
                    <a:pt x="207" y="124"/>
                  </a:lnTo>
                  <a:lnTo>
                    <a:pt x="209" y="123"/>
                  </a:lnTo>
                  <a:lnTo>
                    <a:pt x="211" y="121"/>
                  </a:lnTo>
                  <a:lnTo>
                    <a:pt x="213" y="119"/>
                  </a:lnTo>
                  <a:lnTo>
                    <a:pt x="216" y="115"/>
                  </a:lnTo>
                  <a:lnTo>
                    <a:pt x="218" y="113"/>
                  </a:lnTo>
                  <a:lnTo>
                    <a:pt x="222" y="111"/>
                  </a:lnTo>
                  <a:lnTo>
                    <a:pt x="224" y="107"/>
                  </a:lnTo>
                  <a:lnTo>
                    <a:pt x="226" y="105"/>
                  </a:lnTo>
                  <a:lnTo>
                    <a:pt x="228" y="103"/>
                  </a:lnTo>
                  <a:lnTo>
                    <a:pt x="232" y="101"/>
                  </a:lnTo>
                  <a:lnTo>
                    <a:pt x="234" y="98"/>
                  </a:lnTo>
                  <a:lnTo>
                    <a:pt x="236" y="96"/>
                  </a:lnTo>
                  <a:lnTo>
                    <a:pt x="238" y="88"/>
                  </a:lnTo>
                  <a:lnTo>
                    <a:pt x="239" y="80"/>
                  </a:lnTo>
                  <a:lnTo>
                    <a:pt x="243" y="78"/>
                  </a:lnTo>
                  <a:lnTo>
                    <a:pt x="245" y="76"/>
                  </a:lnTo>
                  <a:lnTo>
                    <a:pt x="247" y="69"/>
                  </a:lnTo>
                  <a:lnTo>
                    <a:pt x="251" y="63"/>
                  </a:lnTo>
                  <a:lnTo>
                    <a:pt x="253" y="59"/>
                  </a:lnTo>
                  <a:lnTo>
                    <a:pt x="255" y="57"/>
                  </a:lnTo>
                  <a:lnTo>
                    <a:pt x="257" y="50"/>
                  </a:lnTo>
                  <a:lnTo>
                    <a:pt x="261" y="42"/>
                  </a:lnTo>
                  <a:lnTo>
                    <a:pt x="262" y="40"/>
                  </a:lnTo>
                  <a:lnTo>
                    <a:pt x="264" y="38"/>
                  </a:lnTo>
                  <a:lnTo>
                    <a:pt x="270" y="25"/>
                  </a:lnTo>
                  <a:lnTo>
                    <a:pt x="272" y="15"/>
                  </a:lnTo>
                  <a:lnTo>
                    <a:pt x="272" y="9"/>
                  </a:lnTo>
                  <a:lnTo>
                    <a:pt x="270" y="4"/>
                  </a:lnTo>
                  <a:lnTo>
                    <a:pt x="272" y="2"/>
                  </a:lnTo>
                  <a:lnTo>
                    <a:pt x="274" y="0"/>
                  </a:lnTo>
                  <a:lnTo>
                    <a:pt x="284" y="0"/>
                  </a:lnTo>
                  <a:lnTo>
                    <a:pt x="293" y="0"/>
                  </a:lnTo>
                  <a:lnTo>
                    <a:pt x="295" y="2"/>
                  </a:lnTo>
                  <a:lnTo>
                    <a:pt x="299" y="4"/>
                  </a:lnTo>
                  <a:lnTo>
                    <a:pt x="301" y="11"/>
                  </a:lnTo>
                  <a:lnTo>
                    <a:pt x="303" y="19"/>
                  </a:lnTo>
                  <a:lnTo>
                    <a:pt x="307" y="21"/>
                  </a:lnTo>
                  <a:lnTo>
                    <a:pt x="309" y="23"/>
                  </a:lnTo>
                  <a:lnTo>
                    <a:pt x="310" y="27"/>
                  </a:lnTo>
                  <a:lnTo>
                    <a:pt x="312" y="29"/>
                  </a:lnTo>
                  <a:lnTo>
                    <a:pt x="316" y="30"/>
                  </a:lnTo>
                  <a:lnTo>
                    <a:pt x="318" y="32"/>
                  </a:lnTo>
                  <a:lnTo>
                    <a:pt x="320" y="36"/>
                  </a:lnTo>
                  <a:lnTo>
                    <a:pt x="322" y="38"/>
                  </a:lnTo>
                  <a:lnTo>
                    <a:pt x="326" y="40"/>
                  </a:lnTo>
                  <a:lnTo>
                    <a:pt x="328" y="42"/>
                  </a:lnTo>
                  <a:lnTo>
                    <a:pt x="330" y="46"/>
                  </a:lnTo>
                  <a:lnTo>
                    <a:pt x="332" y="48"/>
                  </a:lnTo>
                  <a:lnTo>
                    <a:pt x="335" y="50"/>
                  </a:lnTo>
                  <a:lnTo>
                    <a:pt x="337" y="52"/>
                  </a:lnTo>
                  <a:lnTo>
                    <a:pt x="339" y="55"/>
                  </a:lnTo>
                  <a:lnTo>
                    <a:pt x="343" y="57"/>
                  </a:lnTo>
                  <a:lnTo>
                    <a:pt x="345" y="59"/>
                  </a:lnTo>
                  <a:lnTo>
                    <a:pt x="347" y="63"/>
                  </a:lnTo>
                  <a:lnTo>
                    <a:pt x="349" y="65"/>
                  </a:lnTo>
                  <a:lnTo>
                    <a:pt x="353" y="67"/>
                  </a:lnTo>
                  <a:lnTo>
                    <a:pt x="355" y="69"/>
                  </a:lnTo>
                  <a:lnTo>
                    <a:pt x="357" y="73"/>
                  </a:lnTo>
                  <a:lnTo>
                    <a:pt x="358" y="84"/>
                  </a:lnTo>
                  <a:lnTo>
                    <a:pt x="360" y="96"/>
                  </a:lnTo>
                  <a:lnTo>
                    <a:pt x="364" y="98"/>
                  </a:lnTo>
                  <a:lnTo>
                    <a:pt x="366" y="101"/>
                  </a:lnTo>
                  <a:lnTo>
                    <a:pt x="366" y="111"/>
                  </a:lnTo>
                  <a:lnTo>
                    <a:pt x="366" y="121"/>
                  </a:lnTo>
                  <a:lnTo>
                    <a:pt x="364" y="123"/>
                  </a:lnTo>
                  <a:lnTo>
                    <a:pt x="360" y="124"/>
                  </a:lnTo>
                  <a:lnTo>
                    <a:pt x="360" y="149"/>
                  </a:lnTo>
                  <a:lnTo>
                    <a:pt x="360" y="174"/>
                  </a:lnTo>
                  <a:lnTo>
                    <a:pt x="364" y="176"/>
                  </a:lnTo>
                  <a:lnTo>
                    <a:pt x="366" y="178"/>
                  </a:lnTo>
                  <a:lnTo>
                    <a:pt x="366" y="203"/>
                  </a:lnTo>
                  <a:lnTo>
                    <a:pt x="366" y="228"/>
                  </a:lnTo>
                  <a:lnTo>
                    <a:pt x="366" y="255"/>
                  </a:lnTo>
                  <a:lnTo>
                    <a:pt x="366" y="280"/>
                  </a:lnTo>
                  <a:lnTo>
                    <a:pt x="374" y="280"/>
                  </a:lnTo>
                  <a:lnTo>
                    <a:pt x="381" y="280"/>
                  </a:lnTo>
                  <a:lnTo>
                    <a:pt x="383" y="282"/>
                  </a:lnTo>
                  <a:lnTo>
                    <a:pt x="385" y="284"/>
                  </a:lnTo>
                  <a:lnTo>
                    <a:pt x="393" y="291"/>
                  </a:lnTo>
                  <a:lnTo>
                    <a:pt x="401" y="299"/>
                  </a:lnTo>
                  <a:lnTo>
                    <a:pt x="403" y="301"/>
                  </a:lnTo>
                  <a:lnTo>
                    <a:pt x="404" y="305"/>
                  </a:lnTo>
                  <a:lnTo>
                    <a:pt x="406" y="316"/>
                  </a:lnTo>
                  <a:lnTo>
                    <a:pt x="410" y="328"/>
                  </a:lnTo>
                  <a:lnTo>
                    <a:pt x="412" y="330"/>
                  </a:lnTo>
                  <a:lnTo>
                    <a:pt x="414" y="334"/>
                  </a:lnTo>
                  <a:lnTo>
                    <a:pt x="414" y="357"/>
                  </a:lnTo>
                  <a:lnTo>
                    <a:pt x="414" y="382"/>
                  </a:lnTo>
                  <a:lnTo>
                    <a:pt x="412" y="383"/>
                  </a:lnTo>
                  <a:lnTo>
                    <a:pt x="410" y="385"/>
                  </a:lnTo>
                  <a:lnTo>
                    <a:pt x="406" y="399"/>
                  </a:lnTo>
                  <a:lnTo>
                    <a:pt x="404" y="410"/>
                  </a:lnTo>
                  <a:lnTo>
                    <a:pt x="403" y="412"/>
                  </a:lnTo>
                  <a:lnTo>
                    <a:pt x="401" y="416"/>
                  </a:lnTo>
                  <a:lnTo>
                    <a:pt x="378" y="418"/>
                  </a:lnTo>
                  <a:lnTo>
                    <a:pt x="357" y="420"/>
                  </a:lnTo>
                  <a:lnTo>
                    <a:pt x="355" y="422"/>
                  </a:lnTo>
                  <a:lnTo>
                    <a:pt x="353" y="426"/>
                  </a:lnTo>
                  <a:lnTo>
                    <a:pt x="349" y="428"/>
                  </a:lnTo>
                  <a:lnTo>
                    <a:pt x="347" y="430"/>
                  </a:lnTo>
                  <a:lnTo>
                    <a:pt x="345" y="431"/>
                  </a:lnTo>
                  <a:lnTo>
                    <a:pt x="343" y="435"/>
                  </a:lnTo>
                  <a:lnTo>
                    <a:pt x="339" y="437"/>
                  </a:lnTo>
                  <a:lnTo>
                    <a:pt x="337" y="439"/>
                  </a:lnTo>
                  <a:lnTo>
                    <a:pt x="335" y="441"/>
                  </a:lnTo>
                  <a:lnTo>
                    <a:pt x="332" y="445"/>
                  </a:lnTo>
                  <a:lnTo>
                    <a:pt x="332" y="449"/>
                  </a:lnTo>
                  <a:lnTo>
                    <a:pt x="332" y="454"/>
                  </a:lnTo>
                  <a:lnTo>
                    <a:pt x="335" y="456"/>
                  </a:lnTo>
                  <a:lnTo>
                    <a:pt x="337" y="458"/>
                  </a:lnTo>
                  <a:lnTo>
                    <a:pt x="337" y="468"/>
                  </a:lnTo>
                  <a:lnTo>
                    <a:pt x="337" y="478"/>
                  </a:lnTo>
                  <a:lnTo>
                    <a:pt x="335" y="479"/>
                  </a:lnTo>
                  <a:lnTo>
                    <a:pt x="332" y="483"/>
                  </a:lnTo>
                  <a:lnTo>
                    <a:pt x="314" y="485"/>
                  </a:lnTo>
                  <a:lnTo>
                    <a:pt x="299" y="487"/>
                  </a:lnTo>
                  <a:lnTo>
                    <a:pt x="295" y="491"/>
                  </a:lnTo>
                  <a:lnTo>
                    <a:pt x="293" y="493"/>
                  </a:lnTo>
                  <a:lnTo>
                    <a:pt x="284" y="493"/>
                  </a:lnTo>
                  <a:lnTo>
                    <a:pt x="274" y="493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2" name="Freeform 302">
              <a:extLst>
                <a:ext uri="{FF2B5EF4-FFF2-40B4-BE49-F238E27FC236}">
                  <a16:creationId xmlns:a16="http://schemas.microsoft.com/office/drawing/2014/main" xmlns="" id="{E8963A03-27B5-C147-A496-7C7FD050F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1113" y="4005078"/>
              <a:ext cx="588962" cy="603250"/>
            </a:xfrm>
            <a:custGeom>
              <a:avLst/>
              <a:gdLst>
                <a:gd name="T0" fmla="*/ 2147483647 w 378"/>
                <a:gd name="T1" fmla="*/ 2147483647 h 404"/>
                <a:gd name="T2" fmla="*/ 2147483647 w 378"/>
                <a:gd name="T3" fmla="*/ 2147483647 h 404"/>
                <a:gd name="T4" fmla="*/ 2147483647 w 378"/>
                <a:gd name="T5" fmla="*/ 2147483647 h 404"/>
                <a:gd name="T6" fmla="*/ 2147483647 w 378"/>
                <a:gd name="T7" fmla="*/ 2147483647 h 404"/>
                <a:gd name="T8" fmla="*/ 2147483647 w 378"/>
                <a:gd name="T9" fmla="*/ 2147483647 h 404"/>
                <a:gd name="T10" fmla="*/ 2147483647 w 378"/>
                <a:gd name="T11" fmla="*/ 2147483647 h 404"/>
                <a:gd name="T12" fmla="*/ 2147483647 w 378"/>
                <a:gd name="T13" fmla="*/ 2147483647 h 404"/>
                <a:gd name="T14" fmla="*/ 2147483647 w 378"/>
                <a:gd name="T15" fmla="*/ 2147483647 h 404"/>
                <a:gd name="T16" fmla="*/ 2147483647 w 378"/>
                <a:gd name="T17" fmla="*/ 2147483647 h 404"/>
                <a:gd name="T18" fmla="*/ 2147483647 w 378"/>
                <a:gd name="T19" fmla="*/ 2147483647 h 404"/>
                <a:gd name="T20" fmla="*/ 2147483647 w 378"/>
                <a:gd name="T21" fmla="*/ 2147483647 h 404"/>
                <a:gd name="T22" fmla="*/ 2147483647 w 378"/>
                <a:gd name="T23" fmla="*/ 2147483647 h 404"/>
                <a:gd name="T24" fmla="*/ 2147483647 w 378"/>
                <a:gd name="T25" fmla="*/ 2147483647 h 404"/>
                <a:gd name="T26" fmla="*/ 2147483647 w 378"/>
                <a:gd name="T27" fmla="*/ 2147483647 h 404"/>
                <a:gd name="T28" fmla="*/ 2147483647 w 378"/>
                <a:gd name="T29" fmla="*/ 2147483647 h 404"/>
                <a:gd name="T30" fmla="*/ 2147483647 w 378"/>
                <a:gd name="T31" fmla="*/ 2147483647 h 404"/>
                <a:gd name="T32" fmla="*/ 2147483647 w 378"/>
                <a:gd name="T33" fmla="*/ 2147483647 h 404"/>
                <a:gd name="T34" fmla="*/ 2147483647 w 378"/>
                <a:gd name="T35" fmla="*/ 2147483647 h 404"/>
                <a:gd name="T36" fmla="*/ 2147483647 w 378"/>
                <a:gd name="T37" fmla="*/ 2147483647 h 404"/>
                <a:gd name="T38" fmla="*/ 2147483647 w 378"/>
                <a:gd name="T39" fmla="*/ 2147483647 h 404"/>
                <a:gd name="T40" fmla="*/ 2147483647 w 378"/>
                <a:gd name="T41" fmla="*/ 2147483647 h 404"/>
                <a:gd name="T42" fmla="*/ 2147483647 w 378"/>
                <a:gd name="T43" fmla="*/ 2147483647 h 404"/>
                <a:gd name="T44" fmla="*/ 2147483647 w 378"/>
                <a:gd name="T45" fmla="*/ 2147483647 h 404"/>
                <a:gd name="T46" fmla="*/ 2147483647 w 378"/>
                <a:gd name="T47" fmla="*/ 2147483647 h 404"/>
                <a:gd name="T48" fmla="*/ 2147483647 w 378"/>
                <a:gd name="T49" fmla="*/ 2147483647 h 404"/>
                <a:gd name="T50" fmla="*/ 2147483647 w 378"/>
                <a:gd name="T51" fmla="*/ 2147483647 h 404"/>
                <a:gd name="T52" fmla="*/ 2147483647 w 378"/>
                <a:gd name="T53" fmla="*/ 2147483647 h 404"/>
                <a:gd name="T54" fmla="*/ 2147483647 w 378"/>
                <a:gd name="T55" fmla="*/ 2147483647 h 404"/>
                <a:gd name="T56" fmla="*/ 2147483647 w 378"/>
                <a:gd name="T57" fmla="*/ 2147483647 h 404"/>
                <a:gd name="T58" fmla="*/ 2147483647 w 378"/>
                <a:gd name="T59" fmla="*/ 2147483647 h 404"/>
                <a:gd name="T60" fmla="*/ 2147483647 w 378"/>
                <a:gd name="T61" fmla="*/ 2147483647 h 404"/>
                <a:gd name="T62" fmla="*/ 2147483647 w 378"/>
                <a:gd name="T63" fmla="*/ 2147483647 h 404"/>
                <a:gd name="T64" fmla="*/ 2147483647 w 378"/>
                <a:gd name="T65" fmla="*/ 2147483647 h 404"/>
                <a:gd name="T66" fmla="*/ 2147483647 w 378"/>
                <a:gd name="T67" fmla="*/ 2147483647 h 404"/>
                <a:gd name="T68" fmla="*/ 2147483647 w 378"/>
                <a:gd name="T69" fmla="*/ 2147483647 h 404"/>
                <a:gd name="T70" fmla="*/ 2147483647 w 378"/>
                <a:gd name="T71" fmla="*/ 2147483647 h 404"/>
                <a:gd name="T72" fmla="*/ 2147483647 w 378"/>
                <a:gd name="T73" fmla="*/ 2147483647 h 404"/>
                <a:gd name="T74" fmla="*/ 2147483647 w 378"/>
                <a:gd name="T75" fmla="*/ 2147483647 h 404"/>
                <a:gd name="T76" fmla="*/ 2147483647 w 378"/>
                <a:gd name="T77" fmla="*/ 2147483647 h 404"/>
                <a:gd name="T78" fmla="*/ 2147483647 w 378"/>
                <a:gd name="T79" fmla="*/ 2147483647 h 404"/>
                <a:gd name="T80" fmla="*/ 2147483647 w 378"/>
                <a:gd name="T81" fmla="*/ 2147483647 h 404"/>
                <a:gd name="T82" fmla="*/ 2147483647 w 378"/>
                <a:gd name="T83" fmla="*/ 2147483647 h 404"/>
                <a:gd name="T84" fmla="*/ 2147483647 w 378"/>
                <a:gd name="T85" fmla="*/ 2147483647 h 404"/>
                <a:gd name="T86" fmla="*/ 2147483647 w 378"/>
                <a:gd name="T87" fmla="*/ 2147483647 h 404"/>
                <a:gd name="T88" fmla="*/ 2147483647 w 378"/>
                <a:gd name="T89" fmla="*/ 2147483647 h 404"/>
                <a:gd name="T90" fmla="*/ 2147483647 w 378"/>
                <a:gd name="T91" fmla="*/ 2147483647 h 404"/>
                <a:gd name="T92" fmla="*/ 2147483647 w 378"/>
                <a:gd name="T93" fmla="*/ 2147483647 h 404"/>
                <a:gd name="T94" fmla="*/ 2147483647 w 378"/>
                <a:gd name="T95" fmla="*/ 2147483647 h 404"/>
                <a:gd name="T96" fmla="*/ 2147483647 w 378"/>
                <a:gd name="T97" fmla="*/ 2147483647 h 404"/>
                <a:gd name="T98" fmla="*/ 2147483647 w 378"/>
                <a:gd name="T99" fmla="*/ 2147483647 h 404"/>
                <a:gd name="T100" fmla="*/ 2147483647 w 378"/>
                <a:gd name="T101" fmla="*/ 2147483647 h 404"/>
                <a:gd name="T102" fmla="*/ 2147483647 w 378"/>
                <a:gd name="T103" fmla="*/ 2147483647 h 404"/>
                <a:gd name="T104" fmla="*/ 2147483647 w 378"/>
                <a:gd name="T105" fmla="*/ 2147483647 h 404"/>
                <a:gd name="T106" fmla="*/ 2147483647 w 378"/>
                <a:gd name="T107" fmla="*/ 2147483647 h 404"/>
                <a:gd name="T108" fmla="*/ 2147483647 w 378"/>
                <a:gd name="T109" fmla="*/ 2147483647 h 404"/>
                <a:gd name="T110" fmla="*/ 2147483647 w 378"/>
                <a:gd name="T111" fmla="*/ 2147483647 h 404"/>
                <a:gd name="T112" fmla="*/ 2147483647 w 378"/>
                <a:gd name="T113" fmla="*/ 2147483647 h 404"/>
                <a:gd name="T114" fmla="*/ 2147483647 w 378"/>
                <a:gd name="T115" fmla="*/ 2147483647 h 40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8"/>
                <a:gd name="T175" fmla="*/ 0 h 404"/>
                <a:gd name="T176" fmla="*/ 378 w 378"/>
                <a:gd name="T177" fmla="*/ 404 h 40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8" h="404">
                  <a:moveTo>
                    <a:pt x="101" y="404"/>
                  </a:moveTo>
                  <a:lnTo>
                    <a:pt x="99" y="402"/>
                  </a:lnTo>
                  <a:lnTo>
                    <a:pt x="96" y="401"/>
                  </a:lnTo>
                  <a:lnTo>
                    <a:pt x="94" y="393"/>
                  </a:lnTo>
                  <a:lnTo>
                    <a:pt x="92" y="385"/>
                  </a:lnTo>
                  <a:lnTo>
                    <a:pt x="90" y="383"/>
                  </a:lnTo>
                  <a:lnTo>
                    <a:pt x="86" y="381"/>
                  </a:lnTo>
                  <a:lnTo>
                    <a:pt x="86" y="374"/>
                  </a:lnTo>
                  <a:lnTo>
                    <a:pt x="86" y="366"/>
                  </a:lnTo>
                  <a:lnTo>
                    <a:pt x="78" y="366"/>
                  </a:lnTo>
                  <a:lnTo>
                    <a:pt x="73" y="366"/>
                  </a:lnTo>
                  <a:lnTo>
                    <a:pt x="69" y="364"/>
                  </a:lnTo>
                  <a:lnTo>
                    <a:pt x="67" y="362"/>
                  </a:lnTo>
                  <a:lnTo>
                    <a:pt x="61" y="358"/>
                  </a:lnTo>
                  <a:lnTo>
                    <a:pt x="53" y="356"/>
                  </a:lnTo>
                  <a:lnTo>
                    <a:pt x="51" y="355"/>
                  </a:lnTo>
                  <a:lnTo>
                    <a:pt x="48" y="353"/>
                  </a:lnTo>
                  <a:lnTo>
                    <a:pt x="40" y="349"/>
                  </a:lnTo>
                  <a:lnTo>
                    <a:pt x="34" y="347"/>
                  </a:lnTo>
                  <a:lnTo>
                    <a:pt x="30" y="345"/>
                  </a:lnTo>
                  <a:lnTo>
                    <a:pt x="28" y="343"/>
                  </a:lnTo>
                  <a:lnTo>
                    <a:pt x="26" y="335"/>
                  </a:lnTo>
                  <a:lnTo>
                    <a:pt x="25" y="328"/>
                  </a:lnTo>
                  <a:lnTo>
                    <a:pt x="21" y="326"/>
                  </a:lnTo>
                  <a:lnTo>
                    <a:pt x="19" y="324"/>
                  </a:lnTo>
                  <a:lnTo>
                    <a:pt x="11" y="316"/>
                  </a:lnTo>
                  <a:lnTo>
                    <a:pt x="5" y="308"/>
                  </a:lnTo>
                  <a:lnTo>
                    <a:pt x="2" y="307"/>
                  </a:lnTo>
                  <a:lnTo>
                    <a:pt x="0" y="303"/>
                  </a:lnTo>
                  <a:lnTo>
                    <a:pt x="2" y="301"/>
                  </a:lnTo>
                  <a:lnTo>
                    <a:pt x="5" y="299"/>
                  </a:lnTo>
                  <a:lnTo>
                    <a:pt x="7" y="297"/>
                  </a:lnTo>
                  <a:lnTo>
                    <a:pt x="9" y="293"/>
                  </a:lnTo>
                  <a:lnTo>
                    <a:pt x="11" y="291"/>
                  </a:lnTo>
                  <a:lnTo>
                    <a:pt x="13" y="289"/>
                  </a:lnTo>
                  <a:lnTo>
                    <a:pt x="17" y="287"/>
                  </a:lnTo>
                  <a:lnTo>
                    <a:pt x="19" y="284"/>
                  </a:lnTo>
                  <a:lnTo>
                    <a:pt x="21" y="282"/>
                  </a:lnTo>
                  <a:lnTo>
                    <a:pt x="25" y="280"/>
                  </a:lnTo>
                  <a:lnTo>
                    <a:pt x="26" y="278"/>
                  </a:lnTo>
                  <a:lnTo>
                    <a:pt x="28" y="274"/>
                  </a:lnTo>
                  <a:lnTo>
                    <a:pt x="30" y="272"/>
                  </a:lnTo>
                  <a:lnTo>
                    <a:pt x="34" y="270"/>
                  </a:lnTo>
                  <a:lnTo>
                    <a:pt x="36" y="253"/>
                  </a:lnTo>
                  <a:lnTo>
                    <a:pt x="38" y="236"/>
                  </a:lnTo>
                  <a:lnTo>
                    <a:pt x="40" y="234"/>
                  </a:lnTo>
                  <a:lnTo>
                    <a:pt x="44" y="232"/>
                  </a:lnTo>
                  <a:lnTo>
                    <a:pt x="46" y="218"/>
                  </a:lnTo>
                  <a:lnTo>
                    <a:pt x="48" y="207"/>
                  </a:lnTo>
                  <a:lnTo>
                    <a:pt x="51" y="205"/>
                  </a:lnTo>
                  <a:lnTo>
                    <a:pt x="53" y="203"/>
                  </a:lnTo>
                  <a:lnTo>
                    <a:pt x="55" y="180"/>
                  </a:lnTo>
                  <a:lnTo>
                    <a:pt x="57" y="159"/>
                  </a:lnTo>
                  <a:lnTo>
                    <a:pt x="59" y="155"/>
                  </a:lnTo>
                  <a:lnTo>
                    <a:pt x="63" y="153"/>
                  </a:lnTo>
                  <a:lnTo>
                    <a:pt x="65" y="151"/>
                  </a:lnTo>
                  <a:lnTo>
                    <a:pt x="67" y="149"/>
                  </a:lnTo>
                  <a:lnTo>
                    <a:pt x="69" y="145"/>
                  </a:lnTo>
                  <a:lnTo>
                    <a:pt x="73" y="143"/>
                  </a:lnTo>
                  <a:lnTo>
                    <a:pt x="74" y="145"/>
                  </a:lnTo>
                  <a:lnTo>
                    <a:pt x="78" y="149"/>
                  </a:lnTo>
                  <a:lnTo>
                    <a:pt x="80" y="155"/>
                  </a:lnTo>
                  <a:lnTo>
                    <a:pt x="82" y="165"/>
                  </a:lnTo>
                  <a:lnTo>
                    <a:pt x="84" y="166"/>
                  </a:lnTo>
                  <a:lnTo>
                    <a:pt x="86" y="168"/>
                  </a:lnTo>
                  <a:lnTo>
                    <a:pt x="109" y="168"/>
                  </a:lnTo>
                  <a:lnTo>
                    <a:pt x="130" y="168"/>
                  </a:lnTo>
                  <a:lnTo>
                    <a:pt x="151" y="168"/>
                  </a:lnTo>
                  <a:lnTo>
                    <a:pt x="174" y="168"/>
                  </a:lnTo>
                  <a:lnTo>
                    <a:pt x="176" y="166"/>
                  </a:lnTo>
                  <a:lnTo>
                    <a:pt x="178" y="165"/>
                  </a:lnTo>
                  <a:lnTo>
                    <a:pt x="178" y="153"/>
                  </a:lnTo>
                  <a:lnTo>
                    <a:pt x="178" y="143"/>
                  </a:lnTo>
                  <a:lnTo>
                    <a:pt x="176" y="142"/>
                  </a:lnTo>
                  <a:lnTo>
                    <a:pt x="174" y="140"/>
                  </a:lnTo>
                  <a:lnTo>
                    <a:pt x="170" y="138"/>
                  </a:lnTo>
                  <a:lnTo>
                    <a:pt x="168" y="134"/>
                  </a:lnTo>
                  <a:lnTo>
                    <a:pt x="167" y="132"/>
                  </a:lnTo>
                  <a:lnTo>
                    <a:pt x="165" y="130"/>
                  </a:lnTo>
                  <a:lnTo>
                    <a:pt x="165" y="124"/>
                  </a:lnTo>
                  <a:lnTo>
                    <a:pt x="165" y="120"/>
                  </a:lnTo>
                  <a:lnTo>
                    <a:pt x="167" y="117"/>
                  </a:lnTo>
                  <a:lnTo>
                    <a:pt x="168" y="115"/>
                  </a:lnTo>
                  <a:lnTo>
                    <a:pt x="170" y="107"/>
                  </a:lnTo>
                  <a:lnTo>
                    <a:pt x="174" y="99"/>
                  </a:lnTo>
                  <a:lnTo>
                    <a:pt x="176" y="97"/>
                  </a:lnTo>
                  <a:lnTo>
                    <a:pt x="178" y="95"/>
                  </a:lnTo>
                  <a:lnTo>
                    <a:pt x="180" y="78"/>
                  </a:lnTo>
                  <a:lnTo>
                    <a:pt x="184" y="61"/>
                  </a:lnTo>
                  <a:lnTo>
                    <a:pt x="186" y="59"/>
                  </a:lnTo>
                  <a:lnTo>
                    <a:pt x="188" y="57"/>
                  </a:lnTo>
                  <a:lnTo>
                    <a:pt x="191" y="46"/>
                  </a:lnTo>
                  <a:lnTo>
                    <a:pt x="193" y="32"/>
                  </a:lnTo>
                  <a:lnTo>
                    <a:pt x="195" y="30"/>
                  </a:lnTo>
                  <a:lnTo>
                    <a:pt x="197" y="28"/>
                  </a:lnTo>
                  <a:lnTo>
                    <a:pt x="201" y="28"/>
                  </a:lnTo>
                  <a:lnTo>
                    <a:pt x="203" y="26"/>
                  </a:lnTo>
                  <a:lnTo>
                    <a:pt x="203" y="21"/>
                  </a:lnTo>
                  <a:lnTo>
                    <a:pt x="203" y="9"/>
                  </a:lnTo>
                  <a:lnTo>
                    <a:pt x="220" y="7"/>
                  </a:lnTo>
                  <a:lnTo>
                    <a:pt x="238" y="5"/>
                  </a:lnTo>
                  <a:lnTo>
                    <a:pt x="253" y="5"/>
                  </a:lnTo>
                  <a:lnTo>
                    <a:pt x="270" y="3"/>
                  </a:lnTo>
                  <a:lnTo>
                    <a:pt x="272" y="1"/>
                  </a:lnTo>
                  <a:lnTo>
                    <a:pt x="276" y="0"/>
                  </a:lnTo>
                  <a:lnTo>
                    <a:pt x="278" y="1"/>
                  </a:lnTo>
                  <a:lnTo>
                    <a:pt x="280" y="3"/>
                  </a:lnTo>
                  <a:lnTo>
                    <a:pt x="297" y="5"/>
                  </a:lnTo>
                  <a:lnTo>
                    <a:pt x="314" y="9"/>
                  </a:lnTo>
                  <a:lnTo>
                    <a:pt x="316" y="11"/>
                  </a:lnTo>
                  <a:lnTo>
                    <a:pt x="318" y="13"/>
                  </a:lnTo>
                  <a:lnTo>
                    <a:pt x="322" y="15"/>
                  </a:lnTo>
                  <a:lnTo>
                    <a:pt x="324" y="19"/>
                  </a:lnTo>
                  <a:lnTo>
                    <a:pt x="326" y="21"/>
                  </a:lnTo>
                  <a:lnTo>
                    <a:pt x="328" y="23"/>
                  </a:lnTo>
                  <a:lnTo>
                    <a:pt x="328" y="24"/>
                  </a:lnTo>
                  <a:lnTo>
                    <a:pt x="330" y="26"/>
                  </a:lnTo>
                  <a:lnTo>
                    <a:pt x="332" y="26"/>
                  </a:lnTo>
                  <a:lnTo>
                    <a:pt x="335" y="28"/>
                  </a:lnTo>
                  <a:lnTo>
                    <a:pt x="349" y="28"/>
                  </a:lnTo>
                  <a:lnTo>
                    <a:pt x="378" y="28"/>
                  </a:lnTo>
                  <a:lnTo>
                    <a:pt x="378" y="40"/>
                  </a:lnTo>
                  <a:lnTo>
                    <a:pt x="378" y="51"/>
                  </a:lnTo>
                  <a:lnTo>
                    <a:pt x="374" y="55"/>
                  </a:lnTo>
                  <a:lnTo>
                    <a:pt x="372" y="57"/>
                  </a:lnTo>
                  <a:lnTo>
                    <a:pt x="370" y="65"/>
                  </a:lnTo>
                  <a:lnTo>
                    <a:pt x="368" y="71"/>
                  </a:lnTo>
                  <a:lnTo>
                    <a:pt x="364" y="74"/>
                  </a:lnTo>
                  <a:lnTo>
                    <a:pt x="362" y="76"/>
                  </a:lnTo>
                  <a:lnTo>
                    <a:pt x="360" y="84"/>
                  </a:lnTo>
                  <a:lnTo>
                    <a:pt x="356" y="92"/>
                  </a:lnTo>
                  <a:lnTo>
                    <a:pt x="355" y="94"/>
                  </a:lnTo>
                  <a:lnTo>
                    <a:pt x="353" y="95"/>
                  </a:lnTo>
                  <a:lnTo>
                    <a:pt x="351" y="103"/>
                  </a:lnTo>
                  <a:lnTo>
                    <a:pt x="349" y="111"/>
                  </a:lnTo>
                  <a:lnTo>
                    <a:pt x="345" y="113"/>
                  </a:lnTo>
                  <a:lnTo>
                    <a:pt x="343" y="115"/>
                  </a:lnTo>
                  <a:lnTo>
                    <a:pt x="341" y="117"/>
                  </a:lnTo>
                  <a:lnTo>
                    <a:pt x="339" y="120"/>
                  </a:lnTo>
                  <a:lnTo>
                    <a:pt x="335" y="122"/>
                  </a:lnTo>
                  <a:lnTo>
                    <a:pt x="333" y="124"/>
                  </a:lnTo>
                  <a:lnTo>
                    <a:pt x="330" y="126"/>
                  </a:lnTo>
                  <a:lnTo>
                    <a:pt x="328" y="130"/>
                  </a:lnTo>
                  <a:lnTo>
                    <a:pt x="326" y="132"/>
                  </a:lnTo>
                  <a:lnTo>
                    <a:pt x="324" y="134"/>
                  </a:lnTo>
                  <a:lnTo>
                    <a:pt x="322" y="138"/>
                  </a:lnTo>
                  <a:lnTo>
                    <a:pt x="318" y="140"/>
                  </a:lnTo>
                  <a:lnTo>
                    <a:pt x="316" y="142"/>
                  </a:lnTo>
                  <a:lnTo>
                    <a:pt x="314" y="143"/>
                  </a:lnTo>
                  <a:lnTo>
                    <a:pt x="312" y="145"/>
                  </a:lnTo>
                  <a:lnTo>
                    <a:pt x="308" y="149"/>
                  </a:lnTo>
                  <a:lnTo>
                    <a:pt x="307" y="151"/>
                  </a:lnTo>
                  <a:lnTo>
                    <a:pt x="305" y="153"/>
                  </a:lnTo>
                  <a:lnTo>
                    <a:pt x="301" y="155"/>
                  </a:lnTo>
                  <a:lnTo>
                    <a:pt x="299" y="159"/>
                  </a:lnTo>
                  <a:lnTo>
                    <a:pt x="297" y="161"/>
                  </a:lnTo>
                  <a:lnTo>
                    <a:pt x="295" y="165"/>
                  </a:lnTo>
                  <a:lnTo>
                    <a:pt x="287" y="166"/>
                  </a:lnTo>
                  <a:lnTo>
                    <a:pt x="280" y="168"/>
                  </a:lnTo>
                  <a:lnTo>
                    <a:pt x="278" y="170"/>
                  </a:lnTo>
                  <a:lnTo>
                    <a:pt x="276" y="172"/>
                  </a:lnTo>
                  <a:lnTo>
                    <a:pt x="272" y="178"/>
                  </a:lnTo>
                  <a:lnTo>
                    <a:pt x="272" y="188"/>
                  </a:lnTo>
                  <a:lnTo>
                    <a:pt x="272" y="197"/>
                  </a:lnTo>
                  <a:lnTo>
                    <a:pt x="276" y="203"/>
                  </a:lnTo>
                  <a:lnTo>
                    <a:pt x="278" y="205"/>
                  </a:lnTo>
                  <a:lnTo>
                    <a:pt x="280" y="207"/>
                  </a:lnTo>
                  <a:lnTo>
                    <a:pt x="280" y="211"/>
                  </a:lnTo>
                  <a:lnTo>
                    <a:pt x="280" y="216"/>
                  </a:lnTo>
                  <a:lnTo>
                    <a:pt x="278" y="218"/>
                  </a:lnTo>
                  <a:lnTo>
                    <a:pt x="276" y="222"/>
                  </a:lnTo>
                  <a:lnTo>
                    <a:pt x="272" y="228"/>
                  </a:lnTo>
                  <a:lnTo>
                    <a:pt x="270" y="236"/>
                  </a:lnTo>
                  <a:lnTo>
                    <a:pt x="268" y="237"/>
                  </a:lnTo>
                  <a:lnTo>
                    <a:pt x="266" y="241"/>
                  </a:lnTo>
                  <a:lnTo>
                    <a:pt x="266" y="245"/>
                  </a:lnTo>
                  <a:lnTo>
                    <a:pt x="266" y="251"/>
                  </a:lnTo>
                  <a:lnTo>
                    <a:pt x="268" y="253"/>
                  </a:lnTo>
                  <a:lnTo>
                    <a:pt x="270" y="255"/>
                  </a:lnTo>
                  <a:lnTo>
                    <a:pt x="270" y="264"/>
                  </a:lnTo>
                  <a:lnTo>
                    <a:pt x="270" y="274"/>
                  </a:lnTo>
                  <a:lnTo>
                    <a:pt x="268" y="278"/>
                  </a:lnTo>
                  <a:lnTo>
                    <a:pt x="266" y="280"/>
                  </a:lnTo>
                  <a:lnTo>
                    <a:pt x="262" y="282"/>
                  </a:lnTo>
                  <a:lnTo>
                    <a:pt x="261" y="284"/>
                  </a:lnTo>
                  <a:lnTo>
                    <a:pt x="259" y="287"/>
                  </a:lnTo>
                  <a:lnTo>
                    <a:pt x="257" y="289"/>
                  </a:lnTo>
                  <a:lnTo>
                    <a:pt x="243" y="291"/>
                  </a:lnTo>
                  <a:lnTo>
                    <a:pt x="232" y="293"/>
                  </a:lnTo>
                  <a:lnTo>
                    <a:pt x="230" y="297"/>
                  </a:lnTo>
                  <a:lnTo>
                    <a:pt x="228" y="299"/>
                  </a:lnTo>
                  <a:lnTo>
                    <a:pt x="224" y="307"/>
                  </a:lnTo>
                  <a:lnTo>
                    <a:pt x="222" y="314"/>
                  </a:lnTo>
                  <a:lnTo>
                    <a:pt x="220" y="316"/>
                  </a:lnTo>
                  <a:lnTo>
                    <a:pt x="216" y="318"/>
                  </a:lnTo>
                  <a:lnTo>
                    <a:pt x="213" y="318"/>
                  </a:lnTo>
                  <a:lnTo>
                    <a:pt x="207" y="318"/>
                  </a:lnTo>
                  <a:lnTo>
                    <a:pt x="205" y="316"/>
                  </a:lnTo>
                  <a:lnTo>
                    <a:pt x="203" y="314"/>
                  </a:lnTo>
                  <a:lnTo>
                    <a:pt x="197" y="314"/>
                  </a:lnTo>
                  <a:lnTo>
                    <a:pt x="193" y="314"/>
                  </a:lnTo>
                  <a:lnTo>
                    <a:pt x="191" y="316"/>
                  </a:lnTo>
                  <a:lnTo>
                    <a:pt x="188" y="318"/>
                  </a:lnTo>
                  <a:lnTo>
                    <a:pt x="186" y="320"/>
                  </a:lnTo>
                  <a:lnTo>
                    <a:pt x="184" y="324"/>
                  </a:lnTo>
                  <a:lnTo>
                    <a:pt x="180" y="326"/>
                  </a:lnTo>
                  <a:lnTo>
                    <a:pt x="178" y="328"/>
                  </a:lnTo>
                  <a:lnTo>
                    <a:pt x="170" y="328"/>
                  </a:lnTo>
                  <a:lnTo>
                    <a:pt x="165" y="328"/>
                  </a:lnTo>
                  <a:lnTo>
                    <a:pt x="165" y="335"/>
                  </a:lnTo>
                  <a:lnTo>
                    <a:pt x="165" y="343"/>
                  </a:lnTo>
                  <a:lnTo>
                    <a:pt x="161" y="345"/>
                  </a:lnTo>
                  <a:lnTo>
                    <a:pt x="159" y="347"/>
                  </a:lnTo>
                  <a:lnTo>
                    <a:pt x="151" y="349"/>
                  </a:lnTo>
                  <a:lnTo>
                    <a:pt x="145" y="353"/>
                  </a:lnTo>
                  <a:lnTo>
                    <a:pt x="142" y="355"/>
                  </a:lnTo>
                  <a:lnTo>
                    <a:pt x="140" y="356"/>
                  </a:lnTo>
                  <a:lnTo>
                    <a:pt x="138" y="358"/>
                  </a:lnTo>
                  <a:lnTo>
                    <a:pt x="136" y="362"/>
                  </a:lnTo>
                  <a:lnTo>
                    <a:pt x="132" y="364"/>
                  </a:lnTo>
                  <a:lnTo>
                    <a:pt x="130" y="366"/>
                  </a:lnTo>
                  <a:lnTo>
                    <a:pt x="128" y="370"/>
                  </a:lnTo>
                  <a:lnTo>
                    <a:pt x="124" y="372"/>
                  </a:lnTo>
                  <a:lnTo>
                    <a:pt x="122" y="374"/>
                  </a:lnTo>
                  <a:lnTo>
                    <a:pt x="120" y="376"/>
                  </a:lnTo>
                  <a:lnTo>
                    <a:pt x="119" y="383"/>
                  </a:lnTo>
                  <a:lnTo>
                    <a:pt x="117" y="391"/>
                  </a:lnTo>
                  <a:lnTo>
                    <a:pt x="113" y="393"/>
                  </a:lnTo>
                  <a:lnTo>
                    <a:pt x="111" y="395"/>
                  </a:lnTo>
                  <a:lnTo>
                    <a:pt x="109" y="399"/>
                  </a:lnTo>
                  <a:lnTo>
                    <a:pt x="107" y="401"/>
                  </a:lnTo>
                  <a:lnTo>
                    <a:pt x="103" y="402"/>
                  </a:lnTo>
                  <a:lnTo>
                    <a:pt x="101" y="404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3" name="Freeform 303">
              <a:extLst>
                <a:ext uri="{FF2B5EF4-FFF2-40B4-BE49-F238E27FC236}">
                  <a16:creationId xmlns:a16="http://schemas.microsoft.com/office/drawing/2014/main" xmlns="" id="{B9838F0A-873D-874B-A46C-EC24B3DE31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8700" y="5437003"/>
              <a:ext cx="109538" cy="157163"/>
            </a:xfrm>
            <a:custGeom>
              <a:avLst/>
              <a:gdLst>
                <a:gd name="T0" fmla="*/ 2147483647 w 71"/>
                <a:gd name="T1" fmla="*/ 0 h 106"/>
                <a:gd name="T2" fmla="*/ 2147483647 w 71"/>
                <a:gd name="T3" fmla="*/ 2147483647 h 106"/>
                <a:gd name="T4" fmla="*/ 2147483647 w 71"/>
                <a:gd name="T5" fmla="*/ 2147483647 h 106"/>
                <a:gd name="T6" fmla="*/ 2147483647 w 71"/>
                <a:gd name="T7" fmla="*/ 2147483647 h 106"/>
                <a:gd name="T8" fmla="*/ 2147483647 w 71"/>
                <a:gd name="T9" fmla="*/ 2147483647 h 106"/>
                <a:gd name="T10" fmla="*/ 2147483647 w 71"/>
                <a:gd name="T11" fmla="*/ 2147483647 h 106"/>
                <a:gd name="T12" fmla="*/ 2147483647 w 71"/>
                <a:gd name="T13" fmla="*/ 2147483647 h 106"/>
                <a:gd name="T14" fmla="*/ 2147483647 w 71"/>
                <a:gd name="T15" fmla="*/ 2147483647 h 106"/>
                <a:gd name="T16" fmla="*/ 2147483647 w 71"/>
                <a:gd name="T17" fmla="*/ 2147483647 h 106"/>
                <a:gd name="T18" fmla="*/ 2147483647 w 71"/>
                <a:gd name="T19" fmla="*/ 2147483647 h 106"/>
                <a:gd name="T20" fmla="*/ 2147483647 w 71"/>
                <a:gd name="T21" fmla="*/ 2147483647 h 106"/>
                <a:gd name="T22" fmla="*/ 2147483647 w 71"/>
                <a:gd name="T23" fmla="*/ 2147483647 h 106"/>
                <a:gd name="T24" fmla="*/ 2147483647 w 71"/>
                <a:gd name="T25" fmla="*/ 2147483647 h 106"/>
                <a:gd name="T26" fmla="*/ 2147483647 w 71"/>
                <a:gd name="T27" fmla="*/ 2147483647 h 106"/>
                <a:gd name="T28" fmla="*/ 2147483647 w 71"/>
                <a:gd name="T29" fmla="*/ 2147483647 h 106"/>
                <a:gd name="T30" fmla="*/ 2147483647 w 71"/>
                <a:gd name="T31" fmla="*/ 2147483647 h 106"/>
                <a:gd name="T32" fmla="*/ 2147483647 w 71"/>
                <a:gd name="T33" fmla="*/ 2147483647 h 106"/>
                <a:gd name="T34" fmla="*/ 2147483647 w 71"/>
                <a:gd name="T35" fmla="*/ 2147483647 h 106"/>
                <a:gd name="T36" fmla="*/ 2147483647 w 71"/>
                <a:gd name="T37" fmla="*/ 2147483647 h 106"/>
                <a:gd name="T38" fmla="*/ 2147483647 w 71"/>
                <a:gd name="T39" fmla="*/ 2147483647 h 106"/>
                <a:gd name="T40" fmla="*/ 2147483647 w 71"/>
                <a:gd name="T41" fmla="*/ 2147483647 h 106"/>
                <a:gd name="T42" fmla="*/ 2147483647 w 71"/>
                <a:gd name="T43" fmla="*/ 2147483647 h 106"/>
                <a:gd name="T44" fmla="*/ 2147483647 w 71"/>
                <a:gd name="T45" fmla="*/ 2147483647 h 106"/>
                <a:gd name="T46" fmla="*/ 2147483647 w 71"/>
                <a:gd name="T47" fmla="*/ 2147483647 h 106"/>
                <a:gd name="T48" fmla="*/ 2147483647 w 71"/>
                <a:gd name="T49" fmla="*/ 2147483647 h 106"/>
                <a:gd name="T50" fmla="*/ 2147483647 w 71"/>
                <a:gd name="T51" fmla="*/ 2147483647 h 106"/>
                <a:gd name="T52" fmla="*/ 2147483647 w 71"/>
                <a:gd name="T53" fmla="*/ 2147483647 h 106"/>
                <a:gd name="T54" fmla="*/ 2147483647 w 71"/>
                <a:gd name="T55" fmla="*/ 2147483647 h 106"/>
                <a:gd name="T56" fmla="*/ 2147483647 w 71"/>
                <a:gd name="T57" fmla="*/ 2147483647 h 106"/>
                <a:gd name="T58" fmla="*/ 2147483647 w 71"/>
                <a:gd name="T59" fmla="*/ 2147483647 h 106"/>
                <a:gd name="T60" fmla="*/ 2147483647 w 71"/>
                <a:gd name="T61" fmla="*/ 2147483647 h 106"/>
                <a:gd name="T62" fmla="*/ 2147483647 w 71"/>
                <a:gd name="T63" fmla="*/ 2147483647 h 106"/>
                <a:gd name="T64" fmla="*/ 2147483647 w 71"/>
                <a:gd name="T65" fmla="*/ 2147483647 h 106"/>
                <a:gd name="T66" fmla="*/ 2147483647 w 71"/>
                <a:gd name="T67" fmla="*/ 2147483647 h 106"/>
                <a:gd name="T68" fmla="*/ 2147483647 w 71"/>
                <a:gd name="T69" fmla="*/ 2147483647 h 106"/>
                <a:gd name="T70" fmla="*/ 0 w 71"/>
                <a:gd name="T71" fmla="*/ 2147483647 h 106"/>
                <a:gd name="T72" fmla="*/ 0 w 71"/>
                <a:gd name="T73" fmla="*/ 2147483647 h 106"/>
                <a:gd name="T74" fmla="*/ 2147483647 w 71"/>
                <a:gd name="T75" fmla="*/ 2147483647 h 106"/>
                <a:gd name="T76" fmla="*/ 2147483647 w 71"/>
                <a:gd name="T77" fmla="*/ 0 h 106"/>
                <a:gd name="T78" fmla="*/ 2147483647 w 71"/>
                <a:gd name="T79" fmla="*/ 0 h 106"/>
                <a:gd name="T80" fmla="*/ 2147483647 w 71"/>
                <a:gd name="T81" fmla="*/ 0 h 1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1"/>
                <a:gd name="T124" fmla="*/ 0 h 106"/>
                <a:gd name="T125" fmla="*/ 71 w 71"/>
                <a:gd name="T126" fmla="*/ 106 h 10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1" h="106">
                  <a:moveTo>
                    <a:pt x="27" y="0"/>
                  </a:moveTo>
                  <a:lnTo>
                    <a:pt x="31" y="2"/>
                  </a:lnTo>
                  <a:lnTo>
                    <a:pt x="33" y="4"/>
                  </a:lnTo>
                  <a:lnTo>
                    <a:pt x="35" y="6"/>
                  </a:lnTo>
                  <a:lnTo>
                    <a:pt x="39" y="10"/>
                  </a:lnTo>
                  <a:lnTo>
                    <a:pt x="40" y="12"/>
                  </a:lnTo>
                  <a:lnTo>
                    <a:pt x="42" y="13"/>
                  </a:lnTo>
                  <a:lnTo>
                    <a:pt x="44" y="21"/>
                  </a:lnTo>
                  <a:lnTo>
                    <a:pt x="48" y="29"/>
                  </a:lnTo>
                  <a:lnTo>
                    <a:pt x="50" y="31"/>
                  </a:lnTo>
                  <a:lnTo>
                    <a:pt x="52" y="33"/>
                  </a:lnTo>
                  <a:lnTo>
                    <a:pt x="62" y="38"/>
                  </a:lnTo>
                  <a:lnTo>
                    <a:pt x="71" y="42"/>
                  </a:lnTo>
                  <a:lnTo>
                    <a:pt x="69" y="44"/>
                  </a:lnTo>
                  <a:lnTo>
                    <a:pt x="67" y="48"/>
                  </a:lnTo>
                  <a:lnTo>
                    <a:pt x="63" y="50"/>
                  </a:lnTo>
                  <a:lnTo>
                    <a:pt x="62" y="54"/>
                  </a:lnTo>
                  <a:lnTo>
                    <a:pt x="60" y="56"/>
                  </a:lnTo>
                  <a:lnTo>
                    <a:pt x="58" y="58"/>
                  </a:lnTo>
                  <a:lnTo>
                    <a:pt x="54" y="59"/>
                  </a:lnTo>
                  <a:lnTo>
                    <a:pt x="52" y="63"/>
                  </a:lnTo>
                  <a:lnTo>
                    <a:pt x="50" y="65"/>
                  </a:lnTo>
                  <a:lnTo>
                    <a:pt x="48" y="67"/>
                  </a:lnTo>
                  <a:lnTo>
                    <a:pt x="40" y="67"/>
                  </a:lnTo>
                  <a:lnTo>
                    <a:pt x="33" y="67"/>
                  </a:lnTo>
                  <a:lnTo>
                    <a:pt x="33" y="75"/>
                  </a:lnTo>
                  <a:lnTo>
                    <a:pt x="33" y="83"/>
                  </a:lnTo>
                  <a:lnTo>
                    <a:pt x="31" y="84"/>
                  </a:lnTo>
                  <a:lnTo>
                    <a:pt x="27" y="86"/>
                  </a:lnTo>
                  <a:lnTo>
                    <a:pt x="25" y="94"/>
                  </a:lnTo>
                  <a:lnTo>
                    <a:pt x="23" y="102"/>
                  </a:lnTo>
                  <a:lnTo>
                    <a:pt x="21" y="104"/>
                  </a:lnTo>
                  <a:lnTo>
                    <a:pt x="19" y="106"/>
                  </a:lnTo>
                  <a:lnTo>
                    <a:pt x="10" y="94"/>
                  </a:lnTo>
                  <a:lnTo>
                    <a:pt x="4" y="81"/>
                  </a:lnTo>
                  <a:lnTo>
                    <a:pt x="0" y="69"/>
                  </a:lnTo>
                  <a:lnTo>
                    <a:pt x="0" y="56"/>
                  </a:lnTo>
                  <a:lnTo>
                    <a:pt x="2" y="29"/>
                  </a:lnTo>
                  <a:lnTo>
                    <a:pt x="4" y="0"/>
                  </a:lnTo>
                  <a:lnTo>
                    <a:pt x="16" y="0"/>
                  </a:lnTo>
                  <a:lnTo>
                    <a:pt x="27" y="0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grpSp>
          <p:nvGrpSpPr>
            <p:cNvPr id="34" name="Group 174">
              <a:extLst>
                <a:ext uri="{FF2B5EF4-FFF2-40B4-BE49-F238E27FC236}">
                  <a16:creationId xmlns:a16="http://schemas.microsoft.com/office/drawing/2014/main" xmlns="" id="{C1D002E5-B0E5-4348-AE3E-0A27B24AF99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30275" y="5437003"/>
              <a:ext cx="87313" cy="157163"/>
              <a:chOff x="930275" y="5819775"/>
              <a:chExt cx="87313" cy="157163"/>
            </a:xfrm>
            <a:grpFill/>
          </p:grpSpPr>
          <p:sp>
            <p:nvSpPr>
              <p:cNvPr id="98" name="Freeform 201">
                <a:extLst>
                  <a:ext uri="{FF2B5EF4-FFF2-40B4-BE49-F238E27FC236}">
                    <a16:creationId xmlns:a16="http://schemas.microsoft.com/office/drawing/2014/main" xmlns="" id="{8EF41D45-B23D-3A45-9858-CFE9B7AE32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2975" y="5819775"/>
                <a:ext cx="74613" cy="157163"/>
              </a:xfrm>
              <a:custGeom>
                <a:avLst/>
                <a:gdLst/>
                <a:ahLst/>
                <a:cxnLst>
                  <a:cxn ang="0">
                    <a:pos x="29" y="106"/>
                  </a:cxn>
                  <a:cxn ang="0">
                    <a:pos x="23" y="92"/>
                  </a:cxn>
                  <a:cxn ang="0">
                    <a:pos x="20" y="77"/>
                  </a:cxn>
                  <a:cxn ang="0">
                    <a:pos x="20" y="61"/>
                  </a:cxn>
                  <a:cxn ang="0">
                    <a:pos x="20" y="48"/>
                  </a:cxn>
                  <a:cxn ang="0">
                    <a:pos x="10" y="48"/>
                  </a:cxn>
                  <a:cxn ang="0">
                    <a:pos x="0" y="48"/>
                  </a:cxn>
                  <a:cxn ang="0">
                    <a:pos x="0" y="42"/>
                  </a:cxn>
                  <a:cxn ang="0">
                    <a:pos x="0" y="38"/>
                  </a:cxn>
                  <a:cxn ang="0">
                    <a:pos x="4" y="33"/>
                  </a:cxn>
                  <a:cxn ang="0">
                    <a:pos x="10" y="29"/>
                  </a:cxn>
                  <a:cxn ang="0">
                    <a:pos x="10" y="23"/>
                  </a:cxn>
                  <a:cxn ang="0">
                    <a:pos x="10" y="19"/>
                  </a:cxn>
                  <a:cxn ang="0">
                    <a:pos x="10" y="13"/>
                  </a:cxn>
                  <a:cxn ang="0">
                    <a:pos x="10" y="10"/>
                  </a:cxn>
                  <a:cxn ang="0">
                    <a:pos x="10" y="4"/>
                  </a:cxn>
                  <a:cxn ang="0">
                    <a:pos x="10" y="0"/>
                  </a:cxn>
                  <a:cxn ang="0">
                    <a:pos x="29" y="0"/>
                  </a:cxn>
                  <a:cxn ang="0">
                    <a:pos x="48" y="0"/>
                  </a:cxn>
                  <a:cxn ang="0">
                    <a:pos x="48" y="23"/>
                  </a:cxn>
                  <a:cxn ang="0">
                    <a:pos x="46" y="48"/>
                  </a:cxn>
                  <a:cxn ang="0">
                    <a:pos x="46" y="73"/>
                  </a:cxn>
                  <a:cxn ang="0">
                    <a:pos x="46" y="98"/>
                  </a:cxn>
                  <a:cxn ang="0">
                    <a:pos x="37" y="102"/>
                  </a:cxn>
                  <a:cxn ang="0">
                    <a:pos x="29" y="106"/>
                  </a:cxn>
                </a:cxnLst>
                <a:rect l="0" t="0" r="r" b="b"/>
                <a:pathLst>
                  <a:path w="48" h="106">
                    <a:moveTo>
                      <a:pt x="29" y="106"/>
                    </a:moveTo>
                    <a:lnTo>
                      <a:pt x="23" y="92"/>
                    </a:lnTo>
                    <a:lnTo>
                      <a:pt x="20" y="77"/>
                    </a:lnTo>
                    <a:lnTo>
                      <a:pt x="20" y="61"/>
                    </a:lnTo>
                    <a:lnTo>
                      <a:pt x="20" y="48"/>
                    </a:lnTo>
                    <a:lnTo>
                      <a:pt x="10" y="48"/>
                    </a:lnTo>
                    <a:lnTo>
                      <a:pt x="0" y="48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4" y="33"/>
                    </a:lnTo>
                    <a:lnTo>
                      <a:pt x="10" y="29"/>
                    </a:lnTo>
                    <a:lnTo>
                      <a:pt x="10" y="23"/>
                    </a:lnTo>
                    <a:lnTo>
                      <a:pt x="10" y="19"/>
                    </a:lnTo>
                    <a:lnTo>
                      <a:pt x="10" y="13"/>
                    </a:lnTo>
                    <a:lnTo>
                      <a:pt x="10" y="10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29" y="0"/>
                    </a:lnTo>
                    <a:lnTo>
                      <a:pt x="48" y="0"/>
                    </a:lnTo>
                    <a:lnTo>
                      <a:pt x="48" y="23"/>
                    </a:lnTo>
                    <a:lnTo>
                      <a:pt x="46" y="48"/>
                    </a:lnTo>
                    <a:lnTo>
                      <a:pt x="46" y="73"/>
                    </a:lnTo>
                    <a:lnTo>
                      <a:pt x="46" y="98"/>
                    </a:lnTo>
                    <a:lnTo>
                      <a:pt x="37" y="102"/>
                    </a:lnTo>
                    <a:lnTo>
                      <a:pt x="29" y="106"/>
                    </a:lnTo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sz="1799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9" name="Freeform 202">
                <a:extLst>
                  <a:ext uri="{FF2B5EF4-FFF2-40B4-BE49-F238E27FC236}">
                    <a16:creationId xmlns:a16="http://schemas.microsoft.com/office/drawing/2014/main" xmlns="" id="{62AD44BE-2B68-9F49-9D44-7FDDFCFC07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0275" y="5892800"/>
                <a:ext cx="44450" cy="42863"/>
              </a:xfrm>
              <a:custGeom>
                <a:avLst/>
                <a:gdLst/>
                <a:ahLst/>
                <a:cxnLst>
                  <a:cxn ang="0">
                    <a:pos x="9" y="19"/>
                  </a:cxn>
                  <a:cxn ang="0">
                    <a:pos x="4" y="1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9" y="0"/>
                  </a:cxn>
                  <a:cxn ang="0">
                    <a:pos x="19" y="0"/>
                  </a:cxn>
                  <a:cxn ang="0">
                    <a:pos x="29" y="0"/>
                  </a:cxn>
                  <a:cxn ang="0">
                    <a:pos x="29" y="13"/>
                  </a:cxn>
                  <a:cxn ang="0">
                    <a:pos x="29" y="29"/>
                  </a:cxn>
                  <a:cxn ang="0">
                    <a:pos x="19" y="23"/>
                  </a:cxn>
                  <a:cxn ang="0">
                    <a:pos x="9" y="19"/>
                  </a:cxn>
                </a:cxnLst>
                <a:rect l="0" t="0" r="r" b="b"/>
                <a:pathLst>
                  <a:path w="29" h="29">
                    <a:moveTo>
                      <a:pt x="9" y="19"/>
                    </a:moveTo>
                    <a:lnTo>
                      <a:pt x="4" y="1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13"/>
                    </a:lnTo>
                    <a:lnTo>
                      <a:pt x="29" y="29"/>
                    </a:lnTo>
                    <a:lnTo>
                      <a:pt x="19" y="23"/>
                    </a:lnTo>
                    <a:lnTo>
                      <a:pt x="9" y="19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sz="1799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35" name="Freeform 305">
              <a:extLst>
                <a:ext uri="{FF2B5EF4-FFF2-40B4-BE49-F238E27FC236}">
                  <a16:creationId xmlns:a16="http://schemas.microsoft.com/office/drawing/2014/main" xmlns="" id="{852D80DC-C1DC-3648-82CE-BFE422CBF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200" y="5421128"/>
              <a:ext cx="104775" cy="74613"/>
            </a:xfrm>
            <a:custGeom>
              <a:avLst/>
              <a:gdLst>
                <a:gd name="T0" fmla="*/ 2147483647 w 69"/>
                <a:gd name="T1" fmla="*/ 2147483647 h 48"/>
                <a:gd name="T2" fmla="*/ 2147483647 w 69"/>
                <a:gd name="T3" fmla="*/ 2147483647 h 48"/>
                <a:gd name="T4" fmla="*/ 2147483647 w 69"/>
                <a:gd name="T5" fmla="*/ 2147483647 h 48"/>
                <a:gd name="T6" fmla="*/ 2147483647 w 69"/>
                <a:gd name="T7" fmla="*/ 2147483647 h 48"/>
                <a:gd name="T8" fmla="*/ 0 w 69"/>
                <a:gd name="T9" fmla="*/ 2147483647 h 48"/>
                <a:gd name="T10" fmla="*/ 0 w 69"/>
                <a:gd name="T11" fmla="*/ 2147483647 h 48"/>
                <a:gd name="T12" fmla="*/ 0 w 69"/>
                <a:gd name="T13" fmla="*/ 2147483647 h 48"/>
                <a:gd name="T14" fmla="*/ 2147483647 w 69"/>
                <a:gd name="T15" fmla="*/ 2147483647 h 48"/>
                <a:gd name="T16" fmla="*/ 2147483647 w 69"/>
                <a:gd name="T17" fmla="*/ 2147483647 h 48"/>
                <a:gd name="T18" fmla="*/ 2147483647 w 69"/>
                <a:gd name="T19" fmla="*/ 2147483647 h 48"/>
                <a:gd name="T20" fmla="*/ 2147483647 w 69"/>
                <a:gd name="T21" fmla="*/ 0 h 48"/>
                <a:gd name="T22" fmla="*/ 2147483647 w 69"/>
                <a:gd name="T23" fmla="*/ 0 h 48"/>
                <a:gd name="T24" fmla="*/ 2147483647 w 69"/>
                <a:gd name="T25" fmla="*/ 0 h 48"/>
                <a:gd name="T26" fmla="*/ 2147483647 w 69"/>
                <a:gd name="T27" fmla="*/ 2147483647 h 48"/>
                <a:gd name="T28" fmla="*/ 2147483647 w 69"/>
                <a:gd name="T29" fmla="*/ 2147483647 h 48"/>
                <a:gd name="T30" fmla="*/ 2147483647 w 69"/>
                <a:gd name="T31" fmla="*/ 2147483647 h 48"/>
                <a:gd name="T32" fmla="*/ 2147483647 w 69"/>
                <a:gd name="T33" fmla="*/ 2147483647 h 48"/>
                <a:gd name="T34" fmla="*/ 2147483647 w 69"/>
                <a:gd name="T35" fmla="*/ 2147483647 h 48"/>
                <a:gd name="T36" fmla="*/ 2147483647 w 69"/>
                <a:gd name="T37" fmla="*/ 0 h 48"/>
                <a:gd name="T38" fmla="*/ 2147483647 w 69"/>
                <a:gd name="T39" fmla="*/ 0 h 48"/>
                <a:gd name="T40" fmla="*/ 2147483647 w 69"/>
                <a:gd name="T41" fmla="*/ 0 h 48"/>
                <a:gd name="T42" fmla="*/ 2147483647 w 69"/>
                <a:gd name="T43" fmla="*/ 2147483647 h 48"/>
                <a:gd name="T44" fmla="*/ 2147483647 w 69"/>
                <a:gd name="T45" fmla="*/ 2147483647 h 48"/>
                <a:gd name="T46" fmla="*/ 2147483647 w 69"/>
                <a:gd name="T47" fmla="*/ 2147483647 h 48"/>
                <a:gd name="T48" fmla="*/ 2147483647 w 69"/>
                <a:gd name="T49" fmla="*/ 2147483647 h 48"/>
                <a:gd name="T50" fmla="*/ 2147483647 w 69"/>
                <a:gd name="T51" fmla="*/ 2147483647 h 48"/>
                <a:gd name="T52" fmla="*/ 2147483647 w 69"/>
                <a:gd name="T53" fmla="*/ 2147483647 h 48"/>
                <a:gd name="T54" fmla="*/ 2147483647 w 69"/>
                <a:gd name="T55" fmla="*/ 2147483647 h 48"/>
                <a:gd name="T56" fmla="*/ 2147483647 w 69"/>
                <a:gd name="T57" fmla="*/ 2147483647 h 48"/>
                <a:gd name="T58" fmla="*/ 2147483647 w 69"/>
                <a:gd name="T59" fmla="*/ 2147483647 h 48"/>
                <a:gd name="T60" fmla="*/ 2147483647 w 69"/>
                <a:gd name="T61" fmla="*/ 2147483647 h 48"/>
                <a:gd name="T62" fmla="*/ 2147483647 w 69"/>
                <a:gd name="T63" fmla="*/ 2147483647 h 48"/>
                <a:gd name="T64" fmla="*/ 2147483647 w 69"/>
                <a:gd name="T65" fmla="*/ 2147483647 h 48"/>
                <a:gd name="T66" fmla="*/ 2147483647 w 69"/>
                <a:gd name="T67" fmla="*/ 2147483647 h 48"/>
                <a:gd name="T68" fmla="*/ 2147483647 w 69"/>
                <a:gd name="T69" fmla="*/ 2147483647 h 48"/>
                <a:gd name="T70" fmla="*/ 2147483647 w 69"/>
                <a:gd name="T71" fmla="*/ 2147483647 h 48"/>
                <a:gd name="T72" fmla="*/ 2147483647 w 69"/>
                <a:gd name="T73" fmla="*/ 2147483647 h 48"/>
                <a:gd name="T74" fmla="*/ 2147483647 w 69"/>
                <a:gd name="T75" fmla="*/ 2147483647 h 48"/>
                <a:gd name="T76" fmla="*/ 2147483647 w 69"/>
                <a:gd name="T77" fmla="*/ 2147483647 h 4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69"/>
                <a:gd name="T118" fmla="*/ 0 h 48"/>
                <a:gd name="T119" fmla="*/ 69 w 69"/>
                <a:gd name="T120" fmla="*/ 48 h 48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69" h="48">
                  <a:moveTo>
                    <a:pt x="21" y="48"/>
                  </a:moveTo>
                  <a:lnTo>
                    <a:pt x="16" y="43"/>
                  </a:lnTo>
                  <a:lnTo>
                    <a:pt x="12" y="39"/>
                  </a:lnTo>
                  <a:lnTo>
                    <a:pt x="6" y="33"/>
                  </a:lnTo>
                  <a:lnTo>
                    <a:pt x="0" y="29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6" y="10"/>
                  </a:lnTo>
                  <a:lnTo>
                    <a:pt x="12" y="10"/>
                  </a:lnTo>
                  <a:lnTo>
                    <a:pt x="16" y="4"/>
                  </a:lnTo>
                  <a:lnTo>
                    <a:pt x="21" y="0"/>
                  </a:lnTo>
                  <a:lnTo>
                    <a:pt x="25" y="0"/>
                  </a:lnTo>
                  <a:lnTo>
                    <a:pt x="29" y="0"/>
                  </a:lnTo>
                  <a:lnTo>
                    <a:pt x="31" y="6"/>
                  </a:lnTo>
                  <a:lnTo>
                    <a:pt x="33" y="8"/>
                  </a:lnTo>
                  <a:lnTo>
                    <a:pt x="39" y="10"/>
                  </a:lnTo>
                  <a:lnTo>
                    <a:pt x="50" y="10"/>
                  </a:lnTo>
                  <a:lnTo>
                    <a:pt x="50" y="4"/>
                  </a:lnTo>
                  <a:lnTo>
                    <a:pt x="50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4" y="4"/>
                  </a:lnTo>
                  <a:lnTo>
                    <a:pt x="69" y="10"/>
                  </a:lnTo>
                  <a:lnTo>
                    <a:pt x="69" y="14"/>
                  </a:lnTo>
                  <a:lnTo>
                    <a:pt x="69" y="20"/>
                  </a:lnTo>
                  <a:lnTo>
                    <a:pt x="69" y="23"/>
                  </a:lnTo>
                  <a:lnTo>
                    <a:pt x="69" y="29"/>
                  </a:lnTo>
                  <a:lnTo>
                    <a:pt x="69" y="33"/>
                  </a:lnTo>
                  <a:lnTo>
                    <a:pt x="69" y="39"/>
                  </a:lnTo>
                  <a:lnTo>
                    <a:pt x="69" y="43"/>
                  </a:lnTo>
                  <a:lnTo>
                    <a:pt x="69" y="48"/>
                  </a:lnTo>
                  <a:lnTo>
                    <a:pt x="64" y="48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50" y="48"/>
                  </a:lnTo>
                  <a:lnTo>
                    <a:pt x="39" y="48"/>
                  </a:lnTo>
                  <a:lnTo>
                    <a:pt x="29" y="48"/>
                  </a:lnTo>
                  <a:lnTo>
                    <a:pt x="25" y="48"/>
                  </a:lnTo>
                  <a:lnTo>
                    <a:pt x="21" y="48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grpSp>
          <p:nvGrpSpPr>
            <p:cNvPr id="36" name="Group 175">
              <a:extLst>
                <a:ext uri="{FF2B5EF4-FFF2-40B4-BE49-F238E27FC236}">
                  <a16:creationId xmlns:a16="http://schemas.microsoft.com/office/drawing/2014/main" xmlns="" id="{F56CE6A4-A977-5B49-9971-FA2C726F149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62025" y="5351278"/>
              <a:ext cx="250825" cy="473075"/>
              <a:chOff x="962025" y="5734050"/>
              <a:chExt cx="250825" cy="473075"/>
            </a:xfrm>
            <a:grpFill/>
          </p:grpSpPr>
          <p:sp>
            <p:nvSpPr>
              <p:cNvPr id="96" name="Freeform 199">
                <a:extLst>
                  <a:ext uri="{FF2B5EF4-FFF2-40B4-BE49-F238E27FC236}">
                    <a16:creationId xmlns:a16="http://schemas.microsoft.com/office/drawing/2014/main" xmlns="" id="{8A410F12-3896-254A-8307-279C30294E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62025" y="5878513"/>
                <a:ext cx="203200" cy="328612"/>
              </a:xfrm>
              <a:custGeom>
                <a:avLst/>
                <a:gdLst/>
                <a:ahLst/>
                <a:cxnLst>
                  <a:cxn ang="0">
                    <a:pos x="38" y="223"/>
                  </a:cxn>
                  <a:cxn ang="0">
                    <a:pos x="36" y="204"/>
                  </a:cxn>
                  <a:cxn ang="0">
                    <a:pos x="33" y="187"/>
                  </a:cxn>
                  <a:cxn ang="0">
                    <a:pos x="29" y="169"/>
                  </a:cxn>
                  <a:cxn ang="0">
                    <a:pos x="25" y="154"/>
                  </a:cxn>
                  <a:cxn ang="0">
                    <a:pos x="13" y="121"/>
                  </a:cxn>
                  <a:cxn ang="0">
                    <a:pos x="0" y="87"/>
                  </a:cxn>
                  <a:cxn ang="0">
                    <a:pos x="4" y="83"/>
                  </a:cxn>
                  <a:cxn ang="0">
                    <a:pos x="10" y="77"/>
                  </a:cxn>
                  <a:cxn ang="0">
                    <a:pos x="13" y="77"/>
                  </a:cxn>
                  <a:cxn ang="0">
                    <a:pos x="19" y="77"/>
                  </a:cxn>
                  <a:cxn ang="0">
                    <a:pos x="42" y="75"/>
                  </a:cxn>
                  <a:cxn ang="0">
                    <a:pos x="67" y="73"/>
                  </a:cxn>
                  <a:cxn ang="0">
                    <a:pos x="69" y="69"/>
                  </a:cxn>
                  <a:cxn ang="0">
                    <a:pos x="71" y="68"/>
                  </a:cxn>
                  <a:cxn ang="0">
                    <a:pos x="75" y="60"/>
                  </a:cxn>
                  <a:cxn ang="0">
                    <a:pos x="77" y="54"/>
                  </a:cxn>
                  <a:cxn ang="0">
                    <a:pos x="79" y="50"/>
                  </a:cxn>
                  <a:cxn ang="0">
                    <a:pos x="83" y="48"/>
                  </a:cxn>
                  <a:cxn ang="0">
                    <a:pos x="88" y="41"/>
                  </a:cxn>
                  <a:cxn ang="0">
                    <a:pos x="96" y="33"/>
                  </a:cxn>
                  <a:cxn ang="0">
                    <a:pos x="98" y="31"/>
                  </a:cxn>
                  <a:cxn ang="0">
                    <a:pos x="102" y="29"/>
                  </a:cxn>
                  <a:cxn ang="0">
                    <a:pos x="104" y="27"/>
                  </a:cxn>
                  <a:cxn ang="0">
                    <a:pos x="106" y="25"/>
                  </a:cxn>
                  <a:cxn ang="0">
                    <a:pos x="107" y="21"/>
                  </a:cxn>
                  <a:cxn ang="0">
                    <a:pos x="111" y="20"/>
                  </a:cxn>
                  <a:cxn ang="0">
                    <a:pos x="113" y="18"/>
                  </a:cxn>
                  <a:cxn ang="0">
                    <a:pos x="115" y="16"/>
                  </a:cxn>
                  <a:cxn ang="0">
                    <a:pos x="117" y="12"/>
                  </a:cxn>
                  <a:cxn ang="0">
                    <a:pos x="121" y="10"/>
                  </a:cxn>
                  <a:cxn ang="0">
                    <a:pos x="123" y="4"/>
                  </a:cxn>
                  <a:cxn ang="0">
                    <a:pos x="125" y="0"/>
                  </a:cxn>
                  <a:cxn ang="0">
                    <a:pos x="127" y="14"/>
                  </a:cxn>
                  <a:cxn ang="0">
                    <a:pos x="131" y="29"/>
                  </a:cxn>
                  <a:cxn ang="0">
                    <a:pos x="121" y="39"/>
                  </a:cxn>
                  <a:cxn ang="0">
                    <a:pos x="115" y="48"/>
                  </a:cxn>
                  <a:cxn ang="0">
                    <a:pos x="107" y="58"/>
                  </a:cxn>
                  <a:cxn ang="0">
                    <a:pos x="104" y="68"/>
                  </a:cxn>
                  <a:cxn ang="0">
                    <a:pos x="94" y="89"/>
                  </a:cxn>
                  <a:cxn ang="0">
                    <a:pos x="90" y="112"/>
                  </a:cxn>
                  <a:cxn ang="0">
                    <a:pos x="84" y="158"/>
                  </a:cxn>
                  <a:cxn ang="0">
                    <a:pos x="79" y="206"/>
                  </a:cxn>
                  <a:cxn ang="0">
                    <a:pos x="63" y="213"/>
                  </a:cxn>
                  <a:cxn ang="0">
                    <a:pos x="48" y="223"/>
                  </a:cxn>
                  <a:cxn ang="0">
                    <a:pos x="42" y="223"/>
                  </a:cxn>
                  <a:cxn ang="0">
                    <a:pos x="38" y="223"/>
                  </a:cxn>
                </a:cxnLst>
                <a:rect l="0" t="0" r="r" b="b"/>
                <a:pathLst>
                  <a:path w="131" h="223">
                    <a:moveTo>
                      <a:pt x="38" y="223"/>
                    </a:moveTo>
                    <a:lnTo>
                      <a:pt x="36" y="204"/>
                    </a:lnTo>
                    <a:lnTo>
                      <a:pt x="33" y="187"/>
                    </a:lnTo>
                    <a:lnTo>
                      <a:pt x="29" y="169"/>
                    </a:lnTo>
                    <a:lnTo>
                      <a:pt x="25" y="154"/>
                    </a:lnTo>
                    <a:lnTo>
                      <a:pt x="13" y="121"/>
                    </a:lnTo>
                    <a:lnTo>
                      <a:pt x="0" y="87"/>
                    </a:lnTo>
                    <a:lnTo>
                      <a:pt x="4" y="83"/>
                    </a:lnTo>
                    <a:lnTo>
                      <a:pt x="10" y="77"/>
                    </a:lnTo>
                    <a:lnTo>
                      <a:pt x="13" y="77"/>
                    </a:lnTo>
                    <a:lnTo>
                      <a:pt x="19" y="77"/>
                    </a:lnTo>
                    <a:lnTo>
                      <a:pt x="42" y="75"/>
                    </a:lnTo>
                    <a:lnTo>
                      <a:pt x="67" y="73"/>
                    </a:lnTo>
                    <a:lnTo>
                      <a:pt x="69" y="69"/>
                    </a:lnTo>
                    <a:lnTo>
                      <a:pt x="71" y="68"/>
                    </a:lnTo>
                    <a:lnTo>
                      <a:pt x="75" y="60"/>
                    </a:lnTo>
                    <a:lnTo>
                      <a:pt x="77" y="54"/>
                    </a:lnTo>
                    <a:lnTo>
                      <a:pt x="79" y="50"/>
                    </a:lnTo>
                    <a:lnTo>
                      <a:pt x="83" y="48"/>
                    </a:lnTo>
                    <a:lnTo>
                      <a:pt x="88" y="41"/>
                    </a:lnTo>
                    <a:lnTo>
                      <a:pt x="96" y="33"/>
                    </a:lnTo>
                    <a:lnTo>
                      <a:pt x="98" y="31"/>
                    </a:lnTo>
                    <a:lnTo>
                      <a:pt x="102" y="29"/>
                    </a:lnTo>
                    <a:lnTo>
                      <a:pt x="104" y="27"/>
                    </a:lnTo>
                    <a:lnTo>
                      <a:pt x="106" y="25"/>
                    </a:lnTo>
                    <a:lnTo>
                      <a:pt x="107" y="21"/>
                    </a:lnTo>
                    <a:lnTo>
                      <a:pt x="111" y="20"/>
                    </a:lnTo>
                    <a:lnTo>
                      <a:pt x="113" y="18"/>
                    </a:lnTo>
                    <a:lnTo>
                      <a:pt x="115" y="16"/>
                    </a:lnTo>
                    <a:lnTo>
                      <a:pt x="117" y="12"/>
                    </a:lnTo>
                    <a:lnTo>
                      <a:pt x="121" y="10"/>
                    </a:lnTo>
                    <a:lnTo>
                      <a:pt x="123" y="4"/>
                    </a:lnTo>
                    <a:lnTo>
                      <a:pt x="125" y="0"/>
                    </a:lnTo>
                    <a:lnTo>
                      <a:pt x="127" y="14"/>
                    </a:lnTo>
                    <a:lnTo>
                      <a:pt x="131" y="29"/>
                    </a:lnTo>
                    <a:lnTo>
                      <a:pt x="121" y="39"/>
                    </a:lnTo>
                    <a:lnTo>
                      <a:pt x="115" y="48"/>
                    </a:lnTo>
                    <a:lnTo>
                      <a:pt x="107" y="58"/>
                    </a:lnTo>
                    <a:lnTo>
                      <a:pt x="104" y="68"/>
                    </a:lnTo>
                    <a:lnTo>
                      <a:pt x="94" y="89"/>
                    </a:lnTo>
                    <a:lnTo>
                      <a:pt x="90" y="112"/>
                    </a:lnTo>
                    <a:lnTo>
                      <a:pt x="84" y="158"/>
                    </a:lnTo>
                    <a:lnTo>
                      <a:pt x="79" y="206"/>
                    </a:lnTo>
                    <a:lnTo>
                      <a:pt x="63" y="213"/>
                    </a:lnTo>
                    <a:lnTo>
                      <a:pt x="48" y="223"/>
                    </a:lnTo>
                    <a:lnTo>
                      <a:pt x="42" y="223"/>
                    </a:lnTo>
                    <a:lnTo>
                      <a:pt x="38" y="223"/>
                    </a:lnTo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sz="1799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7" name="Freeform 200">
                <a:extLst>
                  <a:ext uri="{FF2B5EF4-FFF2-40B4-BE49-F238E27FC236}">
                    <a16:creationId xmlns:a16="http://schemas.microsoft.com/office/drawing/2014/main" xmlns="" id="{6F3C45CA-4CBE-424F-BF46-548B3723BD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9500" y="5734050"/>
                <a:ext cx="133350" cy="127000"/>
              </a:xfrm>
              <a:custGeom>
                <a:avLst/>
                <a:gdLst/>
                <a:ahLst/>
                <a:cxnLst>
                  <a:cxn ang="0">
                    <a:pos x="25" y="87"/>
                  </a:cxn>
                  <a:cxn ang="0">
                    <a:pos x="21" y="85"/>
                  </a:cxn>
                  <a:cxn ang="0">
                    <a:pos x="19" y="81"/>
                  </a:cxn>
                  <a:cxn ang="0">
                    <a:pos x="17" y="73"/>
                  </a:cxn>
                  <a:cxn ang="0">
                    <a:pos x="15" y="68"/>
                  </a:cxn>
                  <a:cxn ang="0">
                    <a:pos x="11" y="64"/>
                  </a:cxn>
                  <a:cxn ang="0">
                    <a:pos x="9" y="62"/>
                  </a:cxn>
                  <a:cxn ang="0">
                    <a:pos x="7" y="60"/>
                  </a:cxn>
                  <a:cxn ang="0">
                    <a:pos x="6" y="58"/>
                  </a:cxn>
                  <a:cxn ang="0">
                    <a:pos x="2" y="54"/>
                  </a:cxn>
                  <a:cxn ang="0">
                    <a:pos x="0" y="52"/>
                  </a:cxn>
                  <a:cxn ang="0">
                    <a:pos x="4" y="43"/>
                  </a:cxn>
                  <a:cxn ang="0">
                    <a:pos x="9" y="33"/>
                  </a:cxn>
                  <a:cxn ang="0">
                    <a:pos x="11" y="31"/>
                  </a:cxn>
                  <a:cxn ang="0">
                    <a:pos x="15" y="29"/>
                  </a:cxn>
                  <a:cxn ang="0">
                    <a:pos x="15" y="23"/>
                  </a:cxn>
                  <a:cxn ang="0">
                    <a:pos x="15" y="18"/>
                  </a:cxn>
                  <a:cxn ang="0">
                    <a:pos x="11" y="16"/>
                  </a:cxn>
                  <a:cxn ang="0">
                    <a:pos x="9" y="14"/>
                  </a:cxn>
                  <a:cxn ang="0">
                    <a:pos x="9" y="10"/>
                  </a:cxn>
                  <a:cxn ang="0">
                    <a:pos x="15" y="8"/>
                  </a:cxn>
                  <a:cxn ang="0">
                    <a:pos x="27" y="6"/>
                  </a:cxn>
                  <a:cxn ang="0">
                    <a:pos x="48" y="4"/>
                  </a:cxn>
                  <a:cxn ang="0">
                    <a:pos x="50" y="2"/>
                  </a:cxn>
                  <a:cxn ang="0">
                    <a:pos x="54" y="0"/>
                  </a:cxn>
                  <a:cxn ang="0">
                    <a:pos x="55" y="2"/>
                  </a:cxn>
                  <a:cxn ang="0">
                    <a:pos x="57" y="4"/>
                  </a:cxn>
                  <a:cxn ang="0">
                    <a:pos x="61" y="6"/>
                  </a:cxn>
                  <a:cxn ang="0">
                    <a:pos x="63" y="8"/>
                  </a:cxn>
                  <a:cxn ang="0">
                    <a:pos x="65" y="12"/>
                  </a:cxn>
                  <a:cxn ang="0">
                    <a:pos x="67" y="14"/>
                  </a:cxn>
                  <a:cxn ang="0">
                    <a:pos x="75" y="16"/>
                  </a:cxn>
                  <a:cxn ang="0">
                    <a:pos x="82" y="18"/>
                  </a:cxn>
                  <a:cxn ang="0">
                    <a:pos x="84" y="22"/>
                  </a:cxn>
                  <a:cxn ang="0">
                    <a:pos x="86" y="23"/>
                  </a:cxn>
                  <a:cxn ang="0">
                    <a:pos x="86" y="25"/>
                  </a:cxn>
                  <a:cxn ang="0">
                    <a:pos x="86" y="29"/>
                  </a:cxn>
                  <a:cxn ang="0">
                    <a:pos x="77" y="33"/>
                  </a:cxn>
                  <a:cxn ang="0">
                    <a:pos x="67" y="37"/>
                  </a:cxn>
                  <a:cxn ang="0">
                    <a:pos x="61" y="41"/>
                  </a:cxn>
                  <a:cxn ang="0">
                    <a:pos x="55" y="46"/>
                  </a:cxn>
                  <a:cxn ang="0">
                    <a:pos x="52" y="64"/>
                  </a:cxn>
                  <a:cxn ang="0">
                    <a:pos x="48" y="87"/>
                  </a:cxn>
                  <a:cxn ang="0">
                    <a:pos x="36" y="87"/>
                  </a:cxn>
                  <a:cxn ang="0">
                    <a:pos x="25" y="87"/>
                  </a:cxn>
                </a:cxnLst>
                <a:rect l="0" t="0" r="r" b="b"/>
                <a:pathLst>
                  <a:path w="86" h="87">
                    <a:moveTo>
                      <a:pt x="25" y="87"/>
                    </a:moveTo>
                    <a:lnTo>
                      <a:pt x="21" y="85"/>
                    </a:lnTo>
                    <a:lnTo>
                      <a:pt x="19" y="81"/>
                    </a:lnTo>
                    <a:lnTo>
                      <a:pt x="17" y="73"/>
                    </a:lnTo>
                    <a:lnTo>
                      <a:pt x="15" y="68"/>
                    </a:lnTo>
                    <a:lnTo>
                      <a:pt x="11" y="64"/>
                    </a:lnTo>
                    <a:lnTo>
                      <a:pt x="9" y="62"/>
                    </a:lnTo>
                    <a:lnTo>
                      <a:pt x="7" y="60"/>
                    </a:lnTo>
                    <a:lnTo>
                      <a:pt x="6" y="58"/>
                    </a:lnTo>
                    <a:lnTo>
                      <a:pt x="2" y="54"/>
                    </a:lnTo>
                    <a:lnTo>
                      <a:pt x="0" y="52"/>
                    </a:lnTo>
                    <a:lnTo>
                      <a:pt x="4" y="43"/>
                    </a:lnTo>
                    <a:lnTo>
                      <a:pt x="9" y="33"/>
                    </a:lnTo>
                    <a:lnTo>
                      <a:pt x="11" y="31"/>
                    </a:lnTo>
                    <a:lnTo>
                      <a:pt x="15" y="29"/>
                    </a:lnTo>
                    <a:lnTo>
                      <a:pt x="15" y="23"/>
                    </a:lnTo>
                    <a:lnTo>
                      <a:pt x="15" y="18"/>
                    </a:lnTo>
                    <a:lnTo>
                      <a:pt x="11" y="16"/>
                    </a:lnTo>
                    <a:lnTo>
                      <a:pt x="9" y="14"/>
                    </a:lnTo>
                    <a:lnTo>
                      <a:pt x="9" y="10"/>
                    </a:lnTo>
                    <a:lnTo>
                      <a:pt x="15" y="8"/>
                    </a:lnTo>
                    <a:lnTo>
                      <a:pt x="27" y="6"/>
                    </a:lnTo>
                    <a:lnTo>
                      <a:pt x="48" y="4"/>
                    </a:lnTo>
                    <a:lnTo>
                      <a:pt x="50" y="2"/>
                    </a:lnTo>
                    <a:lnTo>
                      <a:pt x="54" y="0"/>
                    </a:lnTo>
                    <a:lnTo>
                      <a:pt x="55" y="2"/>
                    </a:lnTo>
                    <a:lnTo>
                      <a:pt x="57" y="4"/>
                    </a:lnTo>
                    <a:lnTo>
                      <a:pt x="61" y="6"/>
                    </a:lnTo>
                    <a:lnTo>
                      <a:pt x="63" y="8"/>
                    </a:lnTo>
                    <a:lnTo>
                      <a:pt x="65" y="12"/>
                    </a:lnTo>
                    <a:lnTo>
                      <a:pt x="67" y="14"/>
                    </a:lnTo>
                    <a:lnTo>
                      <a:pt x="75" y="16"/>
                    </a:lnTo>
                    <a:lnTo>
                      <a:pt x="82" y="18"/>
                    </a:lnTo>
                    <a:lnTo>
                      <a:pt x="84" y="22"/>
                    </a:lnTo>
                    <a:lnTo>
                      <a:pt x="86" y="23"/>
                    </a:lnTo>
                    <a:lnTo>
                      <a:pt x="86" y="25"/>
                    </a:lnTo>
                    <a:lnTo>
                      <a:pt x="86" y="29"/>
                    </a:lnTo>
                    <a:lnTo>
                      <a:pt x="77" y="33"/>
                    </a:lnTo>
                    <a:lnTo>
                      <a:pt x="67" y="37"/>
                    </a:lnTo>
                    <a:lnTo>
                      <a:pt x="61" y="41"/>
                    </a:lnTo>
                    <a:lnTo>
                      <a:pt x="55" y="46"/>
                    </a:lnTo>
                    <a:lnTo>
                      <a:pt x="52" y="64"/>
                    </a:lnTo>
                    <a:lnTo>
                      <a:pt x="48" y="87"/>
                    </a:lnTo>
                    <a:lnTo>
                      <a:pt x="36" y="87"/>
                    </a:lnTo>
                    <a:lnTo>
                      <a:pt x="25" y="87"/>
                    </a:lnTo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sz="1799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37" name="Freeform 307">
              <a:extLst>
                <a:ext uri="{FF2B5EF4-FFF2-40B4-BE49-F238E27FC236}">
                  <a16:creationId xmlns:a16="http://schemas.microsoft.com/office/drawing/2014/main" xmlns="" id="{A3248D6A-C97F-B946-96BC-8FE8A399B7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463" y="5305241"/>
              <a:ext cx="225425" cy="131762"/>
            </a:xfrm>
            <a:custGeom>
              <a:avLst/>
              <a:gdLst>
                <a:gd name="T0" fmla="*/ 0 w 146"/>
                <a:gd name="T1" fmla="*/ 2147483647 h 88"/>
                <a:gd name="T2" fmla="*/ 2147483647 w 146"/>
                <a:gd name="T3" fmla="*/ 2147483647 h 88"/>
                <a:gd name="T4" fmla="*/ 2147483647 w 146"/>
                <a:gd name="T5" fmla="*/ 2147483647 h 88"/>
                <a:gd name="T6" fmla="*/ 2147483647 w 146"/>
                <a:gd name="T7" fmla="*/ 2147483647 h 88"/>
                <a:gd name="T8" fmla="*/ 2147483647 w 146"/>
                <a:gd name="T9" fmla="*/ 0 h 88"/>
                <a:gd name="T10" fmla="*/ 2147483647 w 146"/>
                <a:gd name="T11" fmla="*/ 2147483647 h 88"/>
                <a:gd name="T12" fmla="*/ 2147483647 w 146"/>
                <a:gd name="T13" fmla="*/ 2147483647 h 88"/>
                <a:gd name="T14" fmla="*/ 2147483647 w 146"/>
                <a:gd name="T15" fmla="*/ 2147483647 h 88"/>
                <a:gd name="T16" fmla="*/ 2147483647 w 146"/>
                <a:gd name="T17" fmla="*/ 2147483647 h 88"/>
                <a:gd name="T18" fmla="*/ 2147483647 w 146"/>
                <a:gd name="T19" fmla="*/ 2147483647 h 88"/>
                <a:gd name="T20" fmla="*/ 2147483647 w 146"/>
                <a:gd name="T21" fmla="*/ 2147483647 h 88"/>
                <a:gd name="T22" fmla="*/ 2147483647 w 146"/>
                <a:gd name="T23" fmla="*/ 2147483647 h 88"/>
                <a:gd name="T24" fmla="*/ 2147483647 w 146"/>
                <a:gd name="T25" fmla="*/ 2147483647 h 88"/>
                <a:gd name="T26" fmla="*/ 2147483647 w 146"/>
                <a:gd name="T27" fmla="*/ 2147483647 h 88"/>
                <a:gd name="T28" fmla="*/ 2147483647 w 146"/>
                <a:gd name="T29" fmla="*/ 2147483647 h 88"/>
                <a:gd name="T30" fmla="*/ 2147483647 w 146"/>
                <a:gd name="T31" fmla="*/ 2147483647 h 88"/>
                <a:gd name="T32" fmla="*/ 2147483647 w 146"/>
                <a:gd name="T33" fmla="*/ 2147483647 h 88"/>
                <a:gd name="T34" fmla="*/ 2147483647 w 146"/>
                <a:gd name="T35" fmla="*/ 2147483647 h 88"/>
                <a:gd name="T36" fmla="*/ 2147483647 w 146"/>
                <a:gd name="T37" fmla="*/ 2147483647 h 88"/>
                <a:gd name="T38" fmla="*/ 2147483647 w 146"/>
                <a:gd name="T39" fmla="*/ 2147483647 h 88"/>
                <a:gd name="T40" fmla="*/ 2147483647 w 146"/>
                <a:gd name="T41" fmla="*/ 2147483647 h 88"/>
                <a:gd name="T42" fmla="*/ 2147483647 w 146"/>
                <a:gd name="T43" fmla="*/ 2147483647 h 88"/>
                <a:gd name="T44" fmla="*/ 2147483647 w 146"/>
                <a:gd name="T45" fmla="*/ 2147483647 h 88"/>
                <a:gd name="T46" fmla="*/ 2147483647 w 146"/>
                <a:gd name="T47" fmla="*/ 2147483647 h 88"/>
                <a:gd name="T48" fmla="*/ 2147483647 w 146"/>
                <a:gd name="T49" fmla="*/ 2147483647 h 88"/>
                <a:gd name="T50" fmla="*/ 2147483647 w 146"/>
                <a:gd name="T51" fmla="*/ 2147483647 h 88"/>
                <a:gd name="T52" fmla="*/ 2147483647 w 146"/>
                <a:gd name="T53" fmla="*/ 2147483647 h 88"/>
                <a:gd name="T54" fmla="*/ 2147483647 w 146"/>
                <a:gd name="T55" fmla="*/ 2147483647 h 88"/>
                <a:gd name="T56" fmla="*/ 2147483647 w 146"/>
                <a:gd name="T57" fmla="*/ 2147483647 h 88"/>
                <a:gd name="T58" fmla="*/ 2147483647 w 146"/>
                <a:gd name="T59" fmla="*/ 2147483647 h 88"/>
                <a:gd name="T60" fmla="*/ 2147483647 w 146"/>
                <a:gd name="T61" fmla="*/ 2147483647 h 88"/>
                <a:gd name="T62" fmla="*/ 2147483647 w 146"/>
                <a:gd name="T63" fmla="*/ 2147483647 h 8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6"/>
                <a:gd name="T97" fmla="*/ 0 h 88"/>
                <a:gd name="T98" fmla="*/ 146 w 146"/>
                <a:gd name="T99" fmla="*/ 88 h 8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6" h="88">
                  <a:moveTo>
                    <a:pt x="0" y="30"/>
                  </a:moveTo>
                  <a:lnTo>
                    <a:pt x="0" y="25"/>
                  </a:lnTo>
                  <a:lnTo>
                    <a:pt x="0" y="19"/>
                  </a:lnTo>
                  <a:lnTo>
                    <a:pt x="6" y="15"/>
                  </a:lnTo>
                  <a:lnTo>
                    <a:pt x="10" y="9"/>
                  </a:lnTo>
                  <a:lnTo>
                    <a:pt x="19" y="7"/>
                  </a:lnTo>
                  <a:lnTo>
                    <a:pt x="29" y="6"/>
                  </a:lnTo>
                  <a:lnTo>
                    <a:pt x="33" y="4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44" y="0"/>
                  </a:lnTo>
                  <a:lnTo>
                    <a:pt x="46" y="4"/>
                  </a:lnTo>
                  <a:lnTo>
                    <a:pt x="50" y="6"/>
                  </a:lnTo>
                  <a:lnTo>
                    <a:pt x="56" y="7"/>
                  </a:lnTo>
                  <a:lnTo>
                    <a:pt x="63" y="9"/>
                  </a:lnTo>
                  <a:lnTo>
                    <a:pt x="65" y="13"/>
                  </a:lnTo>
                  <a:lnTo>
                    <a:pt x="67" y="15"/>
                  </a:lnTo>
                  <a:lnTo>
                    <a:pt x="71" y="17"/>
                  </a:lnTo>
                  <a:lnTo>
                    <a:pt x="73" y="19"/>
                  </a:lnTo>
                  <a:lnTo>
                    <a:pt x="75" y="23"/>
                  </a:lnTo>
                  <a:lnTo>
                    <a:pt x="79" y="25"/>
                  </a:lnTo>
                  <a:lnTo>
                    <a:pt x="94" y="27"/>
                  </a:lnTo>
                  <a:lnTo>
                    <a:pt x="111" y="30"/>
                  </a:lnTo>
                  <a:lnTo>
                    <a:pt x="113" y="32"/>
                  </a:lnTo>
                  <a:lnTo>
                    <a:pt x="117" y="34"/>
                  </a:lnTo>
                  <a:lnTo>
                    <a:pt x="119" y="36"/>
                  </a:lnTo>
                  <a:lnTo>
                    <a:pt x="121" y="38"/>
                  </a:lnTo>
                  <a:lnTo>
                    <a:pt x="123" y="42"/>
                  </a:lnTo>
                  <a:lnTo>
                    <a:pt x="127" y="44"/>
                  </a:lnTo>
                  <a:lnTo>
                    <a:pt x="123" y="46"/>
                  </a:lnTo>
                  <a:lnTo>
                    <a:pt x="121" y="48"/>
                  </a:lnTo>
                  <a:lnTo>
                    <a:pt x="121" y="53"/>
                  </a:lnTo>
                  <a:lnTo>
                    <a:pt x="121" y="59"/>
                  </a:lnTo>
                  <a:lnTo>
                    <a:pt x="123" y="61"/>
                  </a:lnTo>
                  <a:lnTo>
                    <a:pt x="127" y="63"/>
                  </a:lnTo>
                  <a:lnTo>
                    <a:pt x="132" y="65"/>
                  </a:lnTo>
                  <a:lnTo>
                    <a:pt x="140" y="69"/>
                  </a:lnTo>
                  <a:lnTo>
                    <a:pt x="144" y="71"/>
                  </a:lnTo>
                  <a:lnTo>
                    <a:pt x="146" y="73"/>
                  </a:lnTo>
                  <a:lnTo>
                    <a:pt x="134" y="75"/>
                  </a:lnTo>
                  <a:lnTo>
                    <a:pt x="121" y="78"/>
                  </a:lnTo>
                  <a:lnTo>
                    <a:pt x="119" y="75"/>
                  </a:lnTo>
                  <a:lnTo>
                    <a:pt x="117" y="73"/>
                  </a:lnTo>
                  <a:lnTo>
                    <a:pt x="111" y="75"/>
                  </a:lnTo>
                  <a:lnTo>
                    <a:pt x="107" y="78"/>
                  </a:lnTo>
                  <a:lnTo>
                    <a:pt x="102" y="78"/>
                  </a:lnTo>
                  <a:lnTo>
                    <a:pt x="98" y="78"/>
                  </a:lnTo>
                  <a:lnTo>
                    <a:pt x="92" y="75"/>
                  </a:lnTo>
                  <a:lnTo>
                    <a:pt x="90" y="75"/>
                  </a:lnTo>
                  <a:lnTo>
                    <a:pt x="88" y="75"/>
                  </a:lnTo>
                  <a:lnTo>
                    <a:pt x="88" y="78"/>
                  </a:lnTo>
                  <a:lnTo>
                    <a:pt x="77" y="78"/>
                  </a:lnTo>
                  <a:lnTo>
                    <a:pt x="67" y="78"/>
                  </a:lnTo>
                  <a:lnTo>
                    <a:pt x="63" y="75"/>
                  </a:lnTo>
                  <a:lnTo>
                    <a:pt x="61" y="75"/>
                  </a:lnTo>
                  <a:lnTo>
                    <a:pt x="59" y="75"/>
                  </a:lnTo>
                  <a:lnTo>
                    <a:pt x="59" y="78"/>
                  </a:lnTo>
                  <a:lnTo>
                    <a:pt x="54" y="78"/>
                  </a:lnTo>
                  <a:lnTo>
                    <a:pt x="50" y="78"/>
                  </a:lnTo>
                  <a:lnTo>
                    <a:pt x="44" y="82"/>
                  </a:lnTo>
                  <a:lnTo>
                    <a:pt x="38" y="88"/>
                  </a:lnTo>
                  <a:lnTo>
                    <a:pt x="23" y="57"/>
                  </a:lnTo>
                  <a:lnTo>
                    <a:pt x="15" y="42"/>
                  </a:lnTo>
                  <a:lnTo>
                    <a:pt x="8" y="34"/>
                  </a:lnTo>
                  <a:lnTo>
                    <a:pt x="0" y="30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8" name="Freeform 308">
              <a:extLst>
                <a:ext uri="{FF2B5EF4-FFF2-40B4-BE49-F238E27FC236}">
                  <a16:creationId xmlns:a16="http://schemas.microsoft.com/office/drawing/2014/main" xmlns="" id="{CBF7A091-55B9-3D4F-AB28-5F56FAEBAB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5088" y="4957578"/>
              <a:ext cx="180975" cy="371475"/>
            </a:xfrm>
            <a:custGeom>
              <a:avLst/>
              <a:gdLst>
                <a:gd name="T0" fmla="*/ 0 w 115"/>
                <a:gd name="T1" fmla="*/ 2147483647 h 251"/>
                <a:gd name="T2" fmla="*/ 2147483647 w 115"/>
                <a:gd name="T3" fmla="*/ 2147483647 h 251"/>
                <a:gd name="T4" fmla="*/ 2147483647 w 115"/>
                <a:gd name="T5" fmla="*/ 2147483647 h 251"/>
                <a:gd name="T6" fmla="*/ 2147483647 w 115"/>
                <a:gd name="T7" fmla="*/ 2147483647 h 251"/>
                <a:gd name="T8" fmla="*/ 2147483647 w 115"/>
                <a:gd name="T9" fmla="*/ 2147483647 h 251"/>
                <a:gd name="T10" fmla="*/ 2147483647 w 115"/>
                <a:gd name="T11" fmla="*/ 2147483647 h 251"/>
                <a:gd name="T12" fmla="*/ 2147483647 w 115"/>
                <a:gd name="T13" fmla="*/ 2147483647 h 251"/>
                <a:gd name="T14" fmla="*/ 2147483647 w 115"/>
                <a:gd name="T15" fmla="*/ 2147483647 h 251"/>
                <a:gd name="T16" fmla="*/ 2147483647 w 115"/>
                <a:gd name="T17" fmla="*/ 2147483647 h 251"/>
                <a:gd name="T18" fmla="*/ 2147483647 w 115"/>
                <a:gd name="T19" fmla="*/ 2147483647 h 251"/>
                <a:gd name="T20" fmla="*/ 2147483647 w 115"/>
                <a:gd name="T21" fmla="*/ 2147483647 h 251"/>
                <a:gd name="T22" fmla="*/ 2147483647 w 115"/>
                <a:gd name="T23" fmla="*/ 2147483647 h 251"/>
                <a:gd name="T24" fmla="*/ 2147483647 w 115"/>
                <a:gd name="T25" fmla="*/ 2147483647 h 251"/>
                <a:gd name="T26" fmla="*/ 2147483647 w 115"/>
                <a:gd name="T27" fmla="*/ 2147483647 h 251"/>
                <a:gd name="T28" fmla="*/ 2147483647 w 115"/>
                <a:gd name="T29" fmla="*/ 2147483647 h 251"/>
                <a:gd name="T30" fmla="*/ 2147483647 w 115"/>
                <a:gd name="T31" fmla="*/ 2147483647 h 251"/>
                <a:gd name="T32" fmla="*/ 2147483647 w 115"/>
                <a:gd name="T33" fmla="*/ 2147483647 h 251"/>
                <a:gd name="T34" fmla="*/ 2147483647 w 115"/>
                <a:gd name="T35" fmla="*/ 2147483647 h 251"/>
                <a:gd name="T36" fmla="*/ 2147483647 w 115"/>
                <a:gd name="T37" fmla="*/ 2147483647 h 251"/>
                <a:gd name="T38" fmla="*/ 2147483647 w 115"/>
                <a:gd name="T39" fmla="*/ 2147483647 h 251"/>
                <a:gd name="T40" fmla="*/ 2147483647 w 115"/>
                <a:gd name="T41" fmla="*/ 2147483647 h 251"/>
                <a:gd name="T42" fmla="*/ 2147483647 w 115"/>
                <a:gd name="T43" fmla="*/ 2147483647 h 251"/>
                <a:gd name="T44" fmla="*/ 2147483647 w 115"/>
                <a:gd name="T45" fmla="*/ 2147483647 h 251"/>
                <a:gd name="T46" fmla="*/ 2147483647 w 115"/>
                <a:gd name="T47" fmla="*/ 2147483647 h 251"/>
                <a:gd name="T48" fmla="*/ 2147483647 w 115"/>
                <a:gd name="T49" fmla="*/ 2147483647 h 251"/>
                <a:gd name="T50" fmla="*/ 2147483647 w 115"/>
                <a:gd name="T51" fmla="*/ 0 h 251"/>
                <a:gd name="T52" fmla="*/ 2147483647 w 115"/>
                <a:gd name="T53" fmla="*/ 2147483647 h 251"/>
                <a:gd name="T54" fmla="*/ 2147483647 w 115"/>
                <a:gd name="T55" fmla="*/ 2147483647 h 251"/>
                <a:gd name="T56" fmla="*/ 2147483647 w 115"/>
                <a:gd name="T57" fmla="*/ 2147483647 h 251"/>
                <a:gd name="T58" fmla="*/ 2147483647 w 115"/>
                <a:gd name="T59" fmla="*/ 2147483647 h 251"/>
                <a:gd name="T60" fmla="*/ 2147483647 w 115"/>
                <a:gd name="T61" fmla="*/ 2147483647 h 251"/>
                <a:gd name="T62" fmla="*/ 2147483647 w 115"/>
                <a:gd name="T63" fmla="*/ 2147483647 h 251"/>
                <a:gd name="T64" fmla="*/ 2147483647 w 115"/>
                <a:gd name="T65" fmla="*/ 2147483647 h 251"/>
                <a:gd name="T66" fmla="*/ 2147483647 w 115"/>
                <a:gd name="T67" fmla="*/ 2147483647 h 251"/>
                <a:gd name="T68" fmla="*/ 2147483647 w 115"/>
                <a:gd name="T69" fmla="*/ 2147483647 h 251"/>
                <a:gd name="T70" fmla="*/ 2147483647 w 115"/>
                <a:gd name="T71" fmla="*/ 2147483647 h 251"/>
                <a:gd name="T72" fmla="*/ 2147483647 w 115"/>
                <a:gd name="T73" fmla="*/ 2147483647 h 25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15"/>
                <a:gd name="T112" fmla="*/ 0 h 251"/>
                <a:gd name="T113" fmla="*/ 115 w 115"/>
                <a:gd name="T114" fmla="*/ 251 h 251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15" h="251">
                  <a:moveTo>
                    <a:pt x="0" y="241"/>
                  </a:moveTo>
                  <a:lnTo>
                    <a:pt x="0" y="239"/>
                  </a:lnTo>
                  <a:lnTo>
                    <a:pt x="0" y="238"/>
                  </a:lnTo>
                  <a:lnTo>
                    <a:pt x="2" y="236"/>
                  </a:lnTo>
                  <a:lnTo>
                    <a:pt x="4" y="232"/>
                  </a:lnTo>
                  <a:lnTo>
                    <a:pt x="7" y="230"/>
                  </a:lnTo>
                  <a:lnTo>
                    <a:pt x="9" y="228"/>
                  </a:lnTo>
                  <a:lnTo>
                    <a:pt x="11" y="226"/>
                  </a:lnTo>
                  <a:lnTo>
                    <a:pt x="13" y="222"/>
                  </a:lnTo>
                  <a:lnTo>
                    <a:pt x="13" y="218"/>
                  </a:lnTo>
                  <a:lnTo>
                    <a:pt x="13" y="213"/>
                  </a:lnTo>
                  <a:lnTo>
                    <a:pt x="11" y="211"/>
                  </a:lnTo>
                  <a:lnTo>
                    <a:pt x="9" y="209"/>
                  </a:lnTo>
                  <a:lnTo>
                    <a:pt x="9" y="201"/>
                  </a:lnTo>
                  <a:lnTo>
                    <a:pt x="9" y="193"/>
                  </a:lnTo>
                  <a:lnTo>
                    <a:pt x="23" y="191"/>
                  </a:lnTo>
                  <a:lnTo>
                    <a:pt x="38" y="190"/>
                  </a:lnTo>
                  <a:lnTo>
                    <a:pt x="40" y="186"/>
                  </a:lnTo>
                  <a:lnTo>
                    <a:pt x="44" y="184"/>
                  </a:lnTo>
                  <a:lnTo>
                    <a:pt x="46" y="182"/>
                  </a:lnTo>
                  <a:lnTo>
                    <a:pt x="48" y="180"/>
                  </a:lnTo>
                  <a:lnTo>
                    <a:pt x="50" y="176"/>
                  </a:lnTo>
                  <a:lnTo>
                    <a:pt x="52" y="174"/>
                  </a:lnTo>
                  <a:lnTo>
                    <a:pt x="55" y="172"/>
                  </a:lnTo>
                  <a:lnTo>
                    <a:pt x="55" y="165"/>
                  </a:lnTo>
                  <a:lnTo>
                    <a:pt x="55" y="159"/>
                  </a:lnTo>
                  <a:lnTo>
                    <a:pt x="52" y="155"/>
                  </a:lnTo>
                  <a:lnTo>
                    <a:pt x="50" y="153"/>
                  </a:lnTo>
                  <a:lnTo>
                    <a:pt x="48" y="151"/>
                  </a:lnTo>
                  <a:lnTo>
                    <a:pt x="48" y="140"/>
                  </a:lnTo>
                  <a:lnTo>
                    <a:pt x="48" y="130"/>
                  </a:lnTo>
                  <a:lnTo>
                    <a:pt x="50" y="128"/>
                  </a:lnTo>
                  <a:lnTo>
                    <a:pt x="52" y="126"/>
                  </a:lnTo>
                  <a:lnTo>
                    <a:pt x="55" y="122"/>
                  </a:lnTo>
                  <a:lnTo>
                    <a:pt x="55" y="117"/>
                  </a:lnTo>
                  <a:lnTo>
                    <a:pt x="55" y="109"/>
                  </a:lnTo>
                  <a:lnTo>
                    <a:pt x="52" y="107"/>
                  </a:lnTo>
                  <a:lnTo>
                    <a:pt x="50" y="105"/>
                  </a:lnTo>
                  <a:lnTo>
                    <a:pt x="48" y="101"/>
                  </a:lnTo>
                  <a:lnTo>
                    <a:pt x="40" y="74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9" y="44"/>
                  </a:lnTo>
                  <a:lnTo>
                    <a:pt x="27" y="32"/>
                  </a:lnTo>
                  <a:lnTo>
                    <a:pt x="23" y="19"/>
                  </a:lnTo>
                  <a:lnTo>
                    <a:pt x="21" y="17"/>
                  </a:lnTo>
                  <a:lnTo>
                    <a:pt x="19" y="15"/>
                  </a:lnTo>
                  <a:lnTo>
                    <a:pt x="23" y="9"/>
                  </a:lnTo>
                  <a:lnTo>
                    <a:pt x="29" y="5"/>
                  </a:lnTo>
                  <a:lnTo>
                    <a:pt x="30" y="3"/>
                  </a:lnTo>
                  <a:lnTo>
                    <a:pt x="32" y="0"/>
                  </a:lnTo>
                  <a:lnTo>
                    <a:pt x="38" y="0"/>
                  </a:lnTo>
                  <a:lnTo>
                    <a:pt x="44" y="0"/>
                  </a:lnTo>
                  <a:lnTo>
                    <a:pt x="46" y="3"/>
                  </a:lnTo>
                  <a:lnTo>
                    <a:pt x="48" y="5"/>
                  </a:lnTo>
                  <a:lnTo>
                    <a:pt x="61" y="7"/>
                  </a:lnTo>
                  <a:lnTo>
                    <a:pt x="77" y="9"/>
                  </a:lnTo>
                  <a:lnTo>
                    <a:pt x="75" y="34"/>
                  </a:lnTo>
                  <a:lnTo>
                    <a:pt x="75" y="59"/>
                  </a:lnTo>
                  <a:lnTo>
                    <a:pt x="73" y="82"/>
                  </a:lnTo>
                  <a:lnTo>
                    <a:pt x="73" y="107"/>
                  </a:lnTo>
                  <a:lnTo>
                    <a:pt x="78" y="111"/>
                  </a:lnTo>
                  <a:lnTo>
                    <a:pt x="86" y="117"/>
                  </a:lnTo>
                  <a:lnTo>
                    <a:pt x="90" y="124"/>
                  </a:lnTo>
                  <a:lnTo>
                    <a:pt x="96" y="128"/>
                  </a:lnTo>
                  <a:lnTo>
                    <a:pt x="103" y="132"/>
                  </a:lnTo>
                  <a:lnTo>
                    <a:pt x="115" y="136"/>
                  </a:lnTo>
                  <a:lnTo>
                    <a:pt x="101" y="163"/>
                  </a:lnTo>
                  <a:lnTo>
                    <a:pt x="90" y="191"/>
                  </a:lnTo>
                  <a:lnTo>
                    <a:pt x="82" y="222"/>
                  </a:lnTo>
                  <a:lnTo>
                    <a:pt x="77" y="251"/>
                  </a:lnTo>
                  <a:lnTo>
                    <a:pt x="57" y="249"/>
                  </a:lnTo>
                  <a:lnTo>
                    <a:pt x="38" y="247"/>
                  </a:lnTo>
                  <a:lnTo>
                    <a:pt x="19" y="245"/>
                  </a:lnTo>
                  <a:lnTo>
                    <a:pt x="0" y="241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39" name="Freeform 309">
              <a:extLst>
                <a:ext uri="{FF2B5EF4-FFF2-40B4-BE49-F238E27FC236}">
                  <a16:creationId xmlns:a16="http://schemas.microsoft.com/office/drawing/2014/main" xmlns="" id="{3DD5C16C-5589-6149-B7DE-143CAD57F56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913" y="5002028"/>
              <a:ext cx="328612" cy="419100"/>
            </a:xfrm>
            <a:custGeom>
              <a:avLst/>
              <a:gdLst>
                <a:gd name="T0" fmla="*/ 2147483647 w 213"/>
                <a:gd name="T1" fmla="*/ 2147483647 h 280"/>
                <a:gd name="T2" fmla="*/ 2147483647 w 213"/>
                <a:gd name="T3" fmla="*/ 2147483647 h 280"/>
                <a:gd name="T4" fmla="*/ 2147483647 w 213"/>
                <a:gd name="T5" fmla="*/ 2147483647 h 280"/>
                <a:gd name="T6" fmla="*/ 2147483647 w 213"/>
                <a:gd name="T7" fmla="*/ 2147483647 h 280"/>
                <a:gd name="T8" fmla="*/ 2147483647 w 213"/>
                <a:gd name="T9" fmla="*/ 2147483647 h 280"/>
                <a:gd name="T10" fmla="*/ 2147483647 w 213"/>
                <a:gd name="T11" fmla="*/ 2147483647 h 280"/>
                <a:gd name="T12" fmla="*/ 2147483647 w 213"/>
                <a:gd name="T13" fmla="*/ 2147483647 h 280"/>
                <a:gd name="T14" fmla="*/ 2147483647 w 213"/>
                <a:gd name="T15" fmla="*/ 2147483647 h 280"/>
                <a:gd name="T16" fmla="*/ 2147483647 w 213"/>
                <a:gd name="T17" fmla="*/ 2147483647 h 280"/>
                <a:gd name="T18" fmla="*/ 2147483647 w 213"/>
                <a:gd name="T19" fmla="*/ 2147483647 h 280"/>
                <a:gd name="T20" fmla="*/ 2147483647 w 213"/>
                <a:gd name="T21" fmla="*/ 2147483647 h 280"/>
                <a:gd name="T22" fmla="*/ 2147483647 w 213"/>
                <a:gd name="T23" fmla="*/ 2147483647 h 280"/>
                <a:gd name="T24" fmla="*/ 2147483647 w 213"/>
                <a:gd name="T25" fmla="*/ 2147483647 h 280"/>
                <a:gd name="T26" fmla="*/ 2147483647 w 213"/>
                <a:gd name="T27" fmla="*/ 2147483647 h 280"/>
                <a:gd name="T28" fmla="*/ 0 w 213"/>
                <a:gd name="T29" fmla="*/ 2147483647 h 280"/>
                <a:gd name="T30" fmla="*/ 2147483647 w 213"/>
                <a:gd name="T31" fmla="*/ 2147483647 h 280"/>
                <a:gd name="T32" fmla="*/ 2147483647 w 213"/>
                <a:gd name="T33" fmla="*/ 2147483647 h 280"/>
                <a:gd name="T34" fmla="*/ 2147483647 w 213"/>
                <a:gd name="T35" fmla="*/ 2147483647 h 280"/>
                <a:gd name="T36" fmla="*/ 2147483647 w 213"/>
                <a:gd name="T37" fmla="*/ 2147483647 h 280"/>
                <a:gd name="T38" fmla="*/ 2147483647 w 213"/>
                <a:gd name="T39" fmla="*/ 2147483647 h 280"/>
                <a:gd name="T40" fmla="*/ 2147483647 w 213"/>
                <a:gd name="T41" fmla="*/ 2147483647 h 280"/>
                <a:gd name="T42" fmla="*/ 2147483647 w 213"/>
                <a:gd name="T43" fmla="*/ 2147483647 h 280"/>
                <a:gd name="T44" fmla="*/ 2147483647 w 213"/>
                <a:gd name="T45" fmla="*/ 0 h 280"/>
                <a:gd name="T46" fmla="*/ 2147483647 w 213"/>
                <a:gd name="T47" fmla="*/ 2147483647 h 280"/>
                <a:gd name="T48" fmla="*/ 2147483647 w 213"/>
                <a:gd name="T49" fmla="*/ 2147483647 h 280"/>
                <a:gd name="T50" fmla="*/ 2147483647 w 213"/>
                <a:gd name="T51" fmla="*/ 2147483647 h 280"/>
                <a:gd name="T52" fmla="*/ 2147483647 w 213"/>
                <a:gd name="T53" fmla="*/ 2147483647 h 280"/>
                <a:gd name="T54" fmla="*/ 2147483647 w 213"/>
                <a:gd name="T55" fmla="*/ 2147483647 h 280"/>
                <a:gd name="T56" fmla="*/ 2147483647 w 213"/>
                <a:gd name="T57" fmla="*/ 2147483647 h 280"/>
                <a:gd name="T58" fmla="*/ 2147483647 w 213"/>
                <a:gd name="T59" fmla="*/ 2147483647 h 280"/>
                <a:gd name="T60" fmla="*/ 2147483647 w 213"/>
                <a:gd name="T61" fmla="*/ 2147483647 h 280"/>
                <a:gd name="T62" fmla="*/ 2147483647 w 213"/>
                <a:gd name="T63" fmla="*/ 2147483647 h 280"/>
                <a:gd name="T64" fmla="*/ 2147483647 w 213"/>
                <a:gd name="T65" fmla="*/ 2147483647 h 280"/>
                <a:gd name="T66" fmla="*/ 2147483647 w 213"/>
                <a:gd name="T67" fmla="*/ 2147483647 h 280"/>
                <a:gd name="T68" fmla="*/ 2147483647 w 213"/>
                <a:gd name="T69" fmla="*/ 2147483647 h 280"/>
                <a:gd name="T70" fmla="*/ 2147483647 w 213"/>
                <a:gd name="T71" fmla="*/ 2147483647 h 280"/>
                <a:gd name="T72" fmla="*/ 2147483647 w 213"/>
                <a:gd name="T73" fmla="*/ 2147483647 h 280"/>
                <a:gd name="T74" fmla="*/ 2147483647 w 213"/>
                <a:gd name="T75" fmla="*/ 2147483647 h 280"/>
                <a:gd name="T76" fmla="*/ 2147483647 w 213"/>
                <a:gd name="T77" fmla="*/ 2147483647 h 280"/>
                <a:gd name="T78" fmla="*/ 2147483647 w 213"/>
                <a:gd name="T79" fmla="*/ 2147483647 h 280"/>
                <a:gd name="T80" fmla="*/ 2147483647 w 213"/>
                <a:gd name="T81" fmla="*/ 2147483647 h 280"/>
                <a:gd name="T82" fmla="*/ 2147483647 w 213"/>
                <a:gd name="T83" fmla="*/ 2147483647 h 280"/>
                <a:gd name="T84" fmla="*/ 2147483647 w 213"/>
                <a:gd name="T85" fmla="*/ 2147483647 h 280"/>
                <a:gd name="T86" fmla="*/ 2147483647 w 213"/>
                <a:gd name="T87" fmla="*/ 2147483647 h 280"/>
                <a:gd name="T88" fmla="*/ 2147483647 w 213"/>
                <a:gd name="T89" fmla="*/ 2147483647 h 28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13"/>
                <a:gd name="T136" fmla="*/ 0 h 280"/>
                <a:gd name="T137" fmla="*/ 213 w 213"/>
                <a:gd name="T138" fmla="*/ 280 h 28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13" h="280">
                  <a:moveTo>
                    <a:pt x="121" y="271"/>
                  </a:moveTo>
                  <a:lnTo>
                    <a:pt x="119" y="267"/>
                  </a:lnTo>
                  <a:lnTo>
                    <a:pt x="117" y="265"/>
                  </a:lnTo>
                  <a:lnTo>
                    <a:pt x="109" y="263"/>
                  </a:lnTo>
                  <a:lnTo>
                    <a:pt x="101" y="261"/>
                  </a:lnTo>
                  <a:lnTo>
                    <a:pt x="100" y="257"/>
                  </a:lnTo>
                  <a:lnTo>
                    <a:pt x="98" y="255"/>
                  </a:lnTo>
                  <a:lnTo>
                    <a:pt x="100" y="254"/>
                  </a:lnTo>
                  <a:lnTo>
                    <a:pt x="101" y="250"/>
                  </a:lnTo>
                  <a:lnTo>
                    <a:pt x="101" y="246"/>
                  </a:lnTo>
                  <a:lnTo>
                    <a:pt x="101" y="240"/>
                  </a:lnTo>
                  <a:lnTo>
                    <a:pt x="100" y="238"/>
                  </a:lnTo>
                  <a:lnTo>
                    <a:pt x="98" y="236"/>
                  </a:lnTo>
                  <a:lnTo>
                    <a:pt x="94" y="234"/>
                  </a:lnTo>
                  <a:lnTo>
                    <a:pt x="92" y="232"/>
                  </a:lnTo>
                  <a:lnTo>
                    <a:pt x="90" y="229"/>
                  </a:lnTo>
                  <a:lnTo>
                    <a:pt x="88" y="227"/>
                  </a:lnTo>
                  <a:lnTo>
                    <a:pt x="71" y="225"/>
                  </a:lnTo>
                  <a:lnTo>
                    <a:pt x="54" y="221"/>
                  </a:lnTo>
                  <a:lnTo>
                    <a:pt x="52" y="219"/>
                  </a:lnTo>
                  <a:lnTo>
                    <a:pt x="50" y="217"/>
                  </a:lnTo>
                  <a:lnTo>
                    <a:pt x="46" y="215"/>
                  </a:lnTo>
                  <a:lnTo>
                    <a:pt x="44" y="211"/>
                  </a:lnTo>
                  <a:lnTo>
                    <a:pt x="42" y="209"/>
                  </a:lnTo>
                  <a:lnTo>
                    <a:pt x="38" y="208"/>
                  </a:lnTo>
                  <a:lnTo>
                    <a:pt x="32" y="206"/>
                  </a:lnTo>
                  <a:lnTo>
                    <a:pt x="25" y="202"/>
                  </a:lnTo>
                  <a:lnTo>
                    <a:pt x="23" y="200"/>
                  </a:lnTo>
                  <a:lnTo>
                    <a:pt x="21" y="198"/>
                  </a:lnTo>
                  <a:lnTo>
                    <a:pt x="21" y="179"/>
                  </a:lnTo>
                  <a:lnTo>
                    <a:pt x="21" y="160"/>
                  </a:lnTo>
                  <a:lnTo>
                    <a:pt x="23" y="156"/>
                  </a:lnTo>
                  <a:lnTo>
                    <a:pt x="25" y="154"/>
                  </a:lnTo>
                  <a:lnTo>
                    <a:pt x="27" y="150"/>
                  </a:lnTo>
                  <a:lnTo>
                    <a:pt x="29" y="144"/>
                  </a:lnTo>
                  <a:lnTo>
                    <a:pt x="27" y="138"/>
                  </a:lnTo>
                  <a:lnTo>
                    <a:pt x="25" y="135"/>
                  </a:lnTo>
                  <a:lnTo>
                    <a:pt x="23" y="133"/>
                  </a:lnTo>
                  <a:lnTo>
                    <a:pt x="21" y="129"/>
                  </a:lnTo>
                  <a:lnTo>
                    <a:pt x="17" y="123"/>
                  </a:lnTo>
                  <a:lnTo>
                    <a:pt x="15" y="115"/>
                  </a:lnTo>
                  <a:lnTo>
                    <a:pt x="11" y="113"/>
                  </a:lnTo>
                  <a:lnTo>
                    <a:pt x="9" y="112"/>
                  </a:lnTo>
                  <a:lnTo>
                    <a:pt x="6" y="106"/>
                  </a:lnTo>
                  <a:lnTo>
                    <a:pt x="0" y="100"/>
                  </a:lnTo>
                  <a:lnTo>
                    <a:pt x="4" y="98"/>
                  </a:lnTo>
                  <a:lnTo>
                    <a:pt x="6" y="96"/>
                  </a:lnTo>
                  <a:lnTo>
                    <a:pt x="13" y="94"/>
                  </a:lnTo>
                  <a:lnTo>
                    <a:pt x="21" y="90"/>
                  </a:lnTo>
                  <a:lnTo>
                    <a:pt x="23" y="89"/>
                  </a:lnTo>
                  <a:lnTo>
                    <a:pt x="25" y="87"/>
                  </a:lnTo>
                  <a:lnTo>
                    <a:pt x="27" y="79"/>
                  </a:lnTo>
                  <a:lnTo>
                    <a:pt x="29" y="62"/>
                  </a:lnTo>
                  <a:lnTo>
                    <a:pt x="27" y="46"/>
                  </a:lnTo>
                  <a:lnTo>
                    <a:pt x="25" y="39"/>
                  </a:lnTo>
                  <a:lnTo>
                    <a:pt x="23" y="35"/>
                  </a:lnTo>
                  <a:lnTo>
                    <a:pt x="21" y="33"/>
                  </a:lnTo>
                  <a:lnTo>
                    <a:pt x="21" y="23"/>
                  </a:lnTo>
                  <a:lnTo>
                    <a:pt x="21" y="14"/>
                  </a:lnTo>
                  <a:lnTo>
                    <a:pt x="23" y="12"/>
                  </a:lnTo>
                  <a:lnTo>
                    <a:pt x="25" y="10"/>
                  </a:lnTo>
                  <a:lnTo>
                    <a:pt x="27" y="6"/>
                  </a:lnTo>
                  <a:lnTo>
                    <a:pt x="30" y="4"/>
                  </a:lnTo>
                  <a:lnTo>
                    <a:pt x="32" y="2"/>
                  </a:lnTo>
                  <a:lnTo>
                    <a:pt x="34" y="0"/>
                  </a:lnTo>
                  <a:lnTo>
                    <a:pt x="36" y="2"/>
                  </a:lnTo>
                  <a:lnTo>
                    <a:pt x="38" y="4"/>
                  </a:lnTo>
                  <a:lnTo>
                    <a:pt x="55" y="2"/>
                  </a:lnTo>
                  <a:lnTo>
                    <a:pt x="73" y="0"/>
                  </a:lnTo>
                  <a:lnTo>
                    <a:pt x="75" y="2"/>
                  </a:lnTo>
                  <a:lnTo>
                    <a:pt x="78" y="4"/>
                  </a:lnTo>
                  <a:lnTo>
                    <a:pt x="80" y="12"/>
                  </a:lnTo>
                  <a:lnTo>
                    <a:pt x="82" y="18"/>
                  </a:lnTo>
                  <a:lnTo>
                    <a:pt x="84" y="21"/>
                  </a:lnTo>
                  <a:lnTo>
                    <a:pt x="88" y="23"/>
                  </a:lnTo>
                  <a:lnTo>
                    <a:pt x="103" y="25"/>
                  </a:lnTo>
                  <a:lnTo>
                    <a:pt x="121" y="29"/>
                  </a:lnTo>
                  <a:lnTo>
                    <a:pt x="124" y="31"/>
                  </a:lnTo>
                  <a:lnTo>
                    <a:pt x="126" y="33"/>
                  </a:lnTo>
                  <a:lnTo>
                    <a:pt x="128" y="35"/>
                  </a:lnTo>
                  <a:lnTo>
                    <a:pt x="130" y="39"/>
                  </a:lnTo>
                  <a:lnTo>
                    <a:pt x="134" y="41"/>
                  </a:lnTo>
                  <a:lnTo>
                    <a:pt x="136" y="42"/>
                  </a:lnTo>
                  <a:lnTo>
                    <a:pt x="138" y="44"/>
                  </a:lnTo>
                  <a:lnTo>
                    <a:pt x="142" y="48"/>
                  </a:lnTo>
                  <a:lnTo>
                    <a:pt x="144" y="50"/>
                  </a:lnTo>
                  <a:lnTo>
                    <a:pt x="146" y="52"/>
                  </a:lnTo>
                  <a:lnTo>
                    <a:pt x="148" y="54"/>
                  </a:lnTo>
                  <a:lnTo>
                    <a:pt x="151" y="58"/>
                  </a:lnTo>
                  <a:lnTo>
                    <a:pt x="153" y="60"/>
                  </a:lnTo>
                  <a:lnTo>
                    <a:pt x="155" y="62"/>
                  </a:lnTo>
                  <a:lnTo>
                    <a:pt x="157" y="64"/>
                  </a:lnTo>
                  <a:lnTo>
                    <a:pt x="159" y="67"/>
                  </a:lnTo>
                  <a:lnTo>
                    <a:pt x="163" y="69"/>
                  </a:lnTo>
                  <a:lnTo>
                    <a:pt x="165" y="71"/>
                  </a:lnTo>
                  <a:lnTo>
                    <a:pt x="167" y="75"/>
                  </a:lnTo>
                  <a:lnTo>
                    <a:pt x="171" y="77"/>
                  </a:lnTo>
                  <a:lnTo>
                    <a:pt x="172" y="79"/>
                  </a:lnTo>
                  <a:lnTo>
                    <a:pt x="174" y="81"/>
                  </a:lnTo>
                  <a:lnTo>
                    <a:pt x="176" y="100"/>
                  </a:lnTo>
                  <a:lnTo>
                    <a:pt x="176" y="117"/>
                  </a:lnTo>
                  <a:lnTo>
                    <a:pt x="178" y="137"/>
                  </a:lnTo>
                  <a:lnTo>
                    <a:pt x="180" y="154"/>
                  </a:lnTo>
                  <a:lnTo>
                    <a:pt x="182" y="156"/>
                  </a:lnTo>
                  <a:lnTo>
                    <a:pt x="184" y="160"/>
                  </a:lnTo>
                  <a:lnTo>
                    <a:pt x="186" y="161"/>
                  </a:lnTo>
                  <a:lnTo>
                    <a:pt x="190" y="163"/>
                  </a:lnTo>
                  <a:lnTo>
                    <a:pt x="192" y="165"/>
                  </a:lnTo>
                  <a:lnTo>
                    <a:pt x="194" y="169"/>
                  </a:lnTo>
                  <a:lnTo>
                    <a:pt x="195" y="171"/>
                  </a:lnTo>
                  <a:lnTo>
                    <a:pt x="199" y="173"/>
                  </a:lnTo>
                  <a:lnTo>
                    <a:pt x="201" y="175"/>
                  </a:lnTo>
                  <a:lnTo>
                    <a:pt x="203" y="179"/>
                  </a:lnTo>
                  <a:lnTo>
                    <a:pt x="205" y="184"/>
                  </a:lnTo>
                  <a:lnTo>
                    <a:pt x="209" y="192"/>
                  </a:lnTo>
                  <a:lnTo>
                    <a:pt x="211" y="196"/>
                  </a:lnTo>
                  <a:lnTo>
                    <a:pt x="213" y="198"/>
                  </a:lnTo>
                  <a:lnTo>
                    <a:pt x="213" y="211"/>
                  </a:lnTo>
                  <a:lnTo>
                    <a:pt x="213" y="227"/>
                  </a:lnTo>
                  <a:lnTo>
                    <a:pt x="211" y="229"/>
                  </a:lnTo>
                  <a:lnTo>
                    <a:pt x="209" y="232"/>
                  </a:lnTo>
                  <a:lnTo>
                    <a:pt x="182" y="234"/>
                  </a:lnTo>
                  <a:lnTo>
                    <a:pt x="155" y="236"/>
                  </a:lnTo>
                  <a:lnTo>
                    <a:pt x="163" y="244"/>
                  </a:lnTo>
                  <a:lnTo>
                    <a:pt x="171" y="250"/>
                  </a:lnTo>
                  <a:lnTo>
                    <a:pt x="172" y="254"/>
                  </a:lnTo>
                  <a:lnTo>
                    <a:pt x="174" y="255"/>
                  </a:lnTo>
                  <a:lnTo>
                    <a:pt x="172" y="257"/>
                  </a:lnTo>
                  <a:lnTo>
                    <a:pt x="171" y="261"/>
                  </a:lnTo>
                  <a:lnTo>
                    <a:pt x="163" y="261"/>
                  </a:lnTo>
                  <a:lnTo>
                    <a:pt x="155" y="261"/>
                  </a:lnTo>
                  <a:lnTo>
                    <a:pt x="155" y="271"/>
                  </a:lnTo>
                  <a:lnTo>
                    <a:pt x="155" y="280"/>
                  </a:lnTo>
                  <a:lnTo>
                    <a:pt x="138" y="275"/>
                  </a:lnTo>
                  <a:lnTo>
                    <a:pt x="121" y="271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0" name="Freeform 310">
              <a:extLst>
                <a:ext uri="{FF2B5EF4-FFF2-40B4-BE49-F238E27FC236}">
                  <a16:creationId xmlns:a16="http://schemas.microsoft.com/office/drawing/2014/main" xmlns="" id="{F0CBFF15-CC4A-4246-8043-0B1B47CA4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3788" y="4943291"/>
              <a:ext cx="314325" cy="434975"/>
            </a:xfrm>
            <a:custGeom>
              <a:avLst/>
              <a:gdLst>
                <a:gd name="T0" fmla="*/ 2147483647 w 204"/>
                <a:gd name="T1" fmla="*/ 2147483647 h 290"/>
                <a:gd name="T2" fmla="*/ 2147483647 w 204"/>
                <a:gd name="T3" fmla="*/ 2147483647 h 290"/>
                <a:gd name="T4" fmla="*/ 2147483647 w 204"/>
                <a:gd name="T5" fmla="*/ 2147483647 h 290"/>
                <a:gd name="T6" fmla="*/ 2147483647 w 204"/>
                <a:gd name="T7" fmla="*/ 2147483647 h 290"/>
                <a:gd name="T8" fmla="*/ 2147483647 w 204"/>
                <a:gd name="T9" fmla="*/ 2147483647 h 290"/>
                <a:gd name="T10" fmla="*/ 2147483647 w 204"/>
                <a:gd name="T11" fmla="*/ 2147483647 h 290"/>
                <a:gd name="T12" fmla="*/ 2147483647 w 204"/>
                <a:gd name="T13" fmla="*/ 2147483647 h 290"/>
                <a:gd name="T14" fmla="*/ 2147483647 w 204"/>
                <a:gd name="T15" fmla="*/ 2147483647 h 290"/>
                <a:gd name="T16" fmla="*/ 2147483647 w 204"/>
                <a:gd name="T17" fmla="*/ 2147483647 h 290"/>
                <a:gd name="T18" fmla="*/ 2147483647 w 204"/>
                <a:gd name="T19" fmla="*/ 2147483647 h 290"/>
                <a:gd name="T20" fmla="*/ 0 w 204"/>
                <a:gd name="T21" fmla="*/ 2147483647 h 290"/>
                <a:gd name="T22" fmla="*/ 2147483647 w 204"/>
                <a:gd name="T23" fmla="*/ 2147483647 h 290"/>
                <a:gd name="T24" fmla="*/ 2147483647 w 204"/>
                <a:gd name="T25" fmla="*/ 2147483647 h 290"/>
                <a:gd name="T26" fmla="*/ 2147483647 w 204"/>
                <a:gd name="T27" fmla="*/ 2147483647 h 290"/>
                <a:gd name="T28" fmla="*/ 2147483647 w 204"/>
                <a:gd name="T29" fmla="*/ 2147483647 h 290"/>
                <a:gd name="T30" fmla="*/ 2147483647 w 204"/>
                <a:gd name="T31" fmla="*/ 2147483647 h 290"/>
                <a:gd name="T32" fmla="*/ 2147483647 w 204"/>
                <a:gd name="T33" fmla="*/ 2147483647 h 290"/>
                <a:gd name="T34" fmla="*/ 2147483647 w 204"/>
                <a:gd name="T35" fmla="*/ 2147483647 h 290"/>
                <a:gd name="T36" fmla="*/ 2147483647 w 204"/>
                <a:gd name="T37" fmla="*/ 2147483647 h 290"/>
                <a:gd name="T38" fmla="*/ 2147483647 w 204"/>
                <a:gd name="T39" fmla="*/ 2147483647 h 290"/>
                <a:gd name="T40" fmla="*/ 2147483647 w 204"/>
                <a:gd name="T41" fmla="*/ 2147483647 h 290"/>
                <a:gd name="T42" fmla="*/ 2147483647 w 204"/>
                <a:gd name="T43" fmla="*/ 2147483647 h 290"/>
                <a:gd name="T44" fmla="*/ 2147483647 w 204"/>
                <a:gd name="T45" fmla="*/ 2147483647 h 290"/>
                <a:gd name="T46" fmla="*/ 2147483647 w 204"/>
                <a:gd name="T47" fmla="*/ 2147483647 h 290"/>
                <a:gd name="T48" fmla="*/ 2147483647 w 204"/>
                <a:gd name="T49" fmla="*/ 0 h 290"/>
                <a:gd name="T50" fmla="*/ 2147483647 w 204"/>
                <a:gd name="T51" fmla="*/ 2147483647 h 290"/>
                <a:gd name="T52" fmla="*/ 2147483647 w 204"/>
                <a:gd name="T53" fmla="*/ 2147483647 h 290"/>
                <a:gd name="T54" fmla="*/ 2147483647 w 204"/>
                <a:gd name="T55" fmla="*/ 2147483647 h 290"/>
                <a:gd name="T56" fmla="*/ 2147483647 w 204"/>
                <a:gd name="T57" fmla="*/ 2147483647 h 290"/>
                <a:gd name="T58" fmla="*/ 2147483647 w 204"/>
                <a:gd name="T59" fmla="*/ 2147483647 h 290"/>
                <a:gd name="T60" fmla="*/ 2147483647 w 204"/>
                <a:gd name="T61" fmla="*/ 2147483647 h 290"/>
                <a:gd name="T62" fmla="*/ 2147483647 w 204"/>
                <a:gd name="T63" fmla="*/ 2147483647 h 290"/>
                <a:gd name="T64" fmla="*/ 2147483647 w 204"/>
                <a:gd name="T65" fmla="*/ 2147483647 h 290"/>
                <a:gd name="T66" fmla="*/ 2147483647 w 204"/>
                <a:gd name="T67" fmla="*/ 2147483647 h 290"/>
                <a:gd name="T68" fmla="*/ 2147483647 w 204"/>
                <a:gd name="T69" fmla="*/ 2147483647 h 290"/>
                <a:gd name="T70" fmla="*/ 2147483647 w 204"/>
                <a:gd name="T71" fmla="*/ 2147483647 h 290"/>
                <a:gd name="T72" fmla="*/ 2147483647 w 204"/>
                <a:gd name="T73" fmla="*/ 2147483647 h 290"/>
                <a:gd name="T74" fmla="*/ 2147483647 w 204"/>
                <a:gd name="T75" fmla="*/ 2147483647 h 290"/>
                <a:gd name="T76" fmla="*/ 2147483647 w 204"/>
                <a:gd name="T77" fmla="*/ 2147483647 h 290"/>
                <a:gd name="T78" fmla="*/ 2147483647 w 204"/>
                <a:gd name="T79" fmla="*/ 2147483647 h 290"/>
                <a:gd name="T80" fmla="*/ 2147483647 w 204"/>
                <a:gd name="T81" fmla="*/ 2147483647 h 290"/>
                <a:gd name="T82" fmla="*/ 2147483647 w 204"/>
                <a:gd name="T83" fmla="*/ 2147483647 h 290"/>
                <a:gd name="T84" fmla="*/ 2147483647 w 204"/>
                <a:gd name="T85" fmla="*/ 2147483647 h 290"/>
                <a:gd name="T86" fmla="*/ 2147483647 w 204"/>
                <a:gd name="T87" fmla="*/ 2147483647 h 290"/>
                <a:gd name="T88" fmla="*/ 2147483647 w 204"/>
                <a:gd name="T89" fmla="*/ 2147483647 h 290"/>
                <a:gd name="T90" fmla="*/ 2147483647 w 204"/>
                <a:gd name="T91" fmla="*/ 2147483647 h 29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04"/>
                <a:gd name="T139" fmla="*/ 0 h 290"/>
                <a:gd name="T140" fmla="*/ 204 w 204"/>
                <a:gd name="T141" fmla="*/ 290 h 29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04" h="290">
                  <a:moveTo>
                    <a:pt x="83" y="290"/>
                  </a:moveTo>
                  <a:lnTo>
                    <a:pt x="81" y="288"/>
                  </a:lnTo>
                  <a:lnTo>
                    <a:pt x="77" y="286"/>
                  </a:lnTo>
                  <a:lnTo>
                    <a:pt x="71" y="284"/>
                  </a:lnTo>
                  <a:lnTo>
                    <a:pt x="64" y="280"/>
                  </a:lnTo>
                  <a:lnTo>
                    <a:pt x="62" y="278"/>
                  </a:lnTo>
                  <a:lnTo>
                    <a:pt x="58" y="276"/>
                  </a:lnTo>
                  <a:lnTo>
                    <a:pt x="56" y="274"/>
                  </a:lnTo>
                  <a:lnTo>
                    <a:pt x="54" y="272"/>
                  </a:lnTo>
                  <a:lnTo>
                    <a:pt x="52" y="269"/>
                  </a:lnTo>
                  <a:lnTo>
                    <a:pt x="48" y="267"/>
                  </a:lnTo>
                  <a:lnTo>
                    <a:pt x="46" y="249"/>
                  </a:lnTo>
                  <a:lnTo>
                    <a:pt x="45" y="232"/>
                  </a:lnTo>
                  <a:lnTo>
                    <a:pt x="41" y="230"/>
                  </a:lnTo>
                  <a:lnTo>
                    <a:pt x="39" y="228"/>
                  </a:lnTo>
                  <a:lnTo>
                    <a:pt x="37" y="221"/>
                  </a:lnTo>
                  <a:lnTo>
                    <a:pt x="35" y="213"/>
                  </a:lnTo>
                  <a:lnTo>
                    <a:pt x="31" y="211"/>
                  </a:lnTo>
                  <a:lnTo>
                    <a:pt x="29" y="209"/>
                  </a:lnTo>
                  <a:lnTo>
                    <a:pt x="27" y="205"/>
                  </a:lnTo>
                  <a:lnTo>
                    <a:pt x="25" y="203"/>
                  </a:lnTo>
                  <a:lnTo>
                    <a:pt x="21" y="201"/>
                  </a:lnTo>
                  <a:lnTo>
                    <a:pt x="20" y="200"/>
                  </a:lnTo>
                  <a:lnTo>
                    <a:pt x="18" y="196"/>
                  </a:lnTo>
                  <a:lnTo>
                    <a:pt x="16" y="194"/>
                  </a:lnTo>
                  <a:lnTo>
                    <a:pt x="12" y="192"/>
                  </a:lnTo>
                  <a:lnTo>
                    <a:pt x="10" y="190"/>
                  </a:lnTo>
                  <a:lnTo>
                    <a:pt x="8" y="171"/>
                  </a:lnTo>
                  <a:lnTo>
                    <a:pt x="8" y="153"/>
                  </a:lnTo>
                  <a:lnTo>
                    <a:pt x="6" y="134"/>
                  </a:lnTo>
                  <a:lnTo>
                    <a:pt x="6" y="117"/>
                  </a:lnTo>
                  <a:lnTo>
                    <a:pt x="2" y="115"/>
                  </a:lnTo>
                  <a:lnTo>
                    <a:pt x="0" y="111"/>
                  </a:lnTo>
                  <a:lnTo>
                    <a:pt x="2" y="109"/>
                  </a:lnTo>
                  <a:lnTo>
                    <a:pt x="6" y="107"/>
                  </a:lnTo>
                  <a:lnTo>
                    <a:pt x="10" y="107"/>
                  </a:lnTo>
                  <a:lnTo>
                    <a:pt x="16" y="107"/>
                  </a:lnTo>
                  <a:lnTo>
                    <a:pt x="18" y="109"/>
                  </a:lnTo>
                  <a:lnTo>
                    <a:pt x="20" y="111"/>
                  </a:lnTo>
                  <a:lnTo>
                    <a:pt x="25" y="111"/>
                  </a:lnTo>
                  <a:lnTo>
                    <a:pt x="29" y="111"/>
                  </a:lnTo>
                  <a:lnTo>
                    <a:pt x="31" y="109"/>
                  </a:lnTo>
                  <a:lnTo>
                    <a:pt x="35" y="107"/>
                  </a:lnTo>
                  <a:lnTo>
                    <a:pt x="37" y="104"/>
                  </a:lnTo>
                  <a:lnTo>
                    <a:pt x="39" y="102"/>
                  </a:lnTo>
                  <a:lnTo>
                    <a:pt x="41" y="100"/>
                  </a:lnTo>
                  <a:lnTo>
                    <a:pt x="45" y="98"/>
                  </a:lnTo>
                  <a:lnTo>
                    <a:pt x="50" y="90"/>
                  </a:lnTo>
                  <a:lnTo>
                    <a:pt x="58" y="82"/>
                  </a:lnTo>
                  <a:lnTo>
                    <a:pt x="62" y="81"/>
                  </a:lnTo>
                  <a:lnTo>
                    <a:pt x="64" y="79"/>
                  </a:lnTo>
                  <a:lnTo>
                    <a:pt x="75" y="75"/>
                  </a:lnTo>
                  <a:lnTo>
                    <a:pt x="89" y="73"/>
                  </a:lnTo>
                  <a:lnTo>
                    <a:pt x="91" y="71"/>
                  </a:lnTo>
                  <a:lnTo>
                    <a:pt x="92" y="69"/>
                  </a:lnTo>
                  <a:lnTo>
                    <a:pt x="94" y="61"/>
                  </a:lnTo>
                  <a:lnTo>
                    <a:pt x="96" y="54"/>
                  </a:lnTo>
                  <a:lnTo>
                    <a:pt x="100" y="52"/>
                  </a:lnTo>
                  <a:lnTo>
                    <a:pt x="102" y="50"/>
                  </a:lnTo>
                  <a:lnTo>
                    <a:pt x="104" y="38"/>
                  </a:lnTo>
                  <a:lnTo>
                    <a:pt x="108" y="29"/>
                  </a:lnTo>
                  <a:lnTo>
                    <a:pt x="94" y="29"/>
                  </a:lnTo>
                  <a:lnTo>
                    <a:pt x="83" y="29"/>
                  </a:lnTo>
                  <a:lnTo>
                    <a:pt x="81" y="27"/>
                  </a:lnTo>
                  <a:lnTo>
                    <a:pt x="77" y="25"/>
                  </a:lnTo>
                  <a:lnTo>
                    <a:pt x="81" y="23"/>
                  </a:lnTo>
                  <a:lnTo>
                    <a:pt x="83" y="19"/>
                  </a:lnTo>
                  <a:lnTo>
                    <a:pt x="104" y="17"/>
                  </a:lnTo>
                  <a:lnTo>
                    <a:pt x="127" y="15"/>
                  </a:lnTo>
                  <a:lnTo>
                    <a:pt x="129" y="13"/>
                  </a:lnTo>
                  <a:lnTo>
                    <a:pt x="131" y="10"/>
                  </a:lnTo>
                  <a:lnTo>
                    <a:pt x="133" y="8"/>
                  </a:lnTo>
                  <a:lnTo>
                    <a:pt x="137" y="6"/>
                  </a:lnTo>
                  <a:lnTo>
                    <a:pt x="139" y="4"/>
                  </a:lnTo>
                  <a:lnTo>
                    <a:pt x="140" y="0"/>
                  </a:lnTo>
                  <a:lnTo>
                    <a:pt x="142" y="4"/>
                  </a:lnTo>
                  <a:lnTo>
                    <a:pt x="146" y="6"/>
                  </a:lnTo>
                  <a:lnTo>
                    <a:pt x="148" y="8"/>
                  </a:lnTo>
                  <a:lnTo>
                    <a:pt x="150" y="10"/>
                  </a:lnTo>
                  <a:lnTo>
                    <a:pt x="152" y="13"/>
                  </a:lnTo>
                  <a:lnTo>
                    <a:pt x="156" y="15"/>
                  </a:lnTo>
                  <a:lnTo>
                    <a:pt x="162" y="23"/>
                  </a:lnTo>
                  <a:lnTo>
                    <a:pt x="169" y="29"/>
                  </a:lnTo>
                  <a:lnTo>
                    <a:pt x="173" y="33"/>
                  </a:lnTo>
                  <a:lnTo>
                    <a:pt x="175" y="35"/>
                  </a:lnTo>
                  <a:lnTo>
                    <a:pt x="177" y="46"/>
                  </a:lnTo>
                  <a:lnTo>
                    <a:pt x="179" y="58"/>
                  </a:lnTo>
                  <a:lnTo>
                    <a:pt x="183" y="61"/>
                  </a:lnTo>
                  <a:lnTo>
                    <a:pt x="185" y="63"/>
                  </a:lnTo>
                  <a:lnTo>
                    <a:pt x="185" y="90"/>
                  </a:lnTo>
                  <a:lnTo>
                    <a:pt x="185" y="117"/>
                  </a:lnTo>
                  <a:lnTo>
                    <a:pt x="192" y="117"/>
                  </a:lnTo>
                  <a:lnTo>
                    <a:pt x="200" y="117"/>
                  </a:lnTo>
                  <a:lnTo>
                    <a:pt x="202" y="119"/>
                  </a:lnTo>
                  <a:lnTo>
                    <a:pt x="204" y="121"/>
                  </a:lnTo>
                  <a:lnTo>
                    <a:pt x="204" y="127"/>
                  </a:lnTo>
                  <a:lnTo>
                    <a:pt x="204" y="130"/>
                  </a:lnTo>
                  <a:lnTo>
                    <a:pt x="202" y="134"/>
                  </a:lnTo>
                  <a:lnTo>
                    <a:pt x="200" y="136"/>
                  </a:lnTo>
                  <a:lnTo>
                    <a:pt x="196" y="140"/>
                  </a:lnTo>
                  <a:lnTo>
                    <a:pt x="196" y="152"/>
                  </a:lnTo>
                  <a:lnTo>
                    <a:pt x="196" y="161"/>
                  </a:lnTo>
                  <a:lnTo>
                    <a:pt x="200" y="165"/>
                  </a:lnTo>
                  <a:lnTo>
                    <a:pt x="202" y="167"/>
                  </a:lnTo>
                  <a:lnTo>
                    <a:pt x="204" y="169"/>
                  </a:lnTo>
                  <a:lnTo>
                    <a:pt x="204" y="175"/>
                  </a:lnTo>
                  <a:lnTo>
                    <a:pt x="204" y="180"/>
                  </a:lnTo>
                  <a:lnTo>
                    <a:pt x="202" y="182"/>
                  </a:lnTo>
                  <a:lnTo>
                    <a:pt x="200" y="184"/>
                  </a:lnTo>
                  <a:lnTo>
                    <a:pt x="196" y="186"/>
                  </a:lnTo>
                  <a:lnTo>
                    <a:pt x="194" y="190"/>
                  </a:lnTo>
                  <a:lnTo>
                    <a:pt x="192" y="192"/>
                  </a:lnTo>
                  <a:lnTo>
                    <a:pt x="188" y="194"/>
                  </a:lnTo>
                  <a:lnTo>
                    <a:pt x="169" y="198"/>
                  </a:lnTo>
                  <a:lnTo>
                    <a:pt x="158" y="200"/>
                  </a:lnTo>
                  <a:lnTo>
                    <a:pt x="152" y="203"/>
                  </a:lnTo>
                  <a:lnTo>
                    <a:pt x="146" y="209"/>
                  </a:lnTo>
                  <a:lnTo>
                    <a:pt x="152" y="215"/>
                  </a:lnTo>
                  <a:lnTo>
                    <a:pt x="160" y="223"/>
                  </a:lnTo>
                  <a:lnTo>
                    <a:pt x="163" y="224"/>
                  </a:lnTo>
                  <a:lnTo>
                    <a:pt x="165" y="228"/>
                  </a:lnTo>
                  <a:lnTo>
                    <a:pt x="163" y="230"/>
                  </a:lnTo>
                  <a:lnTo>
                    <a:pt x="160" y="232"/>
                  </a:lnTo>
                  <a:lnTo>
                    <a:pt x="158" y="236"/>
                  </a:lnTo>
                  <a:lnTo>
                    <a:pt x="156" y="238"/>
                  </a:lnTo>
                  <a:lnTo>
                    <a:pt x="152" y="240"/>
                  </a:lnTo>
                  <a:lnTo>
                    <a:pt x="150" y="242"/>
                  </a:lnTo>
                  <a:lnTo>
                    <a:pt x="148" y="246"/>
                  </a:lnTo>
                  <a:lnTo>
                    <a:pt x="146" y="248"/>
                  </a:lnTo>
                  <a:lnTo>
                    <a:pt x="142" y="249"/>
                  </a:lnTo>
                  <a:lnTo>
                    <a:pt x="140" y="251"/>
                  </a:lnTo>
                  <a:lnTo>
                    <a:pt x="139" y="257"/>
                  </a:lnTo>
                  <a:lnTo>
                    <a:pt x="137" y="261"/>
                  </a:lnTo>
                  <a:lnTo>
                    <a:pt x="131" y="267"/>
                  </a:lnTo>
                  <a:lnTo>
                    <a:pt x="127" y="272"/>
                  </a:lnTo>
                  <a:lnTo>
                    <a:pt x="108" y="282"/>
                  </a:lnTo>
                  <a:lnTo>
                    <a:pt x="89" y="290"/>
                  </a:lnTo>
                  <a:lnTo>
                    <a:pt x="85" y="290"/>
                  </a:lnTo>
                  <a:lnTo>
                    <a:pt x="83" y="290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1" name="Freeform 311">
              <a:extLst>
                <a:ext uri="{FF2B5EF4-FFF2-40B4-BE49-F238E27FC236}">
                  <a16:creationId xmlns:a16="http://schemas.microsoft.com/office/drawing/2014/main" xmlns="" id="{186246AE-871F-E646-ADDB-CB6A82305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388" y="5176653"/>
              <a:ext cx="169862" cy="128588"/>
            </a:xfrm>
            <a:custGeom>
              <a:avLst/>
              <a:gdLst>
                <a:gd name="T0" fmla="*/ 2147483647 w 108"/>
                <a:gd name="T1" fmla="*/ 2147483647 h 87"/>
                <a:gd name="T2" fmla="*/ 2147483647 w 108"/>
                <a:gd name="T3" fmla="*/ 2147483647 h 87"/>
                <a:gd name="T4" fmla="*/ 2147483647 w 108"/>
                <a:gd name="T5" fmla="*/ 2147483647 h 87"/>
                <a:gd name="T6" fmla="*/ 2147483647 w 108"/>
                <a:gd name="T7" fmla="*/ 2147483647 h 87"/>
                <a:gd name="T8" fmla="*/ 2147483647 w 108"/>
                <a:gd name="T9" fmla="*/ 2147483647 h 87"/>
                <a:gd name="T10" fmla="*/ 2147483647 w 108"/>
                <a:gd name="T11" fmla="*/ 2147483647 h 87"/>
                <a:gd name="T12" fmla="*/ 0 w 108"/>
                <a:gd name="T13" fmla="*/ 2147483647 h 87"/>
                <a:gd name="T14" fmla="*/ 0 w 108"/>
                <a:gd name="T15" fmla="*/ 2147483647 h 87"/>
                <a:gd name="T16" fmla="*/ 0 w 108"/>
                <a:gd name="T17" fmla="*/ 2147483647 h 87"/>
                <a:gd name="T18" fmla="*/ 0 w 108"/>
                <a:gd name="T19" fmla="*/ 2147483647 h 87"/>
                <a:gd name="T20" fmla="*/ 0 w 108"/>
                <a:gd name="T21" fmla="*/ 2147483647 h 87"/>
                <a:gd name="T22" fmla="*/ 2147483647 w 108"/>
                <a:gd name="T23" fmla="*/ 2147483647 h 87"/>
                <a:gd name="T24" fmla="*/ 2147483647 w 108"/>
                <a:gd name="T25" fmla="*/ 0 h 87"/>
                <a:gd name="T26" fmla="*/ 2147483647 w 108"/>
                <a:gd name="T27" fmla="*/ 0 h 87"/>
                <a:gd name="T28" fmla="*/ 2147483647 w 108"/>
                <a:gd name="T29" fmla="*/ 0 h 87"/>
                <a:gd name="T30" fmla="*/ 2147483647 w 108"/>
                <a:gd name="T31" fmla="*/ 2147483647 h 87"/>
                <a:gd name="T32" fmla="*/ 2147483647 w 108"/>
                <a:gd name="T33" fmla="*/ 2147483647 h 87"/>
                <a:gd name="T34" fmla="*/ 2147483647 w 108"/>
                <a:gd name="T35" fmla="*/ 2147483647 h 87"/>
                <a:gd name="T36" fmla="*/ 2147483647 w 108"/>
                <a:gd name="T37" fmla="*/ 2147483647 h 87"/>
                <a:gd name="T38" fmla="*/ 2147483647 w 108"/>
                <a:gd name="T39" fmla="*/ 2147483647 h 87"/>
                <a:gd name="T40" fmla="*/ 2147483647 w 108"/>
                <a:gd name="T41" fmla="*/ 2147483647 h 87"/>
                <a:gd name="T42" fmla="*/ 2147483647 w 108"/>
                <a:gd name="T43" fmla="*/ 2147483647 h 87"/>
                <a:gd name="T44" fmla="*/ 2147483647 w 108"/>
                <a:gd name="T45" fmla="*/ 2147483647 h 87"/>
                <a:gd name="T46" fmla="*/ 2147483647 w 108"/>
                <a:gd name="T47" fmla="*/ 2147483647 h 87"/>
                <a:gd name="T48" fmla="*/ 2147483647 w 108"/>
                <a:gd name="T49" fmla="*/ 2147483647 h 87"/>
                <a:gd name="T50" fmla="*/ 2147483647 w 108"/>
                <a:gd name="T51" fmla="*/ 2147483647 h 87"/>
                <a:gd name="T52" fmla="*/ 2147483647 w 108"/>
                <a:gd name="T53" fmla="*/ 2147483647 h 87"/>
                <a:gd name="T54" fmla="*/ 2147483647 w 108"/>
                <a:gd name="T55" fmla="*/ 2147483647 h 87"/>
                <a:gd name="T56" fmla="*/ 2147483647 w 108"/>
                <a:gd name="T57" fmla="*/ 0 h 87"/>
                <a:gd name="T58" fmla="*/ 2147483647 w 108"/>
                <a:gd name="T59" fmla="*/ 2147483647 h 87"/>
                <a:gd name="T60" fmla="*/ 2147483647 w 108"/>
                <a:gd name="T61" fmla="*/ 2147483647 h 87"/>
                <a:gd name="T62" fmla="*/ 2147483647 w 108"/>
                <a:gd name="T63" fmla="*/ 2147483647 h 87"/>
                <a:gd name="T64" fmla="*/ 2147483647 w 108"/>
                <a:gd name="T65" fmla="*/ 2147483647 h 87"/>
                <a:gd name="T66" fmla="*/ 2147483647 w 108"/>
                <a:gd name="T67" fmla="*/ 2147483647 h 87"/>
                <a:gd name="T68" fmla="*/ 2147483647 w 108"/>
                <a:gd name="T69" fmla="*/ 2147483647 h 87"/>
                <a:gd name="T70" fmla="*/ 2147483647 w 108"/>
                <a:gd name="T71" fmla="*/ 2147483647 h 87"/>
                <a:gd name="T72" fmla="*/ 2147483647 w 108"/>
                <a:gd name="T73" fmla="*/ 2147483647 h 87"/>
                <a:gd name="T74" fmla="*/ 2147483647 w 108"/>
                <a:gd name="T75" fmla="*/ 2147483647 h 87"/>
                <a:gd name="T76" fmla="*/ 2147483647 w 108"/>
                <a:gd name="T77" fmla="*/ 2147483647 h 87"/>
                <a:gd name="T78" fmla="*/ 2147483647 w 108"/>
                <a:gd name="T79" fmla="*/ 2147483647 h 87"/>
                <a:gd name="T80" fmla="*/ 2147483647 w 108"/>
                <a:gd name="T81" fmla="*/ 2147483647 h 87"/>
                <a:gd name="T82" fmla="*/ 2147483647 w 108"/>
                <a:gd name="T83" fmla="*/ 2147483647 h 87"/>
                <a:gd name="T84" fmla="*/ 2147483647 w 108"/>
                <a:gd name="T85" fmla="*/ 2147483647 h 87"/>
                <a:gd name="T86" fmla="*/ 2147483647 w 108"/>
                <a:gd name="T87" fmla="*/ 2147483647 h 87"/>
                <a:gd name="T88" fmla="*/ 2147483647 w 108"/>
                <a:gd name="T89" fmla="*/ 2147483647 h 87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08"/>
                <a:gd name="T136" fmla="*/ 0 h 87"/>
                <a:gd name="T137" fmla="*/ 108 w 108"/>
                <a:gd name="T138" fmla="*/ 87 h 87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08" h="87">
                  <a:moveTo>
                    <a:pt x="68" y="87"/>
                  </a:moveTo>
                  <a:lnTo>
                    <a:pt x="54" y="73"/>
                  </a:lnTo>
                  <a:lnTo>
                    <a:pt x="39" y="58"/>
                  </a:lnTo>
                  <a:lnTo>
                    <a:pt x="25" y="45"/>
                  </a:lnTo>
                  <a:lnTo>
                    <a:pt x="10" y="29"/>
                  </a:lnTo>
                  <a:lnTo>
                    <a:pt x="4" y="25"/>
                  </a:lnTo>
                  <a:lnTo>
                    <a:pt x="0" y="20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20" y="0"/>
                  </a:lnTo>
                  <a:lnTo>
                    <a:pt x="35" y="0"/>
                  </a:lnTo>
                  <a:lnTo>
                    <a:pt x="37" y="2"/>
                  </a:lnTo>
                  <a:lnTo>
                    <a:pt x="39" y="6"/>
                  </a:lnTo>
                  <a:lnTo>
                    <a:pt x="46" y="8"/>
                  </a:lnTo>
                  <a:lnTo>
                    <a:pt x="54" y="10"/>
                  </a:lnTo>
                  <a:lnTo>
                    <a:pt x="56" y="12"/>
                  </a:lnTo>
                  <a:lnTo>
                    <a:pt x="58" y="14"/>
                  </a:lnTo>
                  <a:lnTo>
                    <a:pt x="62" y="18"/>
                  </a:lnTo>
                  <a:lnTo>
                    <a:pt x="68" y="18"/>
                  </a:lnTo>
                  <a:lnTo>
                    <a:pt x="75" y="18"/>
                  </a:lnTo>
                  <a:lnTo>
                    <a:pt x="77" y="14"/>
                  </a:lnTo>
                  <a:lnTo>
                    <a:pt x="81" y="12"/>
                  </a:lnTo>
                  <a:lnTo>
                    <a:pt x="83" y="10"/>
                  </a:lnTo>
                  <a:lnTo>
                    <a:pt x="87" y="4"/>
                  </a:lnTo>
                  <a:lnTo>
                    <a:pt x="93" y="0"/>
                  </a:lnTo>
                  <a:lnTo>
                    <a:pt x="94" y="2"/>
                  </a:lnTo>
                  <a:lnTo>
                    <a:pt x="96" y="6"/>
                  </a:lnTo>
                  <a:lnTo>
                    <a:pt x="98" y="12"/>
                  </a:lnTo>
                  <a:lnTo>
                    <a:pt x="102" y="20"/>
                  </a:lnTo>
                  <a:lnTo>
                    <a:pt x="104" y="22"/>
                  </a:lnTo>
                  <a:lnTo>
                    <a:pt x="108" y="25"/>
                  </a:lnTo>
                  <a:lnTo>
                    <a:pt x="108" y="29"/>
                  </a:lnTo>
                  <a:lnTo>
                    <a:pt x="108" y="35"/>
                  </a:lnTo>
                  <a:lnTo>
                    <a:pt x="104" y="37"/>
                  </a:lnTo>
                  <a:lnTo>
                    <a:pt x="102" y="39"/>
                  </a:lnTo>
                  <a:lnTo>
                    <a:pt x="94" y="60"/>
                  </a:lnTo>
                  <a:lnTo>
                    <a:pt x="87" y="83"/>
                  </a:lnTo>
                  <a:lnTo>
                    <a:pt x="85" y="85"/>
                  </a:lnTo>
                  <a:lnTo>
                    <a:pt x="83" y="87"/>
                  </a:lnTo>
                  <a:lnTo>
                    <a:pt x="75" y="87"/>
                  </a:lnTo>
                  <a:lnTo>
                    <a:pt x="68" y="87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2" name="Freeform 38">
              <a:extLst>
                <a:ext uri="{FF2B5EF4-FFF2-40B4-BE49-F238E27FC236}">
                  <a16:creationId xmlns:a16="http://schemas.microsoft.com/office/drawing/2014/main" xmlns="" id="{2988BAA3-33B7-F546-B78E-B858AB8A6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038" y="4581341"/>
              <a:ext cx="484187" cy="519112"/>
            </a:xfrm>
            <a:custGeom>
              <a:avLst/>
              <a:gdLst>
                <a:gd name="T0" fmla="*/ 2147483647 w 311"/>
                <a:gd name="T1" fmla="*/ 2147483647 h 349"/>
                <a:gd name="T2" fmla="*/ 2147483647 w 311"/>
                <a:gd name="T3" fmla="*/ 2147483647 h 349"/>
                <a:gd name="T4" fmla="*/ 2147483647 w 311"/>
                <a:gd name="T5" fmla="*/ 2147483647 h 349"/>
                <a:gd name="T6" fmla="*/ 2147483647 w 311"/>
                <a:gd name="T7" fmla="*/ 2147483647 h 349"/>
                <a:gd name="T8" fmla="*/ 2147483647 w 311"/>
                <a:gd name="T9" fmla="*/ 2147483647 h 349"/>
                <a:gd name="T10" fmla="*/ 2147483647 w 311"/>
                <a:gd name="T11" fmla="*/ 2147483647 h 349"/>
                <a:gd name="T12" fmla="*/ 2147483647 w 311"/>
                <a:gd name="T13" fmla="*/ 2147483647 h 349"/>
                <a:gd name="T14" fmla="*/ 2147483647 w 311"/>
                <a:gd name="T15" fmla="*/ 2147483647 h 349"/>
                <a:gd name="T16" fmla="*/ 2147483647 w 311"/>
                <a:gd name="T17" fmla="*/ 2147483647 h 349"/>
                <a:gd name="T18" fmla="*/ 2147483647 w 311"/>
                <a:gd name="T19" fmla="*/ 2147483647 h 349"/>
                <a:gd name="T20" fmla="*/ 2147483647 w 311"/>
                <a:gd name="T21" fmla="*/ 2147483647 h 349"/>
                <a:gd name="T22" fmla="*/ 2147483647 w 311"/>
                <a:gd name="T23" fmla="*/ 2147483647 h 349"/>
                <a:gd name="T24" fmla="*/ 2147483647 w 311"/>
                <a:gd name="T25" fmla="*/ 2147483647 h 349"/>
                <a:gd name="T26" fmla="*/ 2147483647 w 311"/>
                <a:gd name="T27" fmla="*/ 2147483647 h 349"/>
                <a:gd name="T28" fmla="*/ 2147483647 w 311"/>
                <a:gd name="T29" fmla="*/ 2147483647 h 349"/>
                <a:gd name="T30" fmla="*/ 2147483647 w 311"/>
                <a:gd name="T31" fmla="*/ 2147483647 h 349"/>
                <a:gd name="T32" fmla="*/ 2147483647 w 311"/>
                <a:gd name="T33" fmla="*/ 2147483647 h 349"/>
                <a:gd name="T34" fmla="*/ 2147483647 w 311"/>
                <a:gd name="T35" fmla="*/ 2147483647 h 349"/>
                <a:gd name="T36" fmla="*/ 2147483647 w 311"/>
                <a:gd name="T37" fmla="*/ 2147483647 h 349"/>
                <a:gd name="T38" fmla="*/ 2147483647 w 311"/>
                <a:gd name="T39" fmla="*/ 2147483647 h 349"/>
                <a:gd name="T40" fmla="*/ 2147483647 w 311"/>
                <a:gd name="T41" fmla="*/ 2147483647 h 349"/>
                <a:gd name="T42" fmla="*/ 2147483647 w 311"/>
                <a:gd name="T43" fmla="*/ 2147483647 h 349"/>
                <a:gd name="T44" fmla="*/ 2147483647 w 311"/>
                <a:gd name="T45" fmla="*/ 2147483647 h 349"/>
                <a:gd name="T46" fmla="*/ 2147483647 w 311"/>
                <a:gd name="T47" fmla="*/ 2147483647 h 349"/>
                <a:gd name="T48" fmla="*/ 2147483647 w 311"/>
                <a:gd name="T49" fmla="*/ 2147483647 h 349"/>
                <a:gd name="T50" fmla="*/ 2147483647 w 311"/>
                <a:gd name="T51" fmla="*/ 2147483647 h 349"/>
                <a:gd name="T52" fmla="*/ 2147483647 w 311"/>
                <a:gd name="T53" fmla="*/ 2147483647 h 349"/>
                <a:gd name="T54" fmla="*/ 2147483647 w 311"/>
                <a:gd name="T55" fmla="*/ 2147483647 h 349"/>
                <a:gd name="T56" fmla="*/ 2147483647 w 311"/>
                <a:gd name="T57" fmla="*/ 2147483647 h 349"/>
                <a:gd name="T58" fmla="*/ 2147483647 w 311"/>
                <a:gd name="T59" fmla="*/ 0 h 349"/>
                <a:gd name="T60" fmla="*/ 2147483647 w 311"/>
                <a:gd name="T61" fmla="*/ 2147483647 h 349"/>
                <a:gd name="T62" fmla="*/ 2147483647 w 311"/>
                <a:gd name="T63" fmla="*/ 2147483647 h 349"/>
                <a:gd name="T64" fmla="*/ 2147483647 w 311"/>
                <a:gd name="T65" fmla="*/ 2147483647 h 349"/>
                <a:gd name="T66" fmla="*/ 2147483647 w 311"/>
                <a:gd name="T67" fmla="*/ 2147483647 h 349"/>
                <a:gd name="T68" fmla="*/ 2147483647 w 311"/>
                <a:gd name="T69" fmla="*/ 2147483647 h 349"/>
                <a:gd name="T70" fmla="*/ 2147483647 w 311"/>
                <a:gd name="T71" fmla="*/ 2147483647 h 349"/>
                <a:gd name="T72" fmla="*/ 2147483647 w 311"/>
                <a:gd name="T73" fmla="*/ 2147483647 h 349"/>
                <a:gd name="T74" fmla="*/ 2147483647 w 311"/>
                <a:gd name="T75" fmla="*/ 2147483647 h 349"/>
                <a:gd name="T76" fmla="*/ 2147483647 w 311"/>
                <a:gd name="T77" fmla="*/ 2147483647 h 349"/>
                <a:gd name="T78" fmla="*/ 2147483647 w 311"/>
                <a:gd name="T79" fmla="*/ 2147483647 h 349"/>
                <a:gd name="T80" fmla="*/ 2147483647 w 311"/>
                <a:gd name="T81" fmla="*/ 2147483647 h 349"/>
                <a:gd name="T82" fmla="*/ 2147483647 w 311"/>
                <a:gd name="T83" fmla="*/ 2147483647 h 349"/>
                <a:gd name="T84" fmla="*/ 2147483647 w 311"/>
                <a:gd name="T85" fmla="*/ 2147483647 h 349"/>
                <a:gd name="T86" fmla="*/ 2147483647 w 311"/>
                <a:gd name="T87" fmla="*/ 2147483647 h 349"/>
                <a:gd name="T88" fmla="*/ 2147483647 w 311"/>
                <a:gd name="T89" fmla="*/ 2147483647 h 349"/>
                <a:gd name="T90" fmla="*/ 2147483647 w 311"/>
                <a:gd name="T91" fmla="*/ 2147483647 h 349"/>
                <a:gd name="T92" fmla="*/ 2147483647 w 311"/>
                <a:gd name="T93" fmla="*/ 2147483647 h 349"/>
                <a:gd name="T94" fmla="*/ 2147483647 w 311"/>
                <a:gd name="T95" fmla="*/ 2147483647 h 349"/>
                <a:gd name="T96" fmla="*/ 2147483647 w 311"/>
                <a:gd name="T97" fmla="*/ 2147483647 h 349"/>
                <a:gd name="T98" fmla="*/ 2147483647 w 311"/>
                <a:gd name="T99" fmla="*/ 2147483647 h 349"/>
                <a:gd name="T100" fmla="*/ 2147483647 w 311"/>
                <a:gd name="T101" fmla="*/ 2147483647 h 34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11"/>
                <a:gd name="T154" fmla="*/ 0 h 349"/>
                <a:gd name="T155" fmla="*/ 311 w 311"/>
                <a:gd name="T156" fmla="*/ 349 h 34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11" h="349">
                  <a:moveTo>
                    <a:pt x="209" y="349"/>
                  </a:moveTo>
                  <a:lnTo>
                    <a:pt x="205" y="346"/>
                  </a:lnTo>
                  <a:lnTo>
                    <a:pt x="202" y="346"/>
                  </a:lnTo>
                  <a:lnTo>
                    <a:pt x="200" y="346"/>
                  </a:lnTo>
                  <a:lnTo>
                    <a:pt x="198" y="348"/>
                  </a:lnTo>
                  <a:lnTo>
                    <a:pt x="196" y="348"/>
                  </a:lnTo>
                  <a:lnTo>
                    <a:pt x="194" y="348"/>
                  </a:lnTo>
                  <a:lnTo>
                    <a:pt x="190" y="344"/>
                  </a:lnTo>
                  <a:lnTo>
                    <a:pt x="184" y="340"/>
                  </a:lnTo>
                  <a:lnTo>
                    <a:pt x="182" y="338"/>
                  </a:lnTo>
                  <a:lnTo>
                    <a:pt x="182" y="340"/>
                  </a:lnTo>
                  <a:lnTo>
                    <a:pt x="181" y="342"/>
                  </a:lnTo>
                  <a:lnTo>
                    <a:pt x="181" y="344"/>
                  </a:lnTo>
                  <a:lnTo>
                    <a:pt x="179" y="344"/>
                  </a:lnTo>
                  <a:lnTo>
                    <a:pt x="177" y="344"/>
                  </a:lnTo>
                  <a:lnTo>
                    <a:pt x="175" y="340"/>
                  </a:lnTo>
                  <a:lnTo>
                    <a:pt x="163" y="330"/>
                  </a:lnTo>
                  <a:lnTo>
                    <a:pt x="150" y="319"/>
                  </a:lnTo>
                  <a:lnTo>
                    <a:pt x="140" y="311"/>
                  </a:lnTo>
                  <a:lnTo>
                    <a:pt x="131" y="305"/>
                  </a:lnTo>
                  <a:lnTo>
                    <a:pt x="123" y="300"/>
                  </a:lnTo>
                  <a:lnTo>
                    <a:pt x="115" y="298"/>
                  </a:lnTo>
                  <a:lnTo>
                    <a:pt x="108" y="296"/>
                  </a:lnTo>
                  <a:lnTo>
                    <a:pt x="100" y="294"/>
                  </a:lnTo>
                  <a:lnTo>
                    <a:pt x="96" y="288"/>
                  </a:lnTo>
                  <a:lnTo>
                    <a:pt x="96" y="282"/>
                  </a:lnTo>
                  <a:lnTo>
                    <a:pt x="94" y="282"/>
                  </a:lnTo>
                  <a:lnTo>
                    <a:pt x="92" y="282"/>
                  </a:lnTo>
                  <a:lnTo>
                    <a:pt x="90" y="278"/>
                  </a:lnTo>
                  <a:lnTo>
                    <a:pt x="88" y="277"/>
                  </a:lnTo>
                  <a:lnTo>
                    <a:pt x="79" y="271"/>
                  </a:lnTo>
                  <a:lnTo>
                    <a:pt x="69" y="267"/>
                  </a:lnTo>
                  <a:lnTo>
                    <a:pt x="71" y="265"/>
                  </a:lnTo>
                  <a:lnTo>
                    <a:pt x="73" y="261"/>
                  </a:lnTo>
                  <a:lnTo>
                    <a:pt x="77" y="259"/>
                  </a:lnTo>
                  <a:lnTo>
                    <a:pt x="77" y="252"/>
                  </a:lnTo>
                  <a:lnTo>
                    <a:pt x="77" y="246"/>
                  </a:lnTo>
                  <a:lnTo>
                    <a:pt x="73" y="242"/>
                  </a:lnTo>
                  <a:lnTo>
                    <a:pt x="71" y="240"/>
                  </a:lnTo>
                  <a:lnTo>
                    <a:pt x="69" y="238"/>
                  </a:lnTo>
                  <a:lnTo>
                    <a:pt x="65" y="230"/>
                  </a:lnTo>
                  <a:lnTo>
                    <a:pt x="64" y="223"/>
                  </a:lnTo>
                  <a:lnTo>
                    <a:pt x="62" y="221"/>
                  </a:lnTo>
                  <a:lnTo>
                    <a:pt x="60" y="219"/>
                  </a:lnTo>
                  <a:lnTo>
                    <a:pt x="60" y="213"/>
                  </a:lnTo>
                  <a:lnTo>
                    <a:pt x="60" y="209"/>
                  </a:lnTo>
                  <a:lnTo>
                    <a:pt x="62" y="206"/>
                  </a:lnTo>
                  <a:lnTo>
                    <a:pt x="64" y="204"/>
                  </a:lnTo>
                  <a:lnTo>
                    <a:pt x="64" y="184"/>
                  </a:lnTo>
                  <a:lnTo>
                    <a:pt x="64" y="165"/>
                  </a:lnTo>
                  <a:lnTo>
                    <a:pt x="62" y="163"/>
                  </a:lnTo>
                  <a:lnTo>
                    <a:pt x="60" y="161"/>
                  </a:lnTo>
                  <a:lnTo>
                    <a:pt x="56" y="158"/>
                  </a:lnTo>
                  <a:lnTo>
                    <a:pt x="54" y="156"/>
                  </a:lnTo>
                  <a:lnTo>
                    <a:pt x="52" y="154"/>
                  </a:lnTo>
                  <a:lnTo>
                    <a:pt x="48" y="150"/>
                  </a:lnTo>
                  <a:lnTo>
                    <a:pt x="37" y="148"/>
                  </a:lnTo>
                  <a:lnTo>
                    <a:pt x="25" y="146"/>
                  </a:lnTo>
                  <a:lnTo>
                    <a:pt x="21" y="144"/>
                  </a:lnTo>
                  <a:lnTo>
                    <a:pt x="19" y="140"/>
                  </a:lnTo>
                  <a:lnTo>
                    <a:pt x="19" y="138"/>
                  </a:lnTo>
                  <a:lnTo>
                    <a:pt x="19" y="136"/>
                  </a:lnTo>
                  <a:lnTo>
                    <a:pt x="19" y="131"/>
                  </a:lnTo>
                  <a:lnTo>
                    <a:pt x="19" y="127"/>
                  </a:lnTo>
                  <a:lnTo>
                    <a:pt x="29" y="121"/>
                  </a:lnTo>
                  <a:lnTo>
                    <a:pt x="40" y="117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25" y="102"/>
                  </a:lnTo>
                  <a:lnTo>
                    <a:pt x="10" y="98"/>
                  </a:lnTo>
                  <a:lnTo>
                    <a:pt x="6" y="92"/>
                  </a:lnTo>
                  <a:lnTo>
                    <a:pt x="0" y="88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6" y="79"/>
                  </a:lnTo>
                  <a:lnTo>
                    <a:pt x="10" y="79"/>
                  </a:lnTo>
                  <a:lnTo>
                    <a:pt x="16" y="73"/>
                  </a:lnTo>
                  <a:lnTo>
                    <a:pt x="19" y="69"/>
                  </a:lnTo>
                  <a:lnTo>
                    <a:pt x="25" y="69"/>
                  </a:lnTo>
                  <a:lnTo>
                    <a:pt x="31" y="69"/>
                  </a:lnTo>
                  <a:lnTo>
                    <a:pt x="35" y="69"/>
                  </a:lnTo>
                  <a:lnTo>
                    <a:pt x="40" y="69"/>
                  </a:lnTo>
                  <a:lnTo>
                    <a:pt x="40" y="73"/>
                  </a:lnTo>
                  <a:lnTo>
                    <a:pt x="42" y="77"/>
                  </a:lnTo>
                  <a:lnTo>
                    <a:pt x="48" y="79"/>
                  </a:lnTo>
                  <a:lnTo>
                    <a:pt x="60" y="79"/>
                  </a:lnTo>
                  <a:lnTo>
                    <a:pt x="60" y="73"/>
                  </a:lnTo>
                  <a:lnTo>
                    <a:pt x="60" y="69"/>
                  </a:lnTo>
                  <a:lnTo>
                    <a:pt x="65" y="73"/>
                  </a:lnTo>
                  <a:lnTo>
                    <a:pt x="71" y="77"/>
                  </a:lnTo>
                  <a:lnTo>
                    <a:pt x="73" y="85"/>
                  </a:lnTo>
                  <a:lnTo>
                    <a:pt x="79" y="98"/>
                  </a:lnTo>
                  <a:lnTo>
                    <a:pt x="92" y="98"/>
                  </a:lnTo>
                  <a:lnTo>
                    <a:pt x="108" y="98"/>
                  </a:lnTo>
                  <a:lnTo>
                    <a:pt x="111" y="98"/>
                  </a:lnTo>
                  <a:lnTo>
                    <a:pt x="117" y="98"/>
                  </a:lnTo>
                  <a:lnTo>
                    <a:pt x="127" y="92"/>
                  </a:lnTo>
                  <a:lnTo>
                    <a:pt x="136" y="88"/>
                  </a:lnTo>
                  <a:lnTo>
                    <a:pt x="136" y="83"/>
                  </a:lnTo>
                  <a:lnTo>
                    <a:pt x="136" y="79"/>
                  </a:lnTo>
                  <a:lnTo>
                    <a:pt x="136" y="73"/>
                  </a:lnTo>
                  <a:lnTo>
                    <a:pt x="136" y="69"/>
                  </a:lnTo>
                  <a:lnTo>
                    <a:pt x="140" y="64"/>
                  </a:lnTo>
                  <a:lnTo>
                    <a:pt x="146" y="60"/>
                  </a:lnTo>
                  <a:lnTo>
                    <a:pt x="156" y="54"/>
                  </a:lnTo>
                  <a:lnTo>
                    <a:pt x="165" y="50"/>
                  </a:lnTo>
                  <a:lnTo>
                    <a:pt x="169" y="44"/>
                  </a:lnTo>
                  <a:lnTo>
                    <a:pt x="175" y="39"/>
                  </a:lnTo>
                  <a:lnTo>
                    <a:pt x="179" y="35"/>
                  </a:lnTo>
                  <a:lnTo>
                    <a:pt x="184" y="29"/>
                  </a:lnTo>
                  <a:lnTo>
                    <a:pt x="188" y="25"/>
                  </a:lnTo>
                  <a:lnTo>
                    <a:pt x="194" y="19"/>
                  </a:lnTo>
                  <a:lnTo>
                    <a:pt x="200" y="16"/>
                  </a:lnTo>
                  <a:lnTo>
                    <a:pt x="204" y="10"/>
                  </a:lnTo>
                  <a:lnTo>
                    <a:pt x="204" y="6"/>
                  </a:lnTo>
                  <a:lnTo>
                    <a:pt x="204" y="0"/>
                  </a:lnTo>
                  <a:lnTo>
                    <a:pt x="209" y="0"/>
                  </a:lnTo>
                  <a:lnTo>
                    <a:pt x="213" y="0"/>
                  </a:lnTo>
                  <a:lnTo>
                    <a:pt x="215" y="0"/>
                  </a:lnTo>
                  <a:lnTo>
                    <a:pt x="219" y="0"/>
                  </a:lnTo>
                  <a:lnTo>
                    <a:pt x="221" y="2"/>
                  </a:lnTo>
                  <a:lnTo>
                    <a:pt x="223" y="6"/>
                  </a:lnTo>
                  <a:lnTo>
                    <a:pt x="230" y="8"/>
                  </a:lnTo>
                  <a:lnTo>
                    <a:pt x="238" y="10"/>
                  </a:lnTo>
                  <a:lnTo>
                    <a:pt x="240" y="14"/>
                  </a:lnTo>
                  <a:lnTo>
                    <a:pt x="242" y="16"/>
                  </a:lnTo>
                  <a:lnTo>
                    <a:pt x="269" y="17"/>
                  </a:lnTo>
                  <a:lnTo>
                    <a:pt x="296" y="19"/>
                  </a:lnTo>
                  <a:lnTo>
                    <a:pt x="298" y="23"/>
                  </a:lnTo>
                  <a:lnTo>
                    <a:pt x="301" y="25"/>
                  </a:lnTo>
                  <a:lnTo>
                    <a:pt x="303" y="33"/>
                  </a:lnTo>
                  <a:lnTo>
                    <a:pt x="305" y="39"/>
                  </a:lnTo>
                  <a:lnTo>
                    <a:pt x="307" y="42"/>
                  </a:lnTo>
                  <a:lnTo>
                    <a:pt x="311" y="44"/>
                  </a:lnTo>
                  <a:lnTo>
                    <a:pt x="311" y="48"/>
                  </a:lnTo>
                  <a:lnTo>
                    <a:pt x="311" y="54"/>
                  </a:lnTo>
                  <a:lnTo>
                    <a:pt x="307" y="56"/>
                  </a:lnTo>
                  <a:lnTo>
                    <a:pt x="305" y="60"/>
                  </a:lnTo>
                  <a:lnTo>
                    <a:pt x="303" y="62"/>
                  </a:lnTo>
                  <a:lnTo>
                    <a:pt x="301" y="64"/>
                  </a:lnTo>
                  <a:lnTo>
                    <a:pt x="298" y="65"/>
                  </a:lnTo>
                  <a:lnTo>
                    <a:pt x="296" y="69"/>
                  </a:lnTo>
                  <a:lnTo>
                    <a:pt x="294" y="75"/>
                  </a:lnTo>
                  <a:lnTo>
                    <a:pt x="292" y="83"/>
                  </a:lnTo>
                  <a:lnTo>
                    <a:pt x="288" y="85"/>
                  </a:lnTo>
                  <a:lnTo>
                    <a:pt x="286" y="88"/>
                  </a:lnTo>
                  <a:lnTo>
                    <a:pt x="284" y="113"/>
                  </a:lnTo>
                  <a:lnTo>
                    <a:pt x="280" y="140"/>
                  </a:lnTo>
                  <a:lnTo>
                    <a:pt x="278" y="144"/>
                  </a:lnTo>
                  <a:lnTo>
                    <a:pt x="276" y="146"/>
                  </a:lnTo>
                  <a:lnTo>
                    <a:pt x="250" y="148"/>
                  </a:lnTo>
                  <a:lnTo>
                    <a:pt x="223" y="150"/>
                  </a:lnTo>
                  <a:lnTo>
                    <a:pt x="221" y="154"/>
                  </a:lnTo>
                  <a:lnTo>
                    <a:pt x="219" y="156"/>
                  </a:lnTo>
                  <a:lnTo>
                    <a:pt x="219" y="165"/>
                  </a:lnTo>
                  <a:lnTo>
                    <a:pt x="219" y="175"/>
                  </a:lnTo>
                  <a:lnTo>
                    <a:pt x="221" y="177"/>
                  </a:lnTo>
                  <a:lnTo>
                    <a:pt x="223" y="179"/>
                  </a:lnTo>
                  <a:lnTo>
                    <a:pt x="225" y="183"/>
                  </a:lnTo>
                  <a:lnTo>
                    <a:pt x="229" y="184"/>
                  </a:lnTo>
                  <a:lnTo>
                    <a:pt x="230" y="186"/>
                  </a:lnTo>
                  <a:lnTo>
                    <a:pt x="232" y="190"/>
                  </a:lnTo>
                  <a:lnTo>
                    <a:pt x="232" y="194"/>
                  </a:lnTo>
                  <a:lnTo>
                    <a:pt x="232" y="200"/>
                  </a:lnTo>
                  <a:lnTo>
                    <a:pt x="230" y="202"/>
                  </a:lnTo>
                  <a:lnTo>
                    <a:pt x="229" y="204"/>
                  </a:lnTo>
                  <a:lnTo>
                    <a:pt x="229" y="219"/>
                  </a:lnTo>
                  <a:lnTo>
                    <a:pt x="229" y="232"/>
                  </a:lnTo>
                  <a:lnTo>
                    <a:pt x="230" y="234"/>
                  </a:lnTo>
                  <a:lnTo>
                    <a:pt x="232" y="238"/>
                  </a:lnTo>
                  <a:lnTo>
                    <a:pt x="236" y="244"/>
                  </a:lnTo>
                  <a:lnTo>
                    <a:pt x="238" y="252"/>
                  </a:lnTo>
                  <a:lnTo>
                    <a:pt x="240" y="255"/>
                  </a:lnTo>
                  <a:lnTo>
                    <a:pt x="242" y="257"/>
                  </a:lnTo>
                  <a:lnTo>
                    <a:pt x="246" y="259"/>
                  </a:lnTo>
                  <a:lnTo>
                    <a:pt x="248" y="261"/>
                  </a:lnTo>
                  <a:lnTo>
                    <a:pt x="250" y="265"/>
                  </a:lnTo>
                  <a:lnTo>
                    <a:pt x="252" y="267"/>
                  </a:lnTo>
                  <a:lnTo>
                    <a:pt x="253" y="269"/>
                  </a:lnTo>
                  <a:lnTo>
                    <a:pt x="257" y="271"/>
                  </a:lnTo>
                  <a:lnTo>
                    <a:pt x="259" y="275"/>
                  </a:lnTo>
                  <a:lnTo>
                    <a:pt x="261" y="277"/>
                  </a:lnTo>
                  <a:lnTo>
                    <a:pt x="271" y="280"/>
                  </a:lnTo>
                  <a:lnTo>
                    <a:pt x="280" y="286"/>
                  </a:lnTo>
                  <a:lnTo>
                    <a:pt x="278" y="288"/>
                  </a:lnTo>
                  <a:lnTo>
                    <a:pt x="276" y="292"/>
                  </a:lnTo>
                  <a:lnTo>
                    <a:pt x="275" y="298"/>
                  </a:lnTo>
                  <a:lnTo>
                    <a:pt x="273" y="305"/>
                  </a:lnTo>
                  <a:lnTo>
                    <a:pt x="269" y="307"/>
                  </a:lnTo>
                  <a:lnTo>
                    <a:pt x="267" y="311"/>
                  </a:lnTo>
                  <a:lnTo>
                    <a:pt x="255" y="313"/>
                  </a:lnTo>
                  <a:lnTo>
                    <a:pt x="242" y="315"/>
                  </a:lnTo>
                  <a:lnTo>
                    <a:pt x="240" y="317"/>
                  </a:lnTo>
                  <a:lnTo>
                    <a:pt x="238" y="321"/>
                  </a:lnTo>
                  <a:lnTo>
                    <a:pt x="230" y="321"/>
                  </a:lnTo>
                  <a:lnTo>
                    <a:pt x="223" y="321"/>
                  </a:lnTo>
                  <a:lnTo>
                    <a:pt x="223" y="326"/>
                  </a:lnTo>
                  <a:lnTo>
                    <a:pt x="223" y="334"/>
                  </a:lnTo>
                  <a:lnTo>
                    <a:pt x="221" y="336"/>
                  </a:lnTo>
                  <a:lnTo>
                    <a:pt x="219" y="340"/>
                  </a:lnTo>
                  <a:lnTo>
                    <a:pt x="215" y="342"/>
                  </a:lnTo>
                  <a:lnTo>
                    <a:pt x="213" y="344"/>
                  </a:lnTo>
                  <a:lnTo>
                    <a:pt x="211" y="346"/>
                  </a:lnTo>
                  <a:lnTo>
                    <a:pt x="209" y="349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3" name="Freeform 313">
              <a:extLst>
                <a:ext uri="{FF2B5EF4-FFF2-40B4-BE49-F238E27FC236}">
                  <a16:creationId xmlns:a16="http://schemas.microsoft.com/office/drawing/2014/main" xmlns="" id="{D12416AF-D599-1040-9411-293AEC23C6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3000" y="4528953"/>
              <a:ext cx="511175" cy="450850"/>
            </a:xfrm>
            <a:custGeom>
              <a:avLst/>
              <a:gdLst>
                <a:gd name="T0" fmla="*/ 2147483647 w 330"/>
                <a:gd name="T1" fmla="*/ 2147483647 h 299"/>
                <a:gd name="T2" fmla="*/ 2147483647 w 330"/>
                <a:gd name="T3" fmla="*/ 2147483647 h 299"/>
                <a:gd name="T4" fmla="*/ 2147483647 w 330"/>
                <a:gd name="T5" fmla="*/ 2147483647 h 299"/>
                <a:gd name="T6" fmla="*/ 2147483647 w 330"/>
                <a:gd name="T7" fmla="*/ 2147483647 h 299"/>
                <a:gd name="T8" fmla="*/ 2147483647 w 330"/>
                <a:gd name="T9" fmla="*/ 2147483647 h 299"/>
                <a:gd name="T10" fmla="*/ 2147483647 w 330"/>
                <a:gd name="T11" fmla="*/ 2147483647 h 299"/>
                <a:gd name="T12" fmla="*/ 2147483647 w 330"/>
                <a:gd name="T13" fmla="*/ 2147483647 h 299"/>
                <a:gd name="T14" fmla="*/ 0 w 330"/>
                <a:gd name="T15" fmla="*/ 2147483647 h 299"/>
                <a:gd name="T16" fmla="*/ 2147483647 w 330"/>
                <a:gd name="T17" fmla="*/ 2147483647 h 299"/>
                <a:gd name="T18" fmla="*/ 2147483647 w 330"/>
                <a:gd name="T19" fmla="*/ 2147483647 h 299"/>
                <a:gd name="T20" fmla="*/ 2147483647 w 330"/>
                <a:gd name="T21" fmla="*/ 2147483647 h 299"/>
                <a:gd name="T22" fmla="*/ 2147483647 w 330"/>
                <a:gd name="T23" fmla="*/ 2147483647 h 299"/>
                <a:gd name="T24" fmla="*/ 2147483647 w 330"/>
                <a:gd name="T25" fmla="*/ 2147483647 h 299"/>
                <a:gd name="T26" fmla="*/ 2147483647 w 330"/>
                <a:gd name="T27" fmla="*/ 2147483647 h 299"/>
                <a:gd name="T28" fmla="*/ 2147483647 w 330"/>
                <a:gd name="T29" fmla="*/ 2147483647 h 299"/>
                <a:gd name="T30" fmla="*/ 2147483647 w 330"/>
                <a:gd name="T31" fmla="*/ 2147483647 h 299"/>
                <a:gd name="T32" fmla="*/ 2147483647 w 330"/>
                <a:gd name="T33" fmla="*/ 2147483647 h 299"/>
                <a:gd name="T34" fmla="*/ 2147483647 w 330"/>
                <a:gd name="T35" fmla="*/ 2147483647 h 299"/>
                <a:gd name="T36" fmla="*/ 2147483647 w 330"/>
                <a:gd name="T37" fmla="*/ 2147483647 h 299"/>
                <a:gd name="T38" fmla="*/ 2147483647 w 330"/>
                <a:gd name="T39" fmla="*/ 2147483647 h 299"/>
                <a:gd name="T40" fmla="*/ 2147483647 w 330"/>
                <a:gd name="T41" fmla="*/ 2147483647 h 299"/>
                <a:gd name="T42" fmla="*/ 2147483647 w 330"/>
                <a:gd name="T43" fmla="*/ 2147483647 h 299"/>
                <a:gd name="T44" fmla="*/ 2147483647 w 330"/>
                <a:gd name="T45" fmla="*/ 0 h 299"/>
                <a:gd name="T46" fmla="*/ 2147483647 w 330"/>
                <a:gd name="T47" fmla="*/ 2147483647 h 299"/>
                <a:gd name="T48" fmla="*/ 2147483647 w 330"/>
                <a:gd name="T49" fmla="*/ 2147483647 h 299"/>
                <a:gd name="T50" fmla="*/ 2147483647 w 330"/>
                <a:gd name="T51" fmla="*/ 2147483647 h 299"/>
                <a:gd name="T52" fmla="*/ 2147483647 w 330"/>
                <a:gd name="T53" fmla="*/ 2147483647 h 299"/>
                <a:gd name="T54" fmla="*/ 2147483647 w 330"/>
                <a:gd name="T55" fmla="*/ 2147483647 h 299"/>
                <a:gd name="T56" fmla="*/ 2147483647 w 330"/>
                <a:gd name="T57" fmla="*/ 2147483647 h 299"/>
                <a:gd name="T58" fmla="*/ 2147483647 w 330"/>
                <a:gd name="T59" fmla="*/ 2147483647 h 299"/>
                <a:gd name="T60" fmla="*/ 2147483647 w 330"/>
                <a:gd name="T61" fmla="*/ 2147483647 h 299"/>
                <a:gd name="T62" fmla="*/ 2147483647 w 330"/>
                <a:gd name="T63" fmla="*/ 2147483647 h 299"/>
                <a:gd name="T64" fmla="*/ 2147483647 w 330"/>
                <a:gd name="T65" fmla="*/ 2147483647 h 299"/>
                <a:gd name="T66" fmla="*/ 2147483647 w 330"/>
                <a:gd name="T67" fmla="*/ 2147483647 h 299"/>
                <a:gd name="T68" fmla="*/ 2147483647 w 330"/>
                <a:gd name="T69" fmla="*/ 2147483647 h 299"/>
                <a:gd name="T70" fmla="*/ 2147483647 w 330"/>
                <a:gd name="T71" fmla="*/ 2147483647 h 299"/>
                <a:gd name="T72" fmla="*/ 2147483647 w 330"/>
                <a:gd name="T73" fmla="*/ 2147483647 h 299"/>
                <a:gd name="T74" fmla="*/ 2147483647 w 330"/>
                <a:gd name="T75" fmla="*/ 2147483647 h 299"/>
                <a:gd name="T76" fmla="*/ 2147483647 w 330"/>
                <a:gd name="T77" fmla="*/ 2147483647 h 299"/>
                <a:gd name="T78" fmla="*/ 2147483647 w 330"/>
                <a:gd name="T79" fmla="*/ 2147483647 h 299"/>
                <a:gd name="T80" fmla="*/ 2147483647 w 330"/>
                <a:gd name="T81" fmla="*/ 2147483647 h 299"/>
                <a:gd name="T82" fmla="*/ 2147483647 w 330"/>
                <a:gd name="T83" fmla="*/ 2147483647 h 299"/>
                <a:gd name="T84" fmla="*/ 2147483647 w 330"/>
                <a:gd name="T85" fmla="*/ 2147483647 h 299"/>
                <a:gd name="T86" fmla="*/ 2147483647 w 330"/>
                <a:gd name="T87" fmla="*/ 2147483647 h 299"/>
                <a:gd name="T88" fmla="*/ 2147483647 w 330"/>
                <a:gd name="T89" fmla="*/ 2147483647 h 299"/>
                <a:gd name="T90" fmla="*/ 2147483647 w 330"/>
                <a:gd name="T91" fmla="*/ 2147483647 h 299"/>
                <a:gd name="T92" fmla="*/ 2147483647 w 330"/>
                <a:gd name="T93" fmla="*/ 2147483647 h 299"/>
                <a:gd name="T94" fmla="*/ 2147483647 w 330"/>
                <a:gd name="T95" fmla="*/ 2147483647 h 299"/>
                <a:gd name="T96" fmla="*/ 2147483647 w 330"/>
                <a:gd name="T97" fmla="*/ 2147483647 h 299"/>
                <a:gd name="T98" fmla="*/ 2147483647 w 330"/>
                <a:gd name="T99" fmla="*/ 2147483647 h 299"/>
                <a:gd name="T100" fmla="*/ 2147483647 w 330"/>
                <a:gd name="T101" fmla="*/ 2147483647 h 299"/>
                <a:gd name="T102" fmla="*/ 2147483647 w 330"/>
                <a:gd name="T103" fmla="*/ 2147483647 h 299"/>
                <a:gd name="T104" fmla="*/ 2147483647 w 330"/>
                <a:gd name="T105" fmla="*/ 2147483647 h 299"/>
                <a:gd name="T106" fmla="*/ 2147483647 w 330"/>
                <a:gd name="T107" fmla="*/ 2147483647 h 299"/>
                <a:gd name="T108" fmla="*/ 2147483647 w 330"/>
                <a:gd name="T109" fmla="*/ 2147483647 h 299"/>
                <a:gd name="T110" fmla="*/ 2147483647 w 330"/>
                <a:gd name="T111" fmla="*/ 2147483647 h 299"/>
                <a:gd name="T112" fmla="*/ 2147483647 w 330"/>
                <a:gd name="T113" fmla="*/ 2147483647 h 299"/>
                <a:gd name="T114" fmla="*/ 2147483647 w 330"/>
                <a:gd name="T115" fmla="*/ 2147483647 h 299"/>
                <a:gd name="T116" fmla="*/ 2147483647 w 330"/>
                <a:gd name="T117" fmla="*/ 2147483647 h 29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30"/>
                <a:gd name="T178" fmla="*/ 0 h 299"/>
                <a:gd name="T179" fmla="*/ 330 w 330"/>
                <a:gd name="T180" fmla="*/ 299 h 29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30" h="299">
                  <a:moveTo>
                    <a:pt x="34" y="299"/>
                  </a:moveTo>
                  <a:lnTo>
                    <a:pt x="30" y="297"/>
                  </a:lnTo>
                  <a:lnTo>
                    <a:pt x="29" y="295"/>
                  </a:lnTo>
                  <a:lnTo>
                    <a:pt x="27" y="293"/>
                  </a:lnTo>
                  <a:lnTo>
                    <a:pt x="25" y="290"/>
                  </a:lnTo>
                  <a:lnTo>
                    <a:pt x="23" y="288"/>
                  </a:lnTo>
                  <a:lnTo>
                    <a:pt x="19" y="286"/>
                  </a:lnTo>
                  <a:lnTo>
                    <a:pt x="17" y="278"/>
                  </a:lnTo>
                  <a:lnTo>
                    <a:pt x="15" y="270"/>
                  </a:lnTo>
                  <a:lnTo>
                    <a:pt x="13" y="268"/>
                  </a:lnTo>
                  <a:lnTo>
                    <a:pt x="9" y="267"/>
                  </a:lnTo>
                  <a:lnTo>
                    <a:pt x="9" y="257"/>
                  </a:lnTo>
                  <a:lnTo>
                    <a:pt x="9" y="247"/>
                  </a:lnTo>
                  <a:lnTo>
                    <a:pt x="13" y="244"/>
                  </a:lnTo>
                  <a:lnTo>
                    <a:pt x="15" y="242"/>
                  </a:lnTo>
                  <a:lnTo>
                    <a:pt x="15" y="232"/>
                  </a:lnTo>
                  <a:lnTo>
                    <a:pt x="15" y="222"/>
                  </a:lnTo>
                  <a:lnTo>
                    <a:pt x="13" y="221"/>
                  </a:lnTo>
                  <a:lnTo>
                    <a:pt x="9" y="217"/>
                  </a:lnTo>
                  <a:lnTo>
                    <a:pt x="7" y="215"/>
                  </a:lnTo>
                  <a:lnTo>
                    <a:pt x="6" y="213"/>
                  </a:lnTo>
                  <a:lnTo>
                    <a:pt x="2" y="211"/>
                  </a:lnTo>
                  <a:lnTo>
                    <a:pt x="0" y="209"/>
                  </a:lnTo>
                  <a:lnTo>
                    <a:pt x="0" y="203"/>
                  </a:lnTo>
                  <a:lnTo>
                    <a:pt x="0" y="199"/>
                  </a:lnTo>
                  <a:lnTo>
                    <a:pt x="2" y="196"/>
                  </a:lnTo>
                  <a:lnTo>
                    <a:pt x="6" y="194"/>
                  </a:lnTo>
                  <a:lnTo>
                    <a:pt x="30" y="192"/>
                  </a:lnTo>
                  <a:lnTo>
                    <a:pt x="57" y="188"/>
                  </a:lnTo>
                  <a:lnTo>
                    <a:pt x="61" y="186"/>
                  </a:lnTo>
                  <a:lnTo>
                    <a:pt x="63" y="184"/>
                  </a:lnTo>
                  <a:lnTo>
                    <a:pt x="65" y="157"/>
                  </a:lnTo>
                  <a:lnTo>
                    <a:pt x="69" y="130"/>
                  </a:lnTo>
                  <a:lnTo>
                    <a:pt x="71" y="128"/>
                  </a:lnTo>
                  <a:lnTo>
                    <a:pt x="73" y="126"/>
                  </a:lnTo>
                  <a:lnTo>
                    <a:pt x="75" y="119"/>
                  </a:lnTo>
                  <a:lnTo>
                    <a:pt x="78" y="111"/>
                  </a:lnTo>
                  <a:lnTo>
                    <a:pt x="80" y="109"/>
                  </a:lnTo>
                  <a:lnTo>
                    <a:pt x="82" y="107"/>
                  </a:lnTo>
                  <a:lnTo>
                    <a:pt x="84" y="103"/>
                  </a:lnTo>
                  <a:lnTo>
                    <a:pt x="88" y="102"/>
                  </a:lnTo>
                  <a:lnTo>
                    <a:pt x="90" y="100"/>
                  </a:lnTo>
                  <a:lnTo>
                    <a:pt x="92" y="98"/>
                  </a:lnTo>
                  <a:lnTo>
                    <a:pt x="96" y="94"/>
                  </a:lnTo>
                  <a:lnTo>
                    <a:pt x="96" y="88"/>
                  </a:lnTo>
                  <a:lnTo>
                    <a:pt x="96" y="80"/>
                  </a:lnTo>
                  <a:lnTo>
                    <a:pt x="92" y="77"/>
                  </a:lnTo>
                  <a:lnTo>
                    <a:pt x="90" y="75"/>
                  </a:lnTo>
                  <a:lnTo>
                    <a:pt x="88" y="73"/>
                  </a:lnTo>
                  <a:lnTo>
                    <a:pt x="84" y="65"/>
                  </a:lnTo>
                  <a:lnTo>
                    <a:pt x="82" y="57"/>
                  </a:lnTo>
                  <a:lnTo>
                    <a:pt x="80" y="55"/>
                  </a:lnTo>
                  <a:lnTo>
                    <a:pt x="78" y="54"/>
                  </a:lnTo>
                  <a:lnTo>
                    <a:pt x="80" y="52"/>
                  </a:lnTo>
                  <a:lnTo>
                    <a:pt x="82" y="48"/>
                  </a:lnTo>
                  <a:lnTo>
                    <a:pt x="84" y="40"/>
                  </a:lnTo>
                  <a:lnTo>
                    <a:pt x="88" y="34"/>
                  </a:lnTo>
                  <a:lnTo>
                    <a:pt x="90" y="31"/>
                  </a:lnTo>
                  <a:lnTo>
                    <a:pt x="92" y="29"/>
                  </a:lnTo>
                  <a:lnTo>
                    <a:pt x="94" y="21"/>
                  </a:lnTo>
                  <a:lnTo>
                    <a:pt x="98" y="15"/>
                  </a:lnTo>
                  <a:lnTo>
                    <a:pt x="100" y="11"/>
                  </a:lnTo>
                  <a:lnTo>
                    <a:pt x="101" y="9"/>
                  </a:lnTo>
                  <a:lnTo>
                    <a:pt x="103" y="8"/>
                  </a:lnTo>
                  <a:lnTo>
                    <a:pt x="107" y="6"/>
                  </a:lnTo>
                  <a:lnTo>
                    <a:pt x="109" y="2"/>
                  </a:lnTo>
                  <a:lnTo>
                    <a:pt x="111" y="0"/>
                  </a:lnTo>
                  <a:lnTo>
                    <a:pt x="130" y="0"/>
                  </a:lnTo>
                  <a:lnTo>
                    <a:pt x="149" y="0"/>
                  </a:lnTo>
                  <a:lnTo>
                    <a:pt x="153" y="2"/>
                  </a:lnTo>
                  <a:lnTo>
                    <a:pt x="155" y="6"/>
                  </a:lnTo>
                  <a:lnTo>
                    <a:pt x="157" y="8"/>
                  </a:lnTo>
                  <a:lnTo>
                    <a:pt x="161" y="9"/>
                  </a:lnTo>
                  <a:lnTo>
                    <a:pt x="163" y="11"/>
                  </a:lnTo>
                  <a:lnTo>
                    <a:pt x="165" y="15"/>
                  </a:lnTo>
                  <a:lnTo>
                    <a:pt x="174" y="17"/>
                  </a:lnTo>
                  <a:lnTo>
                    <a:pt x="184" y="19"/>
                  </a:lnTo>
                  <a:lnTo>
                    <a:pt x="186" y="29"/>
                  </a:lnTo>
                  <a:lnTo>
                    <a:pt x="190" y="38"/>
                  </a:lnTo>
                  <a:lnTo>
                    <a:pt x="192" y="40"/>
                  </a:lnTo>
                  <a:lnTo>
                    <a:pt x="194" y="44"/>
                  </a:lnTo>
                  <a:lnTo>
                    <a:pt x="195" y="46"/>
                  </a:lnTo>
                  <a:lnTo>
                    <a:pt x="199" y="48"/>
                  </a:lnTo>
                  <a:lnTo>
                    <a:pt x="201" y="52"/>
                  </a:lnTo>
                  <a:lnTo>
                    <a:pt x="203" y="54"/>
                  </a:lnTo>
                  <a:lnTo>
                    <a:pt x="205" y="55"/>
                  </a:lnTo>
                  <a:lnTo>
                    <a:pt x="209" y="57"/>
                  </a:lnTo>
                  <a:lnTo>
                    <a:pt x="211" y="61"/>
                  </a:lnTo>
                  <a:lnTo>
                    <a:pt x="213" y="63"/>
                  </a:lnTo>
                  <a:lnTo>
                    <a:pt x="220" y="65"/>
                  </a:lnTo>
                  <a:lnTo>
                    <a:pt x="228" y="67"/>
                  </a:lnTo>
                  <a:lnTo>
                    <a:pt x="230" y="71"/>
                  </a:lnTo>
                  <a:lnTo>
                    <a:pt x="232" y="73"/>
                  </a:lnTo>
                  <a:lnTo>
                    <a:pt x="240" y="75"/>
                  </a:lnTo>
                  <a:lnTo>
                    <a:pt x="247" y="77"/>
                  </a:lnTo>
                  <a:lnTo>
                    <a:pt x="249" y="80"/>
                  </a:lnTo>
                  <a:lnTo>
                    <a:pt x="251" y="82"/>
                  </a:lnTo>
                  <a:lnTo>
                    <a:pt x="255" y="84"/>
                  </a:lnTo>
                  <a:lnTo>
                    <a:pt x="257" y="88"/>
                  </a:lnTo>
                  <a:lnTo>
                    <a:pt x="259" y="90"/>
                  </a:lnTo>
                  <a:lnTo>
                    <a:pt x="261" y="92"/>
                  </a:lnTo>
                  <a:lnTo>
                    <a:pt x="263" y="94"/>
                  </a:lnTo>
                  <a:lnTo>
                    <a:pt x="266" y="98"/>
                  </a:lnTo>
                  <a:lnTo>
                    <a:pt x="268" y="100"/>
                  </a:lnTo>
                  <a:lnTo>
                    <a:pt x="270" y="102"/>
                  </a:lnTo>
                  <a:lnTo>
                    <a:pt x="270" y="111"/>
                  </a:lnTo>
                  <a:lnTo>
                    <a:pt x="270" y="121"/>
                  </a:lnTo>
                  <a:lnTo>
                    <a:pt x="268" y="123"/>
                  </a:lnTo>
                  <a:lnTo>
                    <a:pt x="266" y="126"/>
                  </a:lnTo>
                  <a:lnTo>
                    <a:pt x="263" y="128"/>
                  </a:lnTo>
                  <a:lnTo>
                    <a:pt x="261" y="130"/>
                  </a:lnTo>
                  <a:lnTo>
                    <a:pt x="259" y="132"/>
                  </a:lnTo>
                  <a:lnTo>
                    <a:pt x="257" y="136"/>
                  </a:lnTo>
                  <a:lnTo>
                    <a:pt x="257" y="140"/>
                  </a:lnTo>
                  <a:lnTo>
                    <a:pt x="257" y="146"/>
                  </a:lnTo>
                  <a:lnTo>
                    <a:pt x="259" y="148"/>
                  </a:lnTo>
                  <a:lnTo>
                    <a:pt x="261" y="150"/>
                  </a:lnTo>
                  <a:lnTo>
                    <a:pt x="274" y="151"/>
                  </a:lnTo>
                  <a:lnTo>
                    <a:pt x="286" y="155"/>
                  </a:lnTo>
                  <a:lnTo>
                    <a:pt x="288" y="157"/>
                  </a:lnTo>
                  <a:lnTo>
                    <a:pt x="289" y="159"/>
                  </a:lnTo>
                  <a:lnTo>
                    <a:pt x="289" y="173"/>
                  </a:lnTo>
                  <a:lnTo>
                    <a:pt x="289" y="184"/>
                  </a:lnTo>
                  <a:lnTo>
                    <a:pt x="297" y="184"/>
                  </a:lnTo>
                  <a:lnTo>
                    <a:pt x="305" y="184"/>
                  </a:lnTo>
                  <a:lnTo>
                    <a:pt x="307" y="186"/>
                  </a:lnTo>
                  <a:lnTo>
                    <a:pt x="311" y="188"/>
                  </a:lnTo>
                  <a:lnTo>
                    <a:pt x="316" y="192"/>
                  </a:lnTo>
                  <a:lnTo>
                    <a:pt x="324" y="194"/>
                  </a:lnTo>
                  <a:lnTo>
                    <a:pt x="326" y="196"/>
                  </a:lnTo>
                  <a:lnTo>
                    <a:pt x="330" y="199"/>
                  </a:lnTo>
                  <a:lnTo>
                    <a:pt x="330" y="201"/>
                  </a:lnTo>
                  <a:lnTo>
                    <a:pt x="330" y="203"/>
                  </a:lnTo>
                  <a:lnTo>
                    <a:pt x="309" y="213"/>
                  </a:lnTo>
                  <a:lnTo>
                    <a:pt x="291" y="221"/>
                  </a:lnTo>
                  <a:lnTo>
                    <a:pt x="276" y="228"/>
                  </a:lnTo>
                  <a:lnTo>
                    <a:pt x="263" y="238"/>
                  </a:lnTo>
                  <a:lnTo>
                    <a:pt x="251" y="247"/>
                  </a:lnTo>
                  <a:lnTo>
                    <a:pt x="240" y="259"/>
                  </a:lnTo>
                  <a:lnTo>
                    <a:pt x="226" y="272"/>
                  </a:lnTo>
                  <a:lnTo>
                    <a:pt x="213" y="290"/>
                  </a:lnTo>
                  <a:lnTo>
                    <a:pt x="211" y="290"/>
                  </a:lnTo>
                  <a:lnTo>
                    <a:pt x="209" y="290"/>
                  </a:lnTo>
                  <a:lnTo>
                    <a:pt x="205" y="288"/>
                  </a:lnTo>
                  <a:lnTo>
                    <a:pt x="203" y="286"/>
                  </a:lnTo>
                  <a:lnTo>
                    <a:pt x="197" y="286"/>
                  </a:lnTo>
                  <a:lnTo>
                    <a:pt x="194" y="286"/>
                  </a:lnTo>
                  <a:lnTo>
                    <a:pt x="192" y="288"/>
                  </a:lnTo>
                  <a:lnTo>
                    <a:pt x="190" y="290"/>
                  </a:lnTo>
                  <a:lnTo>
                    <a:pt x="178" y="290"/>
                  </a:lnTo>
                  <a:lnTo>
                    <a:pt x="169" y="290"/>
                  </a:lnTo>
                  <a:lnTo>
                    <a:pt x="167" y="288"/>
                  </a:lnTo>
                  <a:lnTo>
                    <a:pt x="165" y="286"/>
                  </a:lnTo>
                  <a:lnTo>
                    <a:pt x="155" y="286"/>
                  </a:lnTo>
                  <a:lnTo>
                    <a:pt x="146" y="286"/>
                  </a:lnTo>
                  <a:lnTo>
                    <a:pt x="144" y="288"/>
                  </a:lnTo>
                  <a:lnTo>
                    <a:pt x="140" y="290"/>
                  </a:lnTo>
                  <a:lnTo>
                    <a:pt x="130" y="290"/>
                  </a:lnTo>
                  <a:lnTo>
                    <a:pt x="121" y="290"/>
                  </a:lnTo>
                  <a:lnTo>
                    <a:pt x="119" y="288"/>
                  </a:lnTo>
                  <a:lnTo>
                    <a:pt x="117" y="286"/>
                  </a:lnTo>
                  <a:lnTo>
                    <a:pt x="113" y="284"/>
                  </a:lnTo>
                  <a:lnTo>
                    <a:pt x="111" y="280"/>
                  </a:lnTo>
                  <a:lnTo>
                    <a:pt x="109" y="278"/>
                  </a:lnTo>
                  <a:lnTo>
                    <a:pt x="107" y="276"/>
                  </a:lnTo>
                  <a:lnTo>
                    <a:pt x="101" y="276"/>
                  </a:lnTo>
                  <a:lnTo>
                    <a:pt x="98" y="276"/>
                  </a:lnTo>
                  <a:lnTo>
                    <a:pt x="94" y="278"/>
                  </a:lnTo>
                  <a:lnTo>
                    <a:pt x="92" y="280"/>
                  </a:lnTo>
                  <a:lnTo>
                    <a:pt x="90" y="284"/>
                  </a:lnTo>
                  <a:lnTo>
                    <a:pt x="88" y="286"/>
                  </a:lnTo>
                  <a:lnTo>
                    <a:pt x="84" y="288"/>
                  </a:lnTo>
                  <a:lnTo>
                    <a:pt x="82" y="290"/>
                  </a:lnTo>
                  <a:lnTo>
                    <a:pt x="61" y="293"/>
                  </a:lnTo>
                  <a:lnTo>
                    <a:pt x="38" y="295"/>
                  </a:lnTo>
                  <a:lnTo>
                    <a:pt x="36" y="297"/>
                  </a:lnTo>
                  <a:lnTo>
                    <a:pt x="34" y="299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4" name="Freeform 40">
              <a:extLst>
                <a:ext uri="{FF2B5EF4-FFF2-40B4-BE49-F238E27FC236}">
                  <a16:creationId xmlns:a16="http://schemas.microsoft.com/office/drawing/2014/main" xmlns="" id="{9664CDF3-0E07-D54B-9569-680BFF5A6F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5738" y="4463866"/>
              <a:ext cx="541337" cy="461962"/>
            </a:xfrm>
            <a:custGeom>
              <a:avLst/>
              <a:gdLst>
                <a:gd name="T0" fmla="*/ 2147483647 w 349"/>
                <a:gd name="T1" fmla="*/ 2147483647 h 309"/>
                <a:gd name="T2" fmla="*/ 2147483647 w 349"/>
                <a:gd name="T3" fmla="*/ 2147483647 h 309"/>
                <a:gd name="T4" fmla="*/ 2147483647 w 349"/>
                <a:gd name="T5" fmla="*/ 2147483647 h 309"/>
                <a:gd name="T6" fmla="*/ 2147483647 w 349"/>
                <a:gd name="T7" fmla="*/ 2147483647 h 309"/>
                <a:gd name="T8" fmla="*/ 2147483647 w 349"/>
                <a:gd name="T9" fmla="*/ 2147483647 h 309"/>
                <a:gd name="T10" fmla="*/ 2147483647 w 349"/>
                <a:gd name="T11" fmla="*/ 2147483647 h 309"/>
                <a:gd name="T12" fmla="*/ 2147483647 w 349"/>
                <a:gd name="T13" fmla="*/ 2147483647 h 309"/>
                <a:gd name="T14" fmla="*/ 2147483647 w 349"/>
                <a:gd name="T15" fmla="*/ 2147483647 h 309"/>
                <a:gd name="T16" fmla="*/ 2147483647 w 349"/>
                <a:gd name="T17" fmla="*/ 2147483647 h 309"/>
                <a:gd name="T18" fmla="*/ 2147483647 w 349"/>
                <a:gd name="T19" fmla="*/ 2147483647 h 309"/>
                <a:gd name="T20" fmla="*/ 2147483647 w 349"/>
                <a:gd name="T21" fmla="*/ 2147483647 h 309"/>
                <a:gd name="T22" fmla="*/ 2147483647 w 349"/>
                <a:gd name="T23" fmla="*/ 2147483647 h 309"/>
                <a:gd name="T24" fmla="*/ 2147483647 w 349"/>
                <a:gd name="T25" fmla="*/ 2147483647 h 309"/>
                <a:gd name="T26" fmla="*/ 2147483647 w 349"/>
                <a:gd name="T27" fmla="*/ 2147483647 h 309"/>
                <a:gd name="T28" fmla="*/ 2147483647 w 349"/>
                <a:gd name="T29" fmla="*/ 2147483647 h 309"/>
                <a:gd name="T30" fmla="*/ 2147483647 w 349"/>
                <a:gd name="T31" fmla="*/ 2147483647 h 309"/>
                <a:gd name="T32" fmla="*/ 2147483647 w 349"/>
                <a:gd name="T33" fmla="*/ 2147483647 h 309"/>
                <a:gd name="T34" fmla="*/ 2147483647 w 349"/>
                <a:gd name="T35" fmla="*/ 2147483647 h 309"/>
                <a:gd name="T36" fmla="*/ 2147483647 w 349"/>
                <a:gd name="T37" fmla="*/ 2147483647 h 309"/>
                <a:gd name="T38" fmla="*/ 2147483647 w 349"/>
                <a:gd name="T39" fmla="*/ 2147483647 h 309"/>
                <a:gd name="T40" fmla="*/ 0 w 349"/>
                <a:gd name="T41" fmla="*/ 2147483647 h 309"/>
                <a:gd name="T42" fmla="*/ 2147483647 w 349"/>
                <a:gd name="T43" fmla="*/ 2147483647 h 309"/>
                <a:gd name="T44" fmla="*/ 2147483647 w 349"/>
                <a:gd name="T45" fmla="*/ 2147483647 h 309"/>
                <a:gd name="T46" fmla="*/ 2147483647 w 349"/>
                <a:gd name="T47" fmla="*/ 2147483647 h 309"/>
                <a:gd name="T48" fmla="*/ 2147483647 w 349"/>
                <a:gd name="T49" fmla="*/ 2147483647 h 309"/>
                <a:gd name="T50" fmla="*/ 2147483647 w 349"/>
                <a:gd name="T51" fmla="*/ 0 h 309"/>
                <a:gd name="T52" fmla="*/ 2147483647 w 349"/>
                <a:gd name="T53" fmla="*/ 2147483647 h 309"/>
                <a:gd name="T54" fmla="*/ 2147483647 w 349"/>
                <a:gd name="T55" fmla="*/ 2147483647 h 309"/>
                <a:gd name="T56" fmla="*/ 2147483647 w 349"/>
                <a:gd name="T57" fmla="*/ 2147483647 h 309"/>
                <a:gd name="T58" fmla="*/ 2147483647 w 349"/>
                <a:gd name="T59" fmla="*/ 2147483647 h 309"/>
                <a:gd name="T60" fmla="*/ 2147483647 w 349"/>
                <a:gd name="T61" fmla="*/ 2147483647 h 309"/>
                <a:gd name="T62" fmla="*/ 2147483647 w 349"/>
                <a:gd name="T63" fmla="*/ 2147483647 h 309"/>
                <a:gd name="T64" fmla="*/ 2147483647 w 349"/>
                <a:gd name="T65" fmla="*/ 2147483647 h 309"/>
                <a:gd name="T66" fmla="*/ 2147483647 w 349"/>
                <a:gd name="T67" fmla="*/ 2147483647 h 309"/>
                <a:gd name="T68" fmla="*/ 2147483647 w 349"/>
                <a:gd name="T69" fmla="*/ 2147483647 h 309"/>
                <a:gd name="T70" fmla="*/ 2147483647 w 349"/>
                <a:gd name="T71" fmla="*/ 2147483647 h 309"/>
                <a:gd name="T72" fmla="*/ 2147483647 w 349"/>
                <a:gd name="T73" fmla="*/ 2147483647 h 309"/>
                <a:gd name="T74" fmla="*/ 2147483647 w 349"/>
                <a:gd name="T75" fmla="*/ 2147483647 h 309"/>
                <a:gd name="T76" fmla="*/ 2147483647 w 349"/>
                <a:gd name="T77" fmla="*/ 2147483647 h 309"/>
                <a:gd name="T78" fmla="*/ 2147483647 w 349"/>
                <a:gd name="T79" fmla="*/ 2147483647 h 309"/>
                <a:gd name="T80" fmla="*/ 2147483647 w 349"/>
                <a:gd name="T81" fmla="*/ 2147483647 h 309"/>
                <a:gd name="T82" fmla="*/ 2147483647 w 349"/>
                <a:gd name="T83" fmla="*/ 2147483647 h 309"/>
                <a:gd name="T84" fmla="*/ 2147483647 w 349"/>
                <a:gd name="T85" fmla="*/ 2147483647 h 309"/>
                <a:gd name="T86" fmla="*/ 2147483647 w 349"/>
                <a:gd name="T87" fmla="*/ 2147483647 h 309"/>
                <a:gd name="T88" fmla="*/ 2147483647 w 349"/>
                <a:gd name="T89" fmla="*/ 2147483647 h 309"/>
                <a:gd name="T90" fmla="*/ 2147483647 w 349"/>
                <a:gd name="T91" fmla="*/ 2147483647 h 309"/>
                <a:gd name="T92" fmla="*/ 2147483647 w 349"/>
                <a:gd name="T93" fmla="*/ 2147483647 h 309"/>
                <a:gd name="T94" fmla="*/ 2147483647 w 349"/>
                <a:gd name="T95" fmla="*/ 2147483647 h 309"/>
                <a:gd name="T96" fmla="*/ 2147483647 w 349"/>
                <a:gd name="T97" fmla="*/ 2147483647 h 309"/>
                <a:gd name="T98" fmla="*/ 2147483647 w 349"/>
                <a:gd name="T99" fmla="*/ 2147483647 h 309"/>
                <a:gd name="T100" fmla="*/ 2147483647 w 349"/>
                <a:gd name="T101" fmla="*/ 2147483647 h 309"/>
                <a:gd name="T102" fmla="*/ 2147483647 w 349"/>
                <a:gd name="T103" fmla="*/ 2147483647 h 309"/>
                <a:gd name="T104" fmla="*/ 2147483647 w 349"/>
                <a:gd name="T105" fmla="*/ 2147483647 h 309"/>
                <a:gd name="T106" fmla="*/ 2147483647 w 349"/>
                <a:gd name="T107" fmla="*/ 2147483647 h 309"/>
                <a:gd name="T108" fmla="*/ 2147483647 w 349"/>
                <a:gd name="T109" fmla="*/ 2147483647 h 309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349"/>
                <a:gd name="T166" fmla="*/ 0 h 309"/>
                <a:gd name="T167" fmla="*/ 349 w 349"/>
                <a:gd name="T168" fmla="*/ 309 h 309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349" h="309">
                  <a:moveTo>
                    <a:pt x="165" y="309"/>
                  </a:moveTo>
                  <a:lnTo>
                    <a:pt x="165" y="290"/>
                  </a:lnTo>
                  <a:lnTo>
                    <a:pt x="165" y="271"/>
                  </a:lnTo>
                  <a:lnTo>
                    <a:pt x="165" y="267"/>
                  </a:lnTo>
                  <a:lnTo>
                    <a:pt x="165" y="261"/>
                  </a:lnTo>
                  <a:lnTo>
                    <a:pt x="159" y="256"/>
                  </a:lnTo>
                  <a:lnTo>
                    <a:pt x="155" y="252"/>
                  </a:lnTo>
                  <a:lnTo>
                    <a:pt x="151" y="246"/>
                  </a:lnTo>
                  <a:lnTo>
                    <a:pt x="149" y="242"/>
                  </a:lnTo>
                  <a:lnTo>
                    <a:pt x="147" y="240"/>
                  </a:lnTo>
                  <a:lnTo>
                    <a:pt x="145" y="238"/>
                  </a:lnTo>
                  <a:lnTo>
                    <a:pt x="142" y="235"/>
                  </a:lnTo>
                  <a:lnTo>
                    <a:pt x="140" y="233"/>
                  </a:lnTo>
                  <a:lnTo>
                    <a:pt x="138" y="231"/>
                  </a:lnTo>
                  <a:lnTo>
                    <a:pt x="136" y="227"/>
                  </a:lnTo>
                  <a:lnTo>
                    <a:pt x="128" y="225"/>
                  </a:lnTo>
                  <a:lnTo>
                    <a:pt x="120" y="223"/>
                  </a:lnTo>
                  <a:lnTo>
                    <a:pt x="118" y="221"/>
                  </a:lnTo>
                  <a:lnTo>
                    <a:pt x="117" y="217"/>
                  </a:lnTo>
                  <a:lnTo>
                    <a:pt x="109" y="206"/>
                  </a:lnTo>
                  <a:lnTo>
                    <a:pt x="101" y="194"/>
                  </a:lnTo>
                  <a:lnTo>
                    <a:pt x="99" y="190"/>
                  </a:lnTo>
                  <a:lnTo>
                    <a:pt x="95" y="189"/>
                  </a:lnTo>
                  <a:lnTo>
                    <a:pt x="84" y="187"/>
                  </a:lnTo>
                  <a:lnTo>
                    <a:pt x="72" y="185"/>
                  </a:lnTo>
                  <a:lnTo>
                    <a:pt x="69" y="181"/>
                  </a:lnTo>
                  <a:lnTo>
                    <a:pt x="67" y="179"/>
                  </a:lnTo>
                  <a:lnTo>
                    <a:pt x="69" y="177"/>
                  </a:lnTo>
                  <a:lnTo>
                    <a:pt x="72" y="175"/>
                  </a:lnTo>
                  <a:lnTo>
                    <a:pt x="74" y="171"/>
                  </a:lnTo>
                  <a:lnTo>
                    <a:pt x="76" y="169"/>
                  </a:lnTo>
                  <a:lnTo>
                    <a:pt x="80" y="167"/>
                  </a:lnTo>
                  <a:lnTo>
                    <a:pt x="82" y="165"/>
                  </a:lnTo>
                  <a:lnTo>
                    <a:pt x="84" y="160"/>
                  </a:lnTo>
                  <a:lnTo>
                    <a:pt x="86" y="150"/>
                  </a:lnTo>
                  <a:lnTo>
                    <a:pt x="84" y="141"/>
                  </a:lnTo>
                  <a:lnTo>
                    <a:pt x="82" y="137"/>
                  </a:lnTo>
                  <a:lnTo>
                    <a:pt x="80" y="133"/>
                  </a:lnTo>
                  <a:lnTo>
                    <a:pt x="76" y="131"/>
                  </a:lnTo>
                  <a:lnTo>
                    <a:pt x="74" y="129"/>
                  </a:lnTo>
                  <a:lnTo>
                    <a:pt x="72" y="127"/>
                  </a:lnTo>
                  <a:lnTo>
                    <a:pt x="69" y="123"/>
                  </a:lnTo>
                  <a:lnTo>
                    <a:pt x="67" y="121"/>
                  </a:lnTo>
                  <a:lnTo>
                    <a:pt x="65" y="119"/>
                  </a:lnTo>
                  <a:lnTo>
                    <a:pt x="63" y="116"/>
                  </a:lnTo>
                  <a:lnTo>
                    <a:pt x="61" y="114"/>
                  </a:lnTo>
                  <a:lnTo>
                    <a:pt x="57" y="112"/>
                  </a:lnTo>
                  <a:lnTo>
                    <a:pt x="49" y="110"/>
                  </a:lnTo>
                  <a:lnTo>
                    <a:pt x="44" y="106"/>
                  </a:lnTo>
                  <a:lnTo>
                    <a:pt x="40" y="104"/>
                  </a:lnTo>
                  <a:lnTo>
                    <a:pt x="38" y="102"/>
                  </a:lnTo>
                  <a:lnTo>
                    <a:pt x="30" y="100"/>
                  </a:lnTo>
                  <a:lnTo>
                    <a:pt x="24" y="96"/>
                  </a:lnTo>
                  <a:lnTo>
                    <a:pt x="21" y="94"/>
                  </a:lnTo>
                  <a:lnTo>
                    <a:pt x="19" y="93"/>
                  </a:lnTo>
                  <a:lnTo>
                    <a:pt x="17" y="91"/>
                  </a:lnTo>
                  <a:lnTo>
                    <a:pt x="15" y="87"/>
                  </a:lnTo>
                  <a:lnTo>
                    <a:pt x="11" y="85"/>
                  </a:lnTo>
                  <a:lnTo>
                    <a:pt x="9" y="83"/>
                  </a:lnTo>
                  <a:lnTo>
                    <a:pt x="7" y="79"/>
                  </a:lnTo>
                  <a:lnTo>
                    <a:pt x="5" y="77"/>
                  </a:lnTo>
                  <a:lnTo>
                    <a:pt x="1" y="75"/>
                  </a:lnTo>
                  <a:lnTo>
                    <a:pt x="0" y="73"/>
                  </a:lnTo>
                  <a:lnTo>
                    <a:pt x="0" y="64"/>
                  </a:lnTo>
                  <a:lnTo>
                    <a:pt x="0" y="54"/>
                  </a:lnTo>
                  <a:lnTo>
                    <a:pt x="1" y="50"/>
                  </a:lnTo>
                  <a:lnTo>
                    <a:pt x="5" y="48"/>
                  </a:lnTo>
                  <a:lnTo>
                    <a:pt x="7" y="33"/>
                  </a:lnTo>
                  <a:lnTo>
                    <a:pt x="9" y="20"/>
                  </a:lnTo>
                  <a:lnTo>
                    <a:pt x="19" y="18"/>
                  </a:lnTo>
                  <a:lnTo>
                    <a:pt x="28" y="16"/>
                  </a:lnTo>
                  <a:lnTo>
                    <a:pt x="30" y="12"/>
                  </a:lnTo>
                  <a:lnTo>
                    <a:pt x="34" y="10"/>
                  </a:lnTo>
                  <a:lnTo>
                    <a:pt x="36" y="8"/>
                  </a:lnTo>
                  <a:lnTo>
                    <a:pt x="38" y="6"/>
                  </a:lnTo>
                  <a:lnTo>
                    <a:pt x="40" y="2"/>
                  </a:lnTo>
                  <a:lnTo>
                    <a:pt x="44" y="0"/>
                  </a:lnTo>
                  <a:lnTo>
                    <a:pt x="57" y="0"/>
                  </a:lnTo>
                  <a:lnTo>
                    <a:pt x="72" y="0"/>
                  </a:lnTo>
                  <a:lnTo>
                    <a:pt x="74" y="2"/>
                  </a:lnTo>
                  <a:lnTo>
                    <a:pt x="76" y="6"/>
                  </a:lnTo>
                  <a:lnTo>
                    <a:pt x="80" y="8"/>
                  </a:lnTo>
                  <a:lnTo>
                    <a:pt x="82" y="10"/>
                  </a:lnTo>
                  <a:lnTo>
                    <a:pt x="84" y="12"/>
                  </a:lnTo>
                  <a:lnTo>
                    <a:pt x="88" y="16"/>
                  </a:lnTo>
                  <a:lnTo>
                    <a:pt x="94" y="18"/>
                  </a:lnTo>
                  <a:lnTo>
                    <a:pt x="101" y="20"/>
                  </a:lnTo>
                  <a:lnTo>
                    <a:pt x="103" y="22"/>
                  </a:lnTo>
                  <a:lnTo>
                    <a:pt x="105" y="23"/>
                  </a:lnTo>
                  <a:lnTo>
                    <a:pt x="113" y="27"/>
                  </a:lnTo>
                  <a:lnTo>
                    <a:pt x="120" y="29"/>
                  </a:lnTo>
                  <a:lnTo>
                    <a:pt x="122" y="31"/>
                  </a:lnTo>
                  <a:lnTo>
                    <a:pt x="126" y="35"/>
                  </a:lnTo>
                  <a:lnTo>
                    <a:pt x="128" y="37"/>
                  </a:lnTo>
                  <a:lnTo>
                    <a:pt x="130" y="39"/>
                  </a:lnTo>
                  <a:lnTo>
                    <a:pt x="132" y="41"/>
                  </a:lnTo>
                  <a:lnTo>
                    <a:pt x="136" y="45"/>
                  </a:lnTo>
                  <a:lnTo>
                    <a:pt x="138" y="47"/>
                  </a:lnTo>
                  <a:lnTo>
                    <a:pt x="140" y="48"/>
                  </a:lnTo>
                  <a:lnTo>
                    <a:pt x="142" y="50"/>
                  </a:lnTo>
                  <a:lnTo>
                    <a:pt x="145" y="54"/>
                  </a:lnTo>
                  <a:lnTo>
                    <a:pt x="147" y="56"/>
                  </a:lnTo>
                  <a:lnTo>
                    <a:pt x="149" y="58"/>
                  </a:lnTo>
                  <a:lnTo>
                    <a:pt x="151" y="62"/>
                  </a:lnTo>
                  <a:lnTo>
                    <a:pt x="155" y="64"/>
                  </a:lnTo>
                  <a:lnTo>
                    <a:pt x="161" y="66"/>
                  </a:lnTo>
                  <a:lnTo>
                    <a:pt x="168" y="68"/>
                  </a:lnTo>
                  <a:lnTo>
                    <a:pt x="172" y="70"/>
                  </a:lnTo>
                  <a:lnTo>
                    <a:pt x="174" y="73"/>
                  </a:lnTo>
                  <a:lnTo>
                    <a:pt x="189" y="75"/>
                  </a:lnTo>
                  <a:lnTo>
                    <a:pt x="207" y="77"/>
                  </a:lnTo>
                  <a:lnTo>
                    <a:pt x="211" y="79"/>
                  </a:lnTo>
                  <a:lnTo>
                    <a:pt x="213" y="83"/>
                  </a:lnTo>
                  <a:lnTo>
                    <a:pt x="214" y="85"/>
                  </a:lnTo>
                  <a:lnTo>
                    <a:pt x="216" y="87"/>
                  </a:lnTo>
                  <a:lnTo>
                    <a:pt x="220" y="91"/>
                  </a:lnTo>
                  <a:lnTo>
                    <a:pt x="222" y="93"/>
                  </a:lnTo>
                  <a:lnTo>
                    <a:pt x="224" y="94"/>
                  </a:lnTo>
                  <a:lnTo>
                    <a:pt x="228" y="96"/>
                  </a:lnTo>
                  <a:lnTo>
                    <a:pt x="230" y="100"/>
                  </a:lnTo>
                  <a:lnTo>
                    <a:pt x="232" y="102"/>
                  </a:lnTo>
                  <a:lnTo>
                    <a:pt x="234" y="104"/>
                  </a:lnTo>
                  <a:lnTo>
                    <a:pt x="237" y="106"/>
                  </a:lnTo>
                  <a:lnTo>
                    <a:pt x="239" y="110"/>
                  </a:lnTo>
                  <a:lnTo>
                    <a:pt x="241" y="112"/>
                  </a:lnTo>
                  <a:lnTo>
                    <a:pt x="249" y="114"/>
                  </a:lnTo>
                  <a:lnTo>
                    <a:pt x="257" y="116"/>
                  </a:lnTo>
                  <a:lnTo>
                    <a:pt x="259" y="119"/>
                  </a:lnTo>
                  <a:lnTo>
                    <a:pt x="260" y="121"/>
                  </a:lnTo>
                  <a:lnTo>
                    <a:pt x="262" y="123"/>
                  </a:lnTo>
                  <a:lnTo>
                    <a:pt x="266" y="125"/>
                  </a:lnTo>
                  <a:lnTo>
                    <a:pt x="278" y="127"/>
                  </a:lnTo>
                  <a:lnTo>
                    <a:pt x="299" y="127"/>
                  </a:lnTo>
                  <a:lnTo>
                    <a:pt x="301" y="141"/>
                  </a:lnTo>
                  <a:lnTo>
                    <a:pt x="305" y="156"/>
                  </a:lnTo>
                  <a:lnTo>
                    <a:pt x="307" y="158"/>
                  </a:lnTo>
                  <a:lnTo>
                    <a:pt x="308" y="160"/>
                  </a:lnTo>
                  <a:lnTo>
                    <a:pt x="312" y="167"/>
                  </a:lnTo>
                  <a:lnTo>
                    <a:pt x="314" y="175"/>
                  </a:lnTo>
                  <a:lnTo>
                    <a:pt x="316" y="177"/>
                  </a:lnTo>
                  <a:lnTo>
                    <a:pt x="320" y="179"/>
                  </a:lnTo>
                  <a:lnTo>
                    <a:pt x="326" y="181"/>
                  </a:lnTo>
                  <a:lnTo>
                    <a:pt x="333" y="185"/>
                  </a:lnTo>
                  <a:lnTo>
                    <a:pt x="335" y="187"/>
                  </a:lnTo>
                  <a:lnTo>
                    <a:pt x="337" y="189"/>
                  </a:lnTo>
                  <a:lnTo>
                    <a:pt x="341" y="202"/>
                  </a:lnTo>
                  <a:lnTo>
                    <a:pt x="343" y="213"/>
                  </a:lnTo>
                  <a:lnTo>
                    <a:pt x="345" y="215"/>
                  </a:lnTo>
                  <a:lnTo>
                    <a:pt x="349" y="217"/>
                  </a:lnTo>
                  <a:lnTo>
                    <a:pt x="349" y="235"/>
                  </a:lnTo>
                  <a:lnTo>
                    <a:pt x="349" y="252"/>
                  </a:lnTo>
                  <a:lnTo>
                    <a:pt x="326" y="248"/>
                  </a:lnTo>
                  <a:lnTo>
                    <a:pt x="303" y="246"/>
                  </a:lnTo>
                  <a:lnTo>
                    <a:pt x="278" y="248"/>
                  </a:lnTo>
                  <a:lnTo>
                    <a:pt x="253" y="250"/>
                  </a:lnTo>
                  <a:lnTo>
                    <a:pt x="241" y="252"/>
                  </a:lnTo>
                  <a:lnTo>
                    <a:pt x="230" y="256"/>
                  </a:lnTo>
                  <a:lnTo>
                    <a:pt x="218" y="260"/>
                  </a:lnTo>
                  <a:lnTo>
                    <a:pt x="209" y="265"/>
                  </a:lnTo>
                  <a:lnTo>
                    <a:pt x="201" y="273"/>
                  </a:lnTo>
                  <a:lnTo>
                    <a:pt x="193" y="281"/>
                  </a:lnTo>
                  <a:lnTo>
                    <a:pt x="188" y="290"/>
                  </a:lnTo>
                  <a:lnTo>
                    <a:pt x="184" y="300"/>
                  </a:lnTo>
                  <a:lnTo>
                    <a:pt x="174" y="306"/>
                  </a:lnTo>
                  <a:lnTo>
                    <a:pt x="165" y="309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Freeform 315">
              <a:extLst>
                <a:ext uri="{FF2B5EF4-FFF2-40B4-BE49-F238E27FC236}">
                  <a16:creationId xmlns:a16="http://schemas.microsoft.com/office/drawing/2014/main" xmlns="" id="{D0C5EEA4-21F9-9B4A-B093-F6C6DF78FD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1513" y="4563878"/>
              <a:ext cx="344487" cy="304800"/>
            </a:xfrm>
            <a:custGeom>
              <a:avLst/>
              <a:gdLst>
                <a:gd name="T0" fmla="*/ 2147483647 w 223"/>
                <a:gd name="T1" fmla="*/ 2147483647 h 203"/>
                <a:gd name="T2" fmla="*/ 2147483647 w 223"/>
                <a:gd name="T3" fmla="*/ 2147483647 h 203"/>
                <a:gd name="T4" fmla="*/ 2147483647 w 223"/>
                <a:gd name="T5" fmla="*/ 2147483647 h 203"/>
                <a:gd name="T6" fmla="*/ 2147483647 w 223"/>
                <a:gd name="T7" fmla="*/ 2147483647 h 203"/>
                <a:gd name="T8" fmla="*/ 2147483647 w 223"/>
                <a:gd name="T9" fmla="*/ 2147483647 h 203"/>
                <a:gd name="T10" fmla="*/ 2147483647 w 223"/>
                <a:gd name="T11" fmla="*/ 2147483647 h 203"/>
                <a:gd name="T12" fmla="*/ 2147483647 w 223"/>
                <a:gd name="T13" fmla="*/ 2147483647 h 203"/>
                <a:gd name="T14" fmla="*/ 2147483647 w 223"/>
                <a:gd name="T15" fmla="*/ 2147483647 h 203"/>
                <a:gd name="T16" fmla="*/ 2147483647 w 223"/>
                <a:gd name="T17" fmla="*/ 2147483647 h 203"/>
                <a:gd name="T18" fmla="*/ 2147483647 w 223"/>
                <a:gd name="T19" fmla="*/ 2147483647 h 203"/>
                <a:gd name="T20" fmla="*/ 2147483647 w 223"/>
                <a:gd name="T21" fmla="*/ 2147483647 h 203"/>
                <a:gd name="T22" fmla="*/ 2147483647 w 223"/>
                <a:gd name="T23" fmla="*/ 2147483647 h 203"/>
                <a:gd name="T24" fmla="*/ 2147483647 w 223"/>
                <a:gd name="T25" fmla="*/ 2147483647 h 203"/>
                <a:gd name="T26" fmla="*/ 2147483647 w 223"/>
                <a:gd name="T27" fmla="*/ 2147483647 h 203"/>
                <a:gd name="T28" fmla="*/ 2147483647 w 223"/>
                <a:gd name="T29" fmla="*/ 2147483647 h 203"/>
                <a:gd name="T30" fmla="*/ 2147483647 w 223"/>
                <a:gd name="T31" fmla="*/ 2147483647 h 203"/>
                <a:gd name="T32" fmla="*/ 2147483647 w 223"/>
                <a:gd name="T33" fmla="*/ 2147483647 h 203"/>
                <a:gd name="T34" fmla="*/ 2147483647 w 223"/>
                <a:gd name="T35" fmla="*/ 2147483647 h 203"/>
                <a:gd name="T36" fmla="*/ 2147483647 w 223"/>
                <a:gd name="T37" fmla="*/ 2147483647 h 203"/>
                <a:gd name="T38" fmla="*/ 2147483647 w 223"/>
                <a:gd name="T39" fmla="*/ 2147483647 h 203"/>
                <a:gd name="T40" fmla="*/ 2147483647 w 223"/>
                <a:gd name="T41" fmla="*/ 2147483647 h 203"/>
                <a:gd name="T42" fmla="*/ 2147483647 w 223"/>
                <a:gd name="T43" fmla="*/ 2147483647 h 203"/>
                <a:gd name="T44" fmla="*/ 2147483647 w 223"/>
                <a:gd name="T45" fmla="*/ 2147483647 h 203"/>
                <a:gd name="T46" fmla="*/ 2147483647 w 223"/>
                <a:gd name="T47" fmla="*/ 2147483647 h 203"/>
                <a:gd name="T48" fmla="*/ 2147483647 w 223"/>
                <a:gd name="T49" fmla="*/ 2147483647 h 203"/>
                <a:gd name="T50" fmla="*/ 2147483647 w 223"/>
                <a:gd name="T51" fmla="*/ 2147483647 h 203"/>
                <a:gd name="T52" fmla="*/ 2147483647 w 223"/>
                <a:gd name="T53" fmla="*/ 2147483647 h 203"/>
                <a:gd name="T54" fmla="*/ 2147483647 w 223"/>
                <a:gd name="T55" fmla="*/ 2147483647 h 203"/>
                <a:gd name="T56" fmla="*/ 2147483647 w 223"/>
                <a:gd name="T57" fmla="*/ 2147483647 h 203"/>
                <a:gd name="T58" fmla="*/ 2147483647 w 223"/>
                <a:gd name="T59" fmla="*/ 2147483647 h 203"/>
                <a:gd name="T60" fmla="*/ 2147483647 w 223"/>
                <a:gd name="T61" fmla="*/ 2147483647 h 203"/>
                <a:gd name="T62" fmla="*/ 2147483647 w 223"/>
                <a:gd name="T63" fmla="*/ 2147483647 h 203"/>
                <a:gd name="T64" fmla="*/ 2147483647 w 223"/>
                <a:gd name="T65" fmla="*/ 2147483647 h 203"/>
                <a:gd name="T66" fmla="*/ 2147483647 w 223"/>
                <a:gd name="T67" fmla="*/ 2147483647 h 203"/>
                <a:gd name="T68" fmla="*/ 2147483647 w 223"/>
                <a:gd name="T69" fmla="*/ 2147483647 h 203"/>
                <a:gd name="T70" fmla="*/ 2147483647 w 223"/>
                <a:gd name="T71" fmla="*/ 2147483647 h 203"/>
                <a:gd name="T72" fmla="*/ 2147483647 w 223"/>
                <a:gd name="T73" fmla="*/ 2147483647 h 203"/>
                <a:gd name="T74" fmla="*/ 2147483647 w 223"/>
                <a:gd name="T75" fmla="*/ 2147483647 h 203"/>
                <a:gd name="T76" fmla="*/ 2147483647 w 223"/>
                <a:gd name="T77" fmla="*/ 2147483647 h 203"/>
                <a:gd name="T78" fmla="*/ 2147483647 w 223"/>
                <a:gd name="T79" fmla="*/ 2147483647 h 203"/>
                <a:gd name="T80" fmla="*/ 2147483647 w 223"/>
                <a:gd name="T81" fmla="*/ 2147483647 h 203"/>
                <a:gd name="T82" fmla="*/ 2147483647 w 223"/>
                <a:gd name="T83" fmla="*/ 2147483647 h 203"/>
                <a:gd name="T84" fmla="*/ 2147483647 w 223"/>
                <a:gd name="T85" fmla="*/ 2147483647 h 203"/>
                <a:gd name="T86" fmla="*/ 2147483647 w 223"/>
                <a:gd name="T87" fmla="*/ 2147483647 h 203"/>
                <a:gd name="T88" fmla="*/ 2147483647 w 223"/>
                <a:gd name="T89" fmla="*/ 2147483647 h 203"/>
                <a:gd name="T90" fmla="*/ 2147483647 w 223"/>
                <a:gd name="T91" fmla="*/ 2147483647 h 203"/>
                <a:gd name="T92" fmla="*/ 2147483647 w 223"/>
                <a:gd name="T93" fmla="*/ 2147483647 h 203"/>
                <a:gd name="T94" fmla="*/ 2147483647 w 223"/>
                <a:gd name="T95" fmla="*/ 2147483647 h 203"/>
                <a:gd name="T96" fmla="*/ 2147483647 w 223"/>
                <a:gd name="T97" fmla="*/ 2147483647 h 203"/>
                <a:gd name="T98" fmla="*/ 2147483647 w 223"/>
                <a:gd name="T99" fmla="*/ 2147483647 h 203"/>
                <a:gd name="T100" fmla="*/ 2147483647 w 223"/>
                <a:gd name="T101" fmla="*/ 2147483647 h 203"/>
                <a:gd name="T102" fmla="*/ 2147483647 w 223"/>
                <a:gd name="T103" fmla="*/ 2147483647 h 203"/>
                <a:gd name="T104" fmla="*/ 2147483647 w 223"/>
                <a:gd name="T105" fmla="*/ 2147483647 h 203"/>
                <a:gd name="T106" fmla="*/ 2147483647 w 223"/>
                <a:gd name="T107" fmla="*/ 2147483647 h 203"/>
                <a:gd name="T108" fmla="*/ 2147483647 w 223"/>
                <a:gd name="T109" fmla="*/ 2147483647 h 203"/>
                <a:gd name="T110" fmla="*/ 2147483647 w 223"/>
                <a:gd name="T111" fmla="*/ 2147483647 h 203"/>
                <a:gd name="T112" fmla="*/ 2147483647 w 223"/>
                <a:gd name="T113" fmla="*/ 2147483647 h 203"/>
                <a:gd name="T114" fmla="*/ 2147483647 w 223"/>
                <a:gd name="T115" fmla="*/ 2147483647 h 203"/>
                <a:gd name="T116" fmla="*/ 2147483647 w 223"/>
                <a:gd name="T117" fmla="*/ 2147483647 h 203"/>
                <a:gd name="T118" fmla="*/ 2147483647 w 223"/>
                <a:gd name="T119" fmla="*/ 2147483647 h 203"/>
                <a:gd name="T120" fmla="*/ 2147483647 w 223"/>
                <a:gd name="T121" fmla="*/ 2147483647 h 20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23"/>
                <a:gd name="T184" fmla="*/ 0 h 203"/>
                <a:gd name="T185" fmla="*/ 223 w 223"/>
                <a:gd name="T186" fmla="*/ 203 h 203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23" h="203">
                  <a:moveTo>
                    <a:pt x="50" y="203"/>
                  </a:moveTo>
                  <a:lnTo>
                    <a:pt x="46" y="180"/>
                  </a:lnTo>
                  <a:lnTo>
                    <a:pt x="45" y="155"/>
                  </a:lnTo>
                  <a:lnTo>
                    <a:pt x="43" y="154"/>
                  </a:lnTo>
                  <a:lnTo>
                    <a:pt x="41" y="150"/>
                  </a:lnTo>
                  <a:lnTo>
                    <a:pt x="37" y="138"/>
                  </a:lnTo>
                  <a:lnTo>
                    <a:pt x="35" y="127"/>
                  </a:lnTo>
                  <a:lnTo>
                    <a:pt x="33" y="123"/>
                  </a:lnTo>
                  <a:lnTo>
                    <a:pt x="29" y="121"/>
                  </a:lnTo>
                  <a:lnTo>
                    <a:pt x="23" y="119"/>
                  </a:lnTo>
                  <a:lnTo>
                    <a:pt x="16" y="117"/>
                  </a:lnTo>
                  <a:lnTo>
                    <a:pt x="14" y="113"/>
                  </a:lnTo>
                  <a:lnTo>
                    <a:pt x="12" y="111"/>
                  </a:lnTo>
                  <a:lnTo>
                    <a:pt x="8" y="104"/>
                  </a:lnTo>
                  <a:lnTo>
                    <a:pt x="6" y="98"/>
                  </a:lnTo>
                  <a:lnTo>
                    <a:pt x="4" y="94"/>
                  </a:lnTo>
                  <a:lnTo>
                    <a:pt x="0" y="92"/>
                  </a:lnTo>
                  <a:lnTo>
                    <a:pt x="4" y="75"/>
                  </a:lnTo>
                  <a:lnTo>
                    <a:pt x="6" y="58"/>
                  </a:lnTo>
                  <a:lnTo>
                    <a:pt x="8" y="42"/>
                  </a:lnTo>
                  <a:lnTo>
                    <a:pt x="12" y="25"/>
                  </a:lnTo>
                  <a:lnTo>
                    <a:pt x="14" y="21"/>
                  </a:lnTo>
                  <a:lnTo>
                    <a:pt x="16" y="19"/>
                  </a:lnTo>
                  <a:lnTo>
                    <a:pt x="23" y="17"/>
                  </a:lnTo>
                  <a:lnTo>
                    <a:pt x="29" y="15"/>
                  </a:lnTo>
                  <a:lnTo>
                    <a:pt x="33" y="12"/>
                  </a:lnTo>
                  <a:lnTo>
                    <a:pt x="35" y="10"/>
                  </a:lnTo>
                  <a:lnTo>
                    <a:pt x="37" y="8"/>
                  </a:lnTo>
                  <a:lnTo>
                    <a:pt x="41" y="6"/>
                  </a:lnTo>
                  <a:lnTo>
                    <a:pt x="43" y="4"/>
                  </a:lnTo>
                  <a:lnTo>
                    <a:pt x="45" y="0"/>
                  </a:lnTo>
                  <a:lnTo>
                    <a:pt x="46" y="4"/>
                  </a:lnTo>
                  <a:lnTo>
                    <a:pt x="50" y="6"/>
                  </a:lnTo>
                  <a:lnTo>
                    <a:pt x="52" y="8"/>
                  </a:lnTo>
                  <a:lnTo>
                    <a:pt x="54" y="10"/>
                  </a:lnTo>
                  <a:lnTo>
                    <a:pt x="56" y="12"/>
                  </a:lnTo>
                  <a:lnTo>
                    <a:pt x="60" y="15"/>
                  </a:lnTo>
                  <a:lnTo>
                    <a:pt x="66" y="17"/>
                  </a:lnTo>
                  <a:lnTo>
                    <a:pt x="73" y="19"/>
                  </a:lnTo>
                  <a:lnTo>
                    <a:pt x="75" y="21"/>
                  </a:lnTo>
                  <a:lnTo>
                    <a:pt x="79" y="25"/>
                  </a:lnTo>
                  <a:lnTo>
                    <a:pt x="85" y="27"/>
                  </a:lnTo>
                  <a:lnTo>
                    <a:pt x="93" y="29"/>
                  </a:lnTo>
                  <a:lnTo>
                    <a:pt x="96" y="33"/>
                  </a:lnTo>
                  <a:lnTo>
                    <a:pt x="98" y="35"/>
                  </a:lnTo>
                  <a:lnTo>
                    <a:pt x="108" y="35"/>
                  </a:lnTo>
                  <a:lnTo>
                    <a:pt x="117" y="35"/>
                  </a:lnTo>
                  <a:lnTo>
                    <a:pt x="119" y="33"/>
                  </a:lnTo>
                  <a:lnTo>
                    <a:pt x="121" y="29"/>
                  </a:lnTo>
                  <a:lnTo>
                    <a:pt x="125" y="27"/>
                  </a:lnTo>
                  <a:lnTo>
                    <a:pt x="127" y="25"/>
                  </a:lnTo>
                  <a:lnTo>
                    <a:pt x="129" y="21"/>
                  </a:lnTo>
                  <a:lnTo>
                    <a:pt x="131" y="19"/>
                  </a:lnTo>
                  <a:lnTo>
                    <a:pt x="135" y="13"/>
                  </a:lnTo>
                  <a:lnTo>
                    <a:pt x="137" y="6"/>
                  </a:lnTo>
                  <a:lnTo>
                    <a:pt x="139" y="4"/>
                  </a:lnTo>
                  <a:lnTo>
                    <a:pt x="140" y="0"/>
                  </a:lnTo>
                  <a:lnTo>
                    <a:pt x="144" y="4"/>
                  </a:lnTo>
                  <a:lnTo>
                    <a:pt x="146" y="6"/>
                  </a:lnTo>
                  <a:lnTo>
                    <a:pt x="148" y="8"/>
                  </a:lnTo>
                  <a:lnTo>
                    <a:pt x="152" y="10"/>
                  </a:lnTo>
                  <a:lnTo>
                    <a:pt x="154" y="12"/>
                  </a:lnTo>
                  <a:lnTo>
                    <a:pt x="156" y="15"/>
                  </a:lnTo>
                  <a:lnTo>
                    <a:pt x="162" y="17"/>
                  </a:lnTo>
                  <a:lnTo>
                    <a:pt x="175" y="19"/>
                  </a:lnTo>
                  <a:lnTo>
                    <a:pt x="188" y="17"/>
                  </a:lnTo>
                  <a:lnTo>
                    <a:pt x="194" y="15"/>
                  </a:lnTo>
                  <a:lnTo>
                    <a:pt x="196" y="12"/>
                  </a:lnTo>
                  <a:lnTo>
                    <a:pt x="200" y="10"/>
                  </a:lnTo>
                  <a:lnTo>
                    <a:pt x="202" y="12"/>
                  </a:lnTo>
                  <a:lnTo>
                    <a:pt x="204" y="15"/>
                  </a:lnTo>
                  <a:lnTo>
                    <a:pt x="206" y="21"/>
                  </a:lnTo>
                  <a:lnTo>
                    <a:pt x="210" y="29"/>
                  </a:lnTo>
                  <a:lnTo>
                    <a:pt x="211" y="33"/>
                  </a:lnTo>
                  <a:lnTo>
                    <a:pt x="213" y="35"/>
                  </a:lnTo>
                  <a:lnTo>
                    <a:pt x="217" y="36"/>
                  </a:lnTo>
                  <a:lnTo>
                    <a:pt x="219" y="38"/>
                  </a:lnTo>
                  <a:lnTo>
                    <a:pt x="221" y="42"/>
                  </a:lnTo>
                  <a:lnTo>
                    <a:pt x="223" y="44"/>
                  </a:lnTo>
                  <a:lnTo>
                    <a:pt x="221" y="58"/>
                  </a:lnTo>
                  <a:lnTo>
                    <a:pt x="219" y="73"/>
                  </a:lnTo>
                  <a:lnTo>
                    <a:pt x="215" y="88"/>
                  </a:lnTo>
                  <a:lnTo>
                    <a:pt x="213" y="102"/>
                  </a:lnTo>
                  <a:lnTo>
                    <a:pt x="211" y="104"/>
                  </a:lnTo>
                  <a:lnTo>
                    <a:pt x="210" y="107"/>
                  </a:lnTo>
                  <a:lnTo>
                    <a:pt x="198" y="109"/>
                  </a:lnTo>
                  <a:lnTo>
                    <a:pt x="185" y="111"/>
                  </a:lnTo>
                  <a:lnTo>
                    <a:pt x="183" y="113"/>
                  </a:lnTo>
                  <a:lnTo>
                    <a:pt x="181" y="117"/>
                  </a:lnTo>
                  <a:lnTo>
                    <a:pt x="177" y="123"/>
                  </a:lnTo>
                  <a:lnTo>
                    <a:pt x="175" y="131"/>
                  </a:lnTo>
                  <a:lnTo>
                    <a:pt x="173" y="132"/>
                  </a:lnTo>
                  <a:lnTo>
                    <a:pt x="171" y="136"/>
                  </a:lnTo>
                  <a:lnTo>
                    <a:pt x="167" y="138"/>
                  </a:lnTo>
                  <a:lnTo>
                    <a:pt x="165" y="140"/>
                  </a:lnTo>
                  <a:lnTo>
                    <a:pt x="164" y="144"/>
                  </a:lnTo>
                  <a:lnTo>
                    <a:pt x="162" y="146"/>
                  </a:lnTo>
                  <a:lnTo>
                    <a:pt x="158" y="148"/>
                  </a:lnTo>
                  <a:lnTo>
                    <a:pt x="156" y="150"/>
                  </a:lnTo>
                  <a:lnTo>
                    <a:pt x="154" y="154"/>
                  </a:lnTo>
                  <a:lnTo>
                    <a:pt x="152" y="155"/>
                  </a:lnTo>
                  <a:lnTo>
                    <a:pt x="148" y="157"/>
                  </a:lnTo>
                  <a:lnTo>
                    <a:pt x="146" y="159"/>
                  </a:lnTo>
                  <a:lnTo>
                    <a:pt x="144" y="163"/>
                  </a:lnTo>
                  <a:lnTo>
                    <a:pt x="140" y="165"/>
                  </a:lnTo>
                  <a:lnTo>
                    <a:pt x="129" y="167"/>
                  </a:lnTo>
                  <a:lnTo>
                    <a:pt x="117" y="169"/>
                  </a:lnTo>
                  <a:lnTo>
                    <a:pt x="114" y="173"/>
                  </a:lnTo>
                  <a:lnTo>
                    <a:pt x="112" y="175"/>
                  </a:lnTo>
                  <a:lnTo>
                    <a:pt x="110" y="177"/>
                  </a:lnTo>
                  <a:lnTo>
                    <a:pt x="108" y="180"/>
                  </a:lnTo>
                  <a:lnTo>
                    <a:pt x="104" y="182"/>
                  </a:lnTo>
                  <a:lnTo>
                    <a:pt x="102" y="184"/>
                  </a:lnTo>
                  <a:lnTo>
                    <a:pt x="100" y="186"/>
                  </a:lnTo>
                  <a:lnTo>
                    <a:pt x="98" y="190"/>
                  </a:lnTo>
                  <a:lnTo>
                    <a:pt x="96" y="192"/>
                  </a:lnTo>
                  <a:lnTo>
                    <a:pt x="93" y="194"/>
                  </a:lnTo>
                  <a:lnTo>
                    <a:pt x="81" y="196"/>
                  </a:lnTo>
                  <a:lnTo>
                    <a:pt x="70" y="198"/>
                  </a:lnTo>
                  <a:lnTo>
                    <a:pt x="66" y="202"/>
                  </a:lnTo>
                  <a:lnTo>
                    <a:pt x="64" y="203"/>
                  </a:lnTo>
                  <a:lnTo>
                    <a:pt x="56" y="203"/>
                  </a:lnTo>
                  <a:lnTo>
                    <a:pt x="50" y="203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Freeform 316">
              <a:extLst>
                <a:ext uri="{FF2B5EF4-FFF2-40B4-BE49-F238E27FC236}">
                  <a16:creationId xmlns:a16="http://schemas.microsoft.com/office/drawing/2014/main" xmlns="" id="{CE9FEFF9-BA50-C240-A7E5-119409DCD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7400" y="4305116"/>
              <a:ext cx="422275" cy="406400"/>
            </a:xfrm>
            <a:custGeom>
              <a:avLst/>
              <a:gdLst>
                <a:gd name="T0" fmla="*/ 2147483647 w 271"/>
                <a:gd name="T1" fmla="*/ 2147483647 h 270"/>
                <a:gd name="T2" fmla="*/ 2147483647 w 271"/>
                <a:gd name="T3" fmla="*/ 2147483647 h 270"/>
                <a:gd name="T4" fmla="*/ 2147483647 w 271"/>
                <a:gd name="T5" fmla="*/ 2147483647 h 270"/>
                <a:gd name="T6" fmla="*/ 2147483647 w 271"/>
                <a:gd name="T7" fmla="*/ 2147483647 h 270"/>
                <a:gd name="T8" fmla="*/ 2147483647 w 271"/>
                <a:gd name="T9" fmla="*/ 2147483647 h 270"/>
                <a:gd name="T10" fmla="*/ 2147483647 w 271"/>
                <a:gd name="T11" fmla="*/ 2147483647 h 270"/>
                <a:gd name="T12" fmla="*/ 2147483647 w 271"/>
                <a:gd name="T13" fmla="*/ 2147483647 h 270"/>
                <a:gd name="T14" fmla="*/ 2147483647 w 271"/>
                <a:gd name="T15" fmla="*/ 2147483647 h 270"/>
                <a:gd name="T16" fmla="*/ 2147483647 w 271"/>
                <a:gd name="T17" fmla="*/ 2147483647 h 270"/>
                <a:gd name="T18" fmla="*/ 2147483647 w 271"/>
                <a:gd name="T19" fmla="*/ 2147483647 h 270"/>
                <a:gd name="T20" fmla="*/ 2147483647 w 271"/>
                <a:gd name="T21" fmla="*/ 2147483647 h 270"/>
                <a:gd name="T22" fmla="*/ 2147483647 w 271"/>
                <a:gd name="T23" fmla="*/ 2147483647 h 270"/>
                <a:gd name="T24" fmla="*/ 2147483647 w 271"/>
                <a:gd name="T25" fmla="*/ 2147483647 h 270"/>
                <a:gd name="T26" fmla="*/ 2147483647 w 271"/>
                <a:gd name="T27" fmla="*/ 2147483647 h 270"/>
                <a:gd name="T28" fmla="*/ 2147483647 w 271"/>
                <a:gd name="T29" fmla="*/ 2147483647 h 270"/>
                <a:gd name="T30" fmla="*/ 0 w 271"/>
                <a:gd name="T31" fmla="*/ 2147483647 h 270"/>
                <a:gd name="T32" fmla="*/ 2147483647 w 271"/>
                <a:gd name="T33" fmla="*/ 2147483647 h 270"/>
                <a:gd name="T34" fmla="*/ 2147483647 w 271"/>
                <a:gd name="T35" fmla="*/ 2147483647 h 270"/>
                <a:gd name="T36" fmla="*/ 2147483647 w 271"/>
                <a:gd name="T37" fmla="*/ 2147483647 h 270"/>
                <a:gd name="T38" fmla="*/ 2147483647 w 271"/>
                <a:gd name="T39" fmla="*/ 2147483647 h 270"/>
                <a:gd name="T40" fmla="*/ 2147483647 w 271"/>
                <a:gd name="T41" fmla="*/ 2147483647 h 270"/>
                <a:gd name="T42" fmla="*/ 2147483647 w 271"/>
                <a:gd name="T43" fmla="*/ 2147483647 h 270"/>
                <a:gd name="T44" fmla="*/ 2147483647 w 271"/>
                <a:gd name="T45" fmla="*/ 2147483647 h 270"/>
                <a:gd name="T46" fmla="*/ 2147483647 w 271"/>
                <a:gd name="T47" fmla="*/ 2147483647 h 270"/>
                <a:gd name="T48" fmla="*/ 2147483647 w 271"/>
                <a:gd name="T49" fmla="*/ 2147483647 h 270"/>
                <a:gd name="T50" fmla="*/ 2147483647 w 271"/>
                <a:gd name="T51" fmla="*/ 0 h 270"/>
                <a:gd name="T52" fmla="*/ 2147483647 w 271"/>
                <a:gd name="T53" fmla="*/ 2147483647 h 270"/>
                <a:gd name="T54" fmla="*/ 2147483647 w 271"/>
                <a:gd name="T55" fmla="*/ 2147483647 h 270"/>
                <a:gd name="T56" fmla="*/ 2147483647 w 271"/>
                <a:gd name="T57" fmla="*/ 2147483647 h 270"/>
                <a:gd name="T58" fmla="*/ 2147483647 w 271"/>
                <a:gd name="T59" fmla="*/ 2147483647 h 270"/>
                <a:gd name="T60" fmla="*/ 2147483647 w 271"/>
                <a:gd name="T61" fmla="*/ 2147483647 h 270"/>
                <a:gd name="T62" fmla="*/ 2147483647 w 271"/>
                <a:gd name="T63" fmla="*/ 2147483647 h 270"/>
                <a:gd name="T64" fmla="*/ 2147483647 w 271"/>
                <a:gd name="T65" fmla="*/ 2147483647 h 270"/>
                <a:gd name="T66" fmla="*/ 2147483647 w 271"/>
                <a:gd name="T67" fmla="*/ 2147483647 h 270"/>
                <a:gd name="T68" fmla="*/ 2147483647 w 271"/>
                <a:gd name="T69" fmla="*/ 2147483647 h 270"/>
                <a:gd name="T70" fmla="*/ 2147483647 w 271"/>
                <a:gd name="T71" fmla="*/ 2147483647 h 270"/>
                <a:gd name="T72" fmla="*/ 2147483647 w 271"/>
                <a:gd name="T73" fmla="*/ 2147483647 h 270"/>
                <a:gd name="T74" fmla="*/ 2147483647 w 271"/>
                <a:gd name="T75" fmla="*/ 2147483647 h 270"/>
                <a:gd name="T76" fmla="*/ 2147483647 w 271"/>
                <a:gd name="T77" fmla="*/ 2147483647 h 270"/>
                <a:gd name="T78" fmla="*/ 2147483647 w 271"/>
                <a:gd name="T79" fmla="*/ 2147483647 h 270"/>
                <a:gd name="T80" fmla="*/ 2147483647 w 271"/>
                <a:gd name="T81" fmla="*/ 2147483647 h 270"/>
                <a:gd name="T82" fmla="*/ 2147483647 w 271"/>
                <a:gd name="T83" fmla="*/ 2147483647 h 270"/>
                <a:gd name="T84" fmla="*/ 2147483647 w 271"/>
                <a:gd name="T85" fmla="*/ 2147483647 h 270"/>
                <a:gd name="T86" fmla="*/ 2147483647 w 271"/>
                <a:gd name="T87" fmla="*/ 2147483647 h 270"/>
                <a:gd name="T88" fmla="*/ 2147483647 w 271"/>
                <a:gd name="T89" fmla="*/ 2147483647 h 27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1"/>
                <a:gd name="T136" fmla="*/ 0 h 270"/>
                <a:gd name="T137" fmla="*/ 271 w 271"/>
                <a:gd name="T138" fmla="*/ 270 h 27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1" h="270">
                  <a:moveTo>
                    <a:pt x="179" y="270"/>
                  </a:moveTo>
                  <a:lnTo>
                    <a:pt x="177" y="267"/>
                  </a:lnTo>
                  <a:lnTo>
                    <a:pt x="173" y="265"/>
                  </a:lnTo>
                  <a:lnTo>
                    <a:pt x="171" y="253"/>
                  </a:lnTo>
                  <a:lnTo>
                    <a:pt x="169" y="242"/>
                  </a:lnTo>
                  <a:lnTo>
                    <a:pt x="167" y="238"/>
                  </a:lnTo>
                  <a:lnTo>
                    <a:pt x="165" y="236"/>
                  </a:lnTo>
                  <a:lnTo>
                    <a:pt x="157" y="219"/>
                  </a:lnTo>
                  <a:lnTo>
                    <a:pt x="150" y="201"/>
                  </a:lnTo>
                  <a:lnTo>
                    <a:pt x="146" y="199"/>
                  </a:lnTo>
                  <a:lnTo>
                    <a:pt x="144" y="198"/>
                  </a:lnTo>
                  <a:lnTo>
                    <a:pt x="142" y="196"/>
                  </a:lnTo>
                  <a:lnTo>
                    <a:pt x="140" y="192"/>
                  </a:lnTo>
                  <a:lnTo>
                    <a:pt x="138" y="190"/>
                  </a:lnTo>
                  <a:lnTo>
                    <a:pt x="134" y="188"/>
                  </a:lnTo>
                  <a:lnTo>
                    <a:pt x="132" y="180"/>
                  </a:lnTo>
                  <a:lnTo>
                    <a:pt x="131" y="173"/>
                  </a:lnTo>
                  <a:lnTo>
                    <a:pt x="127" y="171"/>
                  </a:lnTo>
                  <a:lnTo>
                    <a:pt x="125" y="169"/>
                  </a:lnTo>
                  <a:lnTo>
                    <a:pt x="121" y="169"/>
                  </a:lnTo>
                  <a:lnTo>
                    <a:pt x="115" y="169"/>
                  </a:lnTo>
                  <a:lnTo>
                    <a:pt x="113" y="171"/>
                  </a:lnTo>
                  <a:lnTo>
                    <a:pt x="111" y="173"/>
                  </a:lnTo>
                  <a:lnTo>
                    <a:pt x="96" y="173"/>
                  </a:lnTo>
                  <a:lnTo>
                    <a:pt x="83" y="173"/>
                  </a:lnTo>
                  <a:lnTo>
                    <a:pt x="79" y="171"/>
                  </a:lnTo>
                  <a:lnTo>
                    <a:pt x="77" y="169"/>
                  </a:lnTo>
                  <a:lnTo>
                    <a:pt x="75" y="167"/>
                  </a:lnTo>
                  <a:lnTo>
                    <a:pt x="73" y="163"/>
                  </a:lnTo>
                  <a:lnTo>
                    <a:pt x="69" y="161"/>
                  </a:lnTo>
                  <a:lnTo>
                    <a:pt x="67" y="159"/>
                  </a:lnTo>
                  <a:lnTo>
                    <a:pt x="65" y="146"/>
                  </a:lnTo>
                  <a:lnTo>
                    <a:pt x="61" y="134"/>
                  </a:lnTo>
                  <a:lnTo>
                    <a:pt x="60" y="132"/>
                  </a:lnTo>
                  <a:lnTo>
                    <a:pt x="58" y="128"/>
                  </a:lnTo>
                  <a:lnTo>
                    <a:pt x="56" y="123"/>
                  </a:lnTo>
                  <a:lnTo>
                    <a:pt x="52" y="115"/>
                  </a:lnTo>
                  <a:lnTo>
                    <a:pt x="50" y="113"/>
                  </a:lnTo>
                  <a:lnTo>
                    <a:pt x="48" y="111"/>
                  </a:lnTo>
                  <a:lnTo>
                    <a:pt x="31" y="107"/>
                  </a:lnTo>
                  <a:lnTo>
                    <a:pt x="14" y="105"/>
                  </a:lnTo>
                  <a:lnTo>
                    <a:pt x="12" y="104"/>
                  </a:lnTo>
                  <a:lnTo>
                    <a:pt x="10" y="100"/>
                  </a:lnTo>
                  <a:lnTo>
                    <a:pt x="6" y="94"/>
                  </a:lnTo>
                  <a:lnTo>
                    <a:pt x="4" y="86"/>
                  </a:lnTo>
                  <a:lnTo>
                    <a:pt x="2" y="84"/>
                  </a:lnTo>
                  <a:lnTo>
                    <a:pt x="0" y="81"/>
                  </a:lnTo>
                  <a:lnTo>
                    <a:pt x="0" y="77"/>
                  </a:lnTo>
                  <a:lnTo>
                    <a:pt x="0" y="71"/>
                  </a:lnTo>
                  <a:lnTo>
                    <a:pt x="2" y="69"/>
                  </a:lnTo>
                  <a:lnTo>
                    <a:pt x="4" y="67"/>
                  </a:lnTo>
                  <a:lnTo>
                    <a:pt x="6" y="54"/>
                  </a:lnTo>
                  <a:lnTo>
                    <a:pt x="10" y="42"/>
                  </a:lnTo>
                  <a:lnTo>
                    <a:pt x="12" y="40"/>
                  </a:lnTo>
                  <a:lnTo>
                    <a:pt x="14" y="38"/>
                  </a:lnTo>
                  <a:lnTo>
                    <a:pt x="17" y="34"/>
                  </a:lnTo>
                  <a:lnTo>
                    <a:pt x="19" y="33"/>
                  </a:lnTo>
                  <a:lnTo>
                    <a:pt x="21" y="31"/>
                  </a:lnTo>
                  <a:lnTo>
                    <a:pt x="23" y="29"/>
                  </a:lnTo>
                  <a:lnTo>
                    <a:pt x="31" y="25"/>
                  </a:lnTo>
                  <a:lnTo>
                    <a:pt x="38" y="23"/>
                  </a:lnTo>
                  <a:lnTo>
                    <a:pt x="40" y="21"/>
                  </a:lnTo>
                  <a:lnTo>
                    <a:pt x="42" y="19"/>
                  </a:lnTo>
                  <a:lnTo>
                    <a:pt x="50" y="15"/>
                  </a:lnTo>
                  <a:lnTo>
                    <a:pt x="58" y="13"/>
                  </a:lnTo>
                  <a:lnTo>
                    <a:pt x="60" y="11"/>
                  </a:lnTo>
                  <a:lnTo>
                    <a:pt x="61" y="10"/>
                  </a:lnTo>
                  <a:lnTo>
                    <a:pt x="65" y="11"/>
                  </a:lnTo>
                  <a:lnTo>
                    <a:pt x="67" y="13"/>
                  </a:lnTo>
                  <a:lnTo>
                    <a:pt x="77" y="13"/>
                  </a:lnTo>
                  <a:lnTo>
                    <a:pt x="86" y="13"/>
                  </a:lnTo>
                  <a:lnTo>
                    <a:pt x="88" y="11"/>
                  </a:lnTo>
                  <a:lnTo>
                    <a:pt x="92" y="10"/>
                  </a:lnTo>
                  <a:lnTo>
                    <a:pt x="94" y="6"/>
                  </a:lnTo>
                  <a:lnTo>
                    <a:pt x="96" y="4"/>
                  </a:lnTo>
                  <a:lnTo>
                    <a:pt x="98" y="2"/>
                  </a:lnTo>
                  <a:lnTo>
                    <a:pt x="102" y="0"/>
                  </a:lnTo>
                  <a:lnTo>
                    <a:pt x="106" y="0"/>
                  </a:lnTo>
                  <a:lnTo>
                    <a:pt x="111" y="0"/>
                  </a:lnTo>
                  <a:lnTo>
                    <a:pt x="113" y="2"/>
                  </a:lnTo>
                  <a:lnTo>
                    <a:pt x="115" y="4"/>
                  </a:lnTo>
                  <a:lnTo>
                    <a:pt x="129" y="6"/>
                  </a:lnTo>
                  <a:lnTo>
                    <a:pt x="140" y="10"/>
                  </a:lnTo>
                  <a:lnTo>
                    <a:pt x="142" y="11"/>
                  </a:lnTo>
                  <a:lnTo>
                    <a:pt x="144" y="13"/>
                  </a:lnTo>
                  <a:lnTo>
                    <a:pt x="146" y="15"/>
                  </a:lnTo>
                  <a:lnTo>
                    <a:pt x="150" y="19"/>
                  </a:lnTo>
                  <a:lnTo>
                    <a:pt x="152" y="21"/>
                  </a:lnTo>
                  <a:lnTo>
                    <a:pt x="154" y="23"/>
                  </a:lnTo>
                  <a:lnTo>
                    <a:pt x="157" y="31"/>
                  </a:lnTo>
                  <a:lnTo>
                    <a:pt x="159" y="38"/>
                  </a:lnTo>
                  <a:lnTo>
                    <a:pt x="161" y="40"/>
                  </a:lnTo>
                  <a:lnTo>
                    <a:pt x="165" y="42"/>
                  </a:lnTo>
                  <a:lnTo>
                    <a:pt x="167" y="50"/>
                  </a:lnTo>
                  <a:lnTo>
                    <a:pt x="169" y="58"/>
                  </a:lnTo>
                  <a:lnTo>
                    <a:pt x="171" y="59"/>
                  </a:lnTo>
                  <a:lnTo>
                    <a:pt x="173" y="61"/>
                  </a:lnTo>
                  <a:lnTo>
                    <a:pt x="180" y="79"/>
                  </a:lnTo>
                  <a:lnTo>
                    <a:pt x="188" y="96"/>
                  </a:lnTo>
                  <a:lnTo>
                    <a:pt x="190" y="98"/>
                  </a:lnTo>
                  <a:lnTo>
                    <a:pt x="194" y="100"/>
                  </a:lnTo>
                  <a:lnTo>
                    <a:pt x="196" y="104"/>
                  </a:lnTo>
                  <a:lnTo>
                    <a:pt x="198" y="105"/>
                  </a:lnTo>
                  <a:lnTo>
                    <a:pt x="200" y="107"/>
                  </a:lnTo>
                  <a:lnTo>
                    <a:pt x="203" y="111"/>
                  </a:lnTo>
                  <a:lnTo>
                    <a:pt x="228" y="113"/>
                  </a:lnTo>
                  <a:lnTo>
                    <a:pt x="255" y="115"/>
                  </a:lnTo>
                  <a:lnTo>
                    <a:pt x="257" y="117"/>
                  </a:lnTo>
                  <a:lnTo>
                    <a:pt x="261" y="121"/>
                  </a:lnTo>
                  <a:lnTo>
                    <a:pt x="257" y="123"/>
                  </a:lnTo>
                  <a:lnTo>
                    <a:pt x="255" y="125"/>
                  </a:lnTo>
                  <a:lnTo>
                    <a:pt x="253" y="134"/>
                  </a:lnTo>
                  <a:lnTo>
                    <a:pt x="251" y="144"/>
                  </a:lnTo>
                  <a:lnTo>
                    <a:pt x="261" y="144"/>
                  </a:lnTo>
                  <a:lnTo>
                    <a:pt x="271" y="144"/>
                  </a:lnTo>
                  <a:lnTo>
                    <a:pt x="271" y="161"/>
                  </a:lnTo>
                  <a:lnTo>
                    <a:pt x="271" y="178"/>
                  </a:lnTo>
                  <a:lnTo>
                    <a:pt x="267" y="180"/>
                  </a:lnTo>
                  <a:lnTo>
                    <a:pt x="265" y="182"/>
                  </a:lnTo>
                  <a:lnTo>
                    <a:pt x="238" y="182"/>
                  </a:lnTo>
                  <a:lnTo>
                    <a:pt x="213" y="182"/>
                  </a:lnTo>
                  <a:lnTo>
                    <a:pt x="213" y="205"/>
                  </a:lnTo>
                  <a:lnTo>
                    <a:pt x="213" y="226"/>
                  </a:lnTo>
                  <a:lnTo>
                    <a:pt x="209" y="228"/>
                  </a:lnTo>
                  <a:lnTo>
                    <a:pt x="207" y="232"/>
                  </a:lnTo>
                  <a:lnTo>
                    <a:pt x="205" y="238"/>
                  </a:lnTo>
                  <a:lnTo>
                    <a:pt x="203" y="246"/>
                  </a:lnTo>
                  <a:lnTo>
                    <a:pt x="200" y="247"/>
                  </a:lnTo>
                  <a:lnTo>
                    <a:pt x="198" y="251"/>
                  </a:lnTo>
                  <a:lnTo>
                    <a:pt x="196" y="253"/>
                  </a:lnTo>
                  <a:lnTo>
                    <a:pt x="194" y="255"/>
                  </a:lnTo>
                  <a:lnTo>
                    <a:pt x="190" y="257"/>
                  </a:lnTo>
                  <a:lnTo>
                    <a:pt x="188" y="261"/>
                  </a:lnTo>
                  <a:lnTo>
                    <a:pt x="182" y="265"/>
                  </a:lnTo>
                  <a:lnTo>
                    <a:pt x="179" y="270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Freeform 317">
              <a:extLst>
                <a:ext uri="{FF2B5EF4-FFF2-40B4-BE49-F238E27FC236}">
                  <a16:creationId xmlns:a16="http://schemas.microsoft.com/office/drawing/2014/main" xmlns="" id="{E9BE3D62-056D-4D48-8C91-60B449F7DB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4513" y="4408303"/>
              <a:ext cx="330200" cy="230188"/>
            </a:xfrm>
            <a:custGeom>
              <a:avLst/>
              <a:gdLst>
                <a:gd name="T0" fmla="*/ 2147483647 w 213"/>
                <a:gd name="T1" fmla="*/ 2147483647 h 154"/>
                <a:gd name="T2" fmla="*/ 2147483647 w 213"/>
                <a:gd name="T3" fmla="*/ 2147483647 h 154"/>
                <a:gd name="T4" fmla="*/ 2147483647 w 213"/>
                <a:gd name="T5" fmla="*/ 2147483647 h 154"/>
                <a:gd name="T6" fmla="*/ 2147483647 w 213"/>
                <a:gd name="T7" fmla="*/ 2147483647 h 154"/>
                <a:gd name="T8" fmla="*/ 2147483647 w 213"/>
                <a:gd name="T9" fmla="*/ 2147483647 h 154"/>
                <a:gd name="T10" fmla="*/ 2147483647 w 213"/>
                <a:gd name="T11" fmla="*/ 2147483647 h 154"/>
                <a:gd name="T12" fmla="*/ 2147483647 w 213"/>
                <a:gd name="T13" fmla="*/ 2147483647 h 154"/>
                <a:gd name="T14" fmla="*/ 2147483647 w 213"/>
                <a:gd name="T15" fmla="*/ 2147483647 h 154"/>
                <a:gd name="T16" fmla="*/ 2147483647 w 213"/>
                <a:gd name="T17" fmla="*/ 2147483647 h 154"/>
                <a:gd name="T18" fmla="*/ 2147483647 w 213"/>
                <a:gd name="T19" fmla="*/ 2147483647 h 154"/>
                <a:gd name="T20" fmla="*/ 2147483647 w 213"/>
                <a:gd name="T21" fmla="*/ 2147483647 h 154"/>
                <a:gd name="T22" fmla="*/ 2147483647 w 213"/>
                <a:gd name="T23" fmla="*/ 2147483647 h 154"/>
                <a:gd name="T24" fmla="*/ 2147483647 w 213"/>
                <a:gd name="T25" fmla="*/ 2147483647 h 154"/>
                <a:gd name="T26" fmla="*/ 2147483647 w 213"/>
                <a:gd name="T27" fmla="*/ 2147483647 h 154"/>
                <a:gd name="T28" fmla="*/ 2147483647 w 213"/>
                <a:gd name="T29" fmla="*/ 2147483647 h 154"/>
                <a:gd name="T30" fmla="*/ 2147483647 w 213"/>
                <a:gd name="T31" fmla="*/ 2147483647 h 154"/>
                <a:gd name="T32" fmla="*/ 2147483647 w 213"/>
                <a:gd name="T33" fmla="*/ 2147483647 h 154"/>
                <a:gd name="T34" fmla="*/ 2147483647 w 213"/>
                <a:gd name="T35" fmla="*/ 2147483647 h 154"/>
                <a:gd name="T36" fmla="*/ 2147483647 w 213"/>
                <a:gd name="T37" fmla="*/ 2147483647 h 154"/>
                <a:gd name="T38" fmla="*/ 2147483647 w 213"/>
                <a:gd name="T39" fmla="*/ 2147483647 h 154"/>
                <a:gd name="T40" fmla="*/ 2147483647 w 213"/>
                <a:gd name="T41" fmla="*/ 0 h 154"/>
                <a:gd name="T42" fmla="*/ 2147483647 w 213"/>
                <a:gd name="T43" fmla="*/ 2147483647 h 154"/>
                <a:gd name="T44" fmla="*/ 2147483647 w 213"/>
                <a:gd name="T45" fmla="*/ 2147483647 h 154"/>
                <a:gd name="T46" fmla="*/ 2147483647 w 213"/>
                <a:gd name="T47" fmla="*/ 2147483647 h 154"/>
                <a:gd name="T48" fmla="*/ 2147483647 w 213"/>
                <a:gd name="T49" fmla="*/ 2147483647 h 154"/>
                <a:gd name="T50" fmla="*/ 2147483647 w 213"/>
                <a:gd name="T51" fmla="*/ 2147483647 h 154"/>
                <a:gd name="T52" fmla="*/ 2147483647 w 213"/>
                <a:gd name="T53" fmla="*/ 2147483647 h 154"/>
                <a:gd name="T54" fmla="*/ 2147483647 w 213"/>
                <a:gd name="T55" fmla="*/ 2147483647 h 154"/>
                <a:gd name="T56" fmla="*/ 2147483647 w 213"/>
                <a:gd name="T57" fmla="*/ 2147483647 h 154"/>
                <a:gd name="T58" fmla="*/ 2147483647 w 213"/>
                <a:gd name="T59" fmla="*/ 2147483647 h 154"/>
                <a:gd name="T60" fmla="*/ 2147483647 w 213"/>
                <a:gd name="T61" fmla="*/ 2147483647 h 154"/>
                <a:gd name="T62" fmla="*/ 2147483647 w 213"/>
                <a:gd name="T63" fmla="*/ 2147483647 h 154"/>
                <a:gd name="T64" fmla="*/ 2147483647 w 213"/>
                <a:gd name="T65" fmla="*/ 2147483647 h 154"/>
                <a:gd name="T66" fmla="*/ 2147483647 w 213"/>
                <a:gd name="T67" fmla="*/ 2147483647 h 154"/>
                <a:gd name="T68" fmla="*/ 2147483647 w 213"/>
                <a:gd name="T69" fmla="*/ 2147483647 h 154"/>
                <a:gd name="T70" fmla="*/ 2147483647 w 213"/>
                <a:gd name="T71" fmla="*/ 2147483647 h 154"/>
                <a:gd name="T72" fmla="*/ 2147483647 w 213"/>
                <a:gd name="T73" fmla="*/ 2147483647 h 154"/>
                <a:gd name="T74" fmla="*/ 2147483647 w 213"/>
                <a:gd name="T75" fmla="*/ 2147483647 h 154"/>
                <a:gd name="T76" fmla="*/ 2147483647 w 213"/>
                <a:gd name="T77" fmla="*/ 2147483647 h 154"/>
                <a:gd name="T78" fmla="*/ 2147483647 w 213"/>
                <a:gd name="T79" fmla="*/ 2147483647 h 154"/>
                <a:gd name="T80" fmla="*/ 2147483647 w 213"/>
                <a:gd name="T81" fmla="*/ 2147483647 h 154"/>
                <a:gd name="T82" fmla="*/ 2147483647 w 213"/>
                <a:gd name="T83" fmla="*/ 2147483647 h 154"/>
                <a:gd name="T84" fmla="*/ 2147483647 w 213"/>
                <a:gd name="T85" fmla="*/ 2147483647 h 154"/>
                <a:gd name="T86" fmla="*/ 2147483647 w 213"/>
                <a:gd name="T87" fmla="*/ 2147483647 h 154"/>
                <a:gd name="T88" fmla="*/ 2147483647 w 213"/>
                <a:gd name="T89" fmla="*/ 2147483647 h 154"/>
                <a:gd name="T90" fmla="*/ 2147483647 w 213"/>
                <a:gd name="T91" fmla="*/ 2147483647 h 154"/>
                <a:gd name="T92" fmla="*/ 2147483647 w 213"/>
                <a:gd name="T93" fmla="*/ 2147483647 h 154"/>
                <a:gd name="T94" fmla="*/ 2147483647 w 213"/>
                <a:gd name="T95" fmla="*/ 2147483647 h 154"/>
                <a:gd name="T96" fmla="*/ 2147483647 w 213"/>
                <a:gd name="T97" fmla="*/ 2147483647 h 154"/>
                <a:gd name="T98" fmla="*/ 2147483647 w 213"/>
                <a:gd name="T99" fmla="*/ 2147483647 h 154"/>
                <a:gd name="T100" fmla="*/ 2147483647 w 213"/>
                <a:gd name="T101" fmla="*/ 2147483647 h 154"/>
                <a:gd name="T102" fmla="*/ 2147483647 w 213"/>
                <a:gd name="T103" fmla="*/ 2147483647 h 154"/>
                <a:gd name="T104" fmla="*/ 2147483647 w 213"/>
                <a:gd name="T105" fmla="*/ 2147483647 h 154"/>
                <a:gd name="T106" fmla="*/ 2147483647 w 213"/>
                <a:gd name="T107" fmla="*/ 2147483647 h 15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13"/>
                <a:gd name="T163" fmla="*/ 0 h 154"/>
                <a:gd name="T164" fmla="*/ 213 w 213"/>
                <a:gd name="T165" fmla="*/ 154 h 15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13" h="154">
                  <a:moveTo>
                    <a:pt x="34" y="154"/>
                  </a:moveTo>
                  <a:lnTo>
                    <a:pt x="30" y="152"/>
                  </a:lnTo>
                  <a:lnTo>
                    <a:pt x="28" y="150"/>
                  </a:lnTo>
                  <a:lnTo>
                    <a:pt x="21" y="148"/>
                  </a:lnTo>
                  <a:lnTo>
                    <a:pt x="15" y="144"/>
                  </a:lnTo>
                  <a:lnTo>
                    <a:pt x="11" y="142"/>
                  </a:lnTo>
                  <a:lnTo>
                    <a:pt x="9" y="140"/>
                  </a:lnTo>
                  <a:lnTo>
                    <a:pt x="7" y="138"/>
                  </a:lnTo>
                  <a:lnTo>
                    <a:pt x="5" y="134"/>
                  </a:lnTo>
                  <a:lnTo>
                    <a:pt x="2" y="132"/>
                  </a:lnTo>
                  <a:lnTo>
                    <a:pt x="0" y="131"/>
                  </a:lnTo>
                  <a:lnTo>
                    <a:pt x="2" y="129"/>
                  </a:lnTo>
                  <a:lnTo>
                    <a:pt x="5" y="125"/>
                  </a:lnTo>
                  <a:lnTo>
                    <a:pt x="7" y="123"/>
                  </a:lnTo>
                  <a:lnTo>
                    <a:pt x="9" y="121"/>
                  </a:lnTo>
                  <a:lnTo>
                    <a:pt x="11" y="117"/>
                  </a:lnTo>
                  <a:lnTo>
                    <a:pt x="15" y="115"/>
                  </a:lnTo>
                  <a:lnTo>
                    <a:pt x="17" y="113"/>
                  </a:lnTo>
                  <a:lnTo>
                    <a:pt x="19" y="111"/>
                  </a:lnTo>
                  <a:lnTo>
                    <a:pt x="21" y="108"/>
                  </a:lnTo>
                  <a:lnTo>
                    <a:pt x="25" y="106"/>
                  </a:lnTo>
                  <a:lnTo>
                    <a:pt x="27" y="104"/>
                  </a:lnTo>
                  <a:lnTo>
                    <a:pt x="28" y="102"/>
                  </a:lnTo>
                  <a:lnTo>
                    <a:pt x="30" y="100"/>
                  </a:lnTo>
                  <a:lnTo>
                    <a:pt x="34" y="96"/>
                  </a:lnTo>
                  <a:lnTo>
                    <a:pt x="36" y="85"/>
                  </a:lnTo>
                  <a:lnTo>
                    <a:pt x="38" y="58"/>
                  </a:lnTo>
                  <a:lnTo>
                    <a:pt x="36" y="31"/>
                  </a:lnTo>
                  <a:lnTo>
                    <a:pt x="34" y="19"/>
                  </a:lnTo>
                  <a:lnTo>
                    <a:pt x="30" y="17"/>
                  </a:lnTo>
                  <a:lnTo>
                    <a:pt x="28" y="14"/>
                  </a:lnTo>
                  <a:lnTo>
                    <a:pt x="28" y="10"/>
                  </a:lnTo>
                  <a:lnTo>
                    <a:pt x="28" y="4"/>
                  </a:lnTo>
                  <a:lnTo>
                    <a:pt x="30" y="2"/>
                  </a:lnTo>
                  <a:lnTo>
                    <a:pt x="34" y="0"/>
                  </a:lnTo>
                  <a:lnTo>
                    <a:pt x="36" y="2"/>
                  </a:lnTo>
                  <a:lnTo>
                    <a:pt x="38" y="4"/>
                  </a:lnTo>
                  <a:lnTo>
                    <a:pt x="57" y="4"/>
                  </a:lnTo>
                  <a:lnTo>
                    <a:pt x="76" y="4"/>
                  </a:lnTo>
                  <a:lnTo>
                    <a:pt x="80" y="2"/>
                  </a:lnTo>
                  <a:lnTo>
                    <a:pt x="82" y="0"/>
                  </a:lnTo>
                  <a:lnTo>
                    <a:pt x="92" y="0"/>
                  </a:lnTo>
                  <a:lnTo>
                    <a:pt x="101" y="0"/>
                  </a:lnTo>
                  <a:lnTo>
                    <a:pt x="103" y="2"/>
                  </a:lnTo>
                  <a:lnTo>
                    <a:pt x="105" y="4"/>
                  </a:lnTo>
                  <a:lnTo>
                    <a:pt x="109" y="8"/>
                  </a:lnTo>
                  <a:lnTo>
                    <a:pt x="111" y="10"/>
                  </a:lnTo>
                  <a:lnTo>
                    <a:pt x="113" y="12"/>
                  </a:lnTo>
                  <a:lnTo>
                    <a:pt x="117" y="14"/>
                  </a:lnTo>
                  <a:lnTo>
                    <a:pt x="132" y="17"/>
                  </a:lnTo>
                  <a:lnTo>
                    <a:pt x="149" y="19"/>
                  </a:lnTo>
                  <a:lnTo>
                    <a:pt x="151" y="21"/>
                  </a:lnTo>
                  <a:lnTo>
                    <a:pt x="155" y="23"/>
                  </a:lnTo>
                  <a:lnTo>
                    <a:pt x="157" y="31"/>
                  </a:lnTo>
                  <a:lnTo>
                    <a:pt x="159" y="38"/>
                  </a:lnTo>
                  <a:lnTo>
                    <a:pt x="161" y="40"/>
                  </a:lnTo>
                  <a:lnTo>
                    <a:pt x="165" y="44"/>
                  </a:lnTo>
                  <a:lnTo>
                    <a:pt x="182" y="46"/>
                  </a:lnTo>
                  <a:lnTo>
                    <a:pt x="197" y="48"/>
                  </a:lnTo>
                  <a:lnTo>
                    <a:pt x="201" y="50"/>
                  </a:lnTo>
                  <a:lnTo>
                    <a:pt x="203" y="54"/>
                  </a:lnTo>
                  <a:lnTo>
                    <a:pt x="205" y="60"/>
                  </a:lnTo>
                  <a:lnTo>
                    <a:pt x="207" y="67"/>
                  </a:lnTo>
                  <a:lnTo>
                    <a:pt x="211" y="69"/>
                  </a:lnTo>
                  <a:lnTo>
                    <a:pt x="213" y="73"/>
                  </a:lnTo>
                  <a:lnTo>
                    <a:pt x="213" y="83"/>
                  </a:lnTo>
                  <a:lnTo>
                    <a:pt x="213" y="92"/>
                  </a:lnTo>
                  <a:lnTo>
                    <a:pt x="211" y="94"/>
                  </a:lnTo>
                  <a:lnTo>
                    <a:pt x="207" y="96"/>
                  </a:lnTo>
                  <a:lnTo>
                    <a:pt x="205" y="104"/>
                  </a:lnTo>
                  <a:lnTo>
                    <a:pt x="203" y="111"/>
                  </a:lnTo>
                  <a:lnTo>
                    <a:pt x="201" y="113"/>
                  </a:lnTo>
                  <a:lnTo>
                    <a:pt x="197" y="115"/>
                  </a:lnTo>
                  <a:lnTo>
                    <a:pt x="195" y="117"/>
                  </a:lnTo>
                  <a:lnTo>
                    <a:pt x="193" y="121"/>
                  </a:lnTo>
                  <a:lnTo>
                    <a:pt x="190" y="123"/>
                  </a:lnTo>
                  <a:lnTo>
                    <a:pt x="188" y="125"/>
                  </a:lnTo>
                  <a:lnTo>
                    <a:pt x="184" y="125"/>
                  </a:lnTo>
                  <a:lnTo>
                    <a:pt x="178" y="125"/>
                  </a:lnTo>
                  <a:lnTo>
                    <a:pt x="176" y="123"/>
                  </a:lnTo>
                  <a:lnTo>
                    <a:pt x="174" y="121"/>
                  </a:lnTo>
                  <a:lnTo>
                    <a:pt x="167" y="117"/>
                  </a:lnTo>
                  <a:lnTo>
                    <a:pt x="159" y="115"/>
                  </a:lnTo>
                  <a:lnTo>
                    <a:pt x="157" y="113"/>
                  </a:lnTo>
                  <a:lnTo>
                    <a:pt x="155" y="111"/>
                  </a:lnTo>
                  <a:lnTo>
                    <a:pt x="147" y="108"/>
                  </a:lnTo>
                  <a:lnTo>
                    <a:pt x="140" y="106"/>
                  </a:lnTo>
                  <a:lnTo>
                    <a:pt x="138" y="104"/>
                  </a:lnTo>
                  <a:lnTo>
                    <a:pt x="136" y="102"/>
                  </a:lnTo>
                  <a:lnTo>
                    <a:pt x="132" y="100"/>
                  </a:lnTo>
                  <a:lnTo>
                    <a:pt x="130" y="96"/>
                  </a:lnTo>
                  <a:lnTo>
                    <a:pt x="128" y="94"/>
                  </a:lnTo>
                  <a:lnTo>
                    <a:pt x="126" y="92"/>
                  </a:lnTo>
                  <a:lnTo>
                    <a:pt x="121" y="92"/>
                  </a:lnTo>
                  <a:lnTo>
                    <a:pt x="117" y="92"/>
                  </a:lnTo>
                  <a:lnTo>
                    <a:pt x="113" y="94"/>
                  </a:lnTo>
                  <a:lnTo>
                    <a:pt x="111" y="96"/>
                  </a:lnTo>
                  <a:lnTo>
                    <a:pt x="109" y="100"/>
                  </a:lnTo>
                  <a:lnTo>
                    <a:pt x="105" y="102"/>
                  </a:lnTo>
                  <a:lnTo>
                    <a:pt x="103" y="104"/>
                  </a:lnTo>
                  <a:lnTo>
                    <a:pt x="101" y="106"/>
                  </a:lnTo>
                  <a:lnTo>
                    <a:pt x="94" y="108"/>
                  </a:lnTo>
                  <a:lnTo>
                    <a:pt x="88" y="111"/>
                  </a:lnTo>
                  <a:lnTo>
                    <a:pt x="84" y="113"/>
                  </a:lnTo>
                  <a:lnTo>
                    <a:pt x="82" y="115"/>
                  </a:lnTo>
                  <a:lnTo>
                    <a:pt x="80" y="134"/>
                  </a:lnTo>
                  <a:lnTo>
                    <a:pt x="76" y="154"/>
                  </a:lnTo>
                  <a:lnTo>
                    <a:pt x="55" y="154"/>
                  </a:lnTo>
                  <a:lnTo>
                    <a:pt x="34" y="154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Freeform 318">
              <a:extLst>
                <a:ext uri="{FF2B5EF4-FFF2-40B4-BE49-F238E27FC236}">
                  <a16:creationId xmlns:a16="http://schemas.microsoft.com/office/drawing/2014/main" xmlns="" id="{9CA915B2-028C-B54E-A957-44F223569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7438" y="4189228"/>
              <a:ext cx="268287" cy="319088"/>
            </a:xfrm>
            <a:custGeom>
              <a:avLst/>
              <a:gdLst>
                <a:gd name="T0" fmla="*/ 2147483647 w 173"/>
                <a:gd name="T1" fmla="*/ 2147483647 h 213"/>
                <a:gd name="T2" fmla="*/ 2147483647 w 173"/>
                <a:gd name="T3" fmla="*/ 2147483647 h 213"/>
                <a:gd name="T4" fmla="*/ 2147483647 w 173"/>
                <a:gd name="T5" fmla="*/ 2147483647 h 213"/>
                <a:gd name="T6" fmla="*/ 2147483647 w 173"/>
                <a:gd name="T7" fmla="*/ 2147483647 h 213"/>
                <a:gd name="T8" fmla="*/ 2147483647 w 173"/>
                <a:gd name="T9" fmla="*/ 2147483647 h 213"/>
                <a:gd name="T10" fmla="*/ 2147483647 w 173"/>
                <a:gd name="T11" fmla="*/ 2147483647 h 213"/>
                <a:gd name="T12" fmla="*/ 2147483647 w 173"/>
                <a:gd name="T13" fmla="*/ 2147483647 h 213"/>
                <a:gd name="T14" fmla="*/ 2147483647 w 173"/>
                <a:gd name="T15" fmla="*/ 2147483647 h 213"/>
                <a:gd name="T16" fmla="*/ 2147483647 w 173"/>
                <a:gd name="T17" fmla="*/ 2147483647 h 213"/>
                <a:gd name="T18" fmla="*/ 2147483647 w 173"/>
                <a:gd name="T19" fmla="*/ 2147483647 h 213"/>
                <a:gd name="T20" fmla="*/ 2147483647 w 173"/>
                <a:gd name="T21" fmla="*/ 2147483647 h 213"/>
                <a:gd name="T22" fmla="*/ 2147483647 w 173"/>
                <a:gd name="T23" fmla="*/ 2147483647 h 213"/>
                <a:gd name="T24" fmla="*/ 2147483647 w 173"/>
                <a:gd name="T25" fmla="*/ 2147483647 h 213"/>
                <a:gd name="T26" fmla="*/ 2147483647 w 173"/>
                <a:gd name="T27" fmla="*/ 2147483647 h 213"/>
                <a:gd name="T28" fmla="*/ 0 w 173"/>
                <a:gd name="T29" fmla="*/ 2147483647 h 213"/>
                <a:gd name="T30" fmla="*/ 2147483647 w 173"/>
                <a:gd name="T31" fmla="*/ 2147483647 h 213"/>
                <a:gd name="T32" fmla="*/ 2147483647 w 173"/>
                <a:gd name="T33" fmla="*/ 2147483647 h 213"/>
                <a:gd name="T34" fmla="*/ 2147483647 w 173"/>
                <a:gd name="T35" fmla="*/ 2147483647 h 213"/>
                <a:gd name="T36" fmla="*/ 2147483647 w 173"/>
                <a:gd name="T37" fmla="*/ 2147483647 h 213"/>
                <a:gd name="T38" fmla="*/ 2147483647 w 173"/>
                <a:gd name="T39" fmla="*/ 2147483647 h 213"/>
                <a:gd name="T40" fmla="*/ 2147483647 w 173"/>
                <a:gd name="T41" fmla="*/ 2147483647 h 213"/>
                <a:gd name="T42" fmla="*/ 2147483647 w 173"/>
                <a:gd name="T43" fmla="*/ 2147483647 h 213"/>
                <a:gd name="T44" fmla="*/ 2147483647 w 173"/>
                <a:gd name="T45" fmla="*/ 2147483647 h 213"/>
                <a:gd name="T46" fmla="*/ 2147483647 w 173"/>
                <a:gd name="T47" fmla="*/ 2147483647 h 213"/>
                <a:gd name="T48" fmla="*/ 2147483647 w 173"/>
                <a:gd name="T49" fmla="*/ 2147483647 h 213"/>
                <a:gd name="T50" fmla="*/ 2147483647 w 173"/>
                <a:gd name="T51" fmla="*/ 2147483647 h 213"/>
                <a:gd name="T52" fmla="*/ 2147483647 w 173"/>
                <a:gd name="T53" fmla="*/ 2147483647 h 213"/>
                <a:gd name="T54" fmla="*/ 2147483647 w 173"/>
                <a:gd name="T55" fmla="*/ 2147483647 h 213"/>
                <a:gd name="T56" fmla="*/ 2147483647 w 173"/>
                <a:gd name="T57" fmla="*/ 2147483647 h 213"/>
                <a:gd name="T58" fmla="*/ 2147483647 w 173"/>
                <a:gd name="T59" fmla="*/ 2147483647 h 213"/>
                <a:gd name="T60" fmla="*/ 2147483647 w 173"/>
                <a:gd name="T61" fmla="*/ 2147483647 h 213"/>
                <a:gd name="T62" fmla="*/ 2147483647 w 173"/>
                <a:gd name="T63" fmla="*/ 2147483647 h 213"/>
                <a:gd name="T64" fmla="*/ 2147483647 w 173"/>
                <a:gd name="T65" fmla="*/ 2147483647 h 213"/>
                <a:gd name="T66" fmla="*/ 2147483647 w 173"/>
                <a:gd name="T67" fmla="*/ 2147483647 h 213"/>
                <a:gd name="T68" fmla="*/ 2147483647 w 173"/>
                <a:gd name="T69" fmla="*/ 2147483647 h 213"/>
                <a:gd name="T70" fmla="*/ 2147483647 w 173"/>
                <a:gd name="T71" fmla="*/ 2147483647 h 213"/>
                <a:gd name="T72" fmla="*/ 2147483647 w 173"/>
                <a:gd name="T73" fmla="*/ 2147483647 h 213"/>
                <a:gd name="T74" fmla="*/ 2147483647 w 173"/>
                <a:gd name="T75" fmla="*/ 2147483647 h 213"/>
                <a:gd name="T76" fmla="*/ 2147483647 w 173"/>
                <a:gd name="T77" fmla="*/ 2147483647 h 213"/>
                <a:gd name="T78" fmla="*/ 2147483647 w 173"/>
                <a:gd name="T79" fmla="*/ 2147483647 h 213"/>
                <a:gd name="T80" fmla="*/ 2147483647 w 173"/>
                <a:gd name="T81" fmla="*/ 2147483647 h 213"/>
                <a:gd name="T82" fmla="*/ 2147483647 w 173"/>
                <a:gd name="T83" fmla="*/ 2147483647 h 213"/>
                <a:gd name="T84" fmla="*/ 2147483647 w 173"/>
                <a:gd name="T85" fmla="*/ 2147483647 h 213"/>
                <a:gd name="T86" fmla="*/ 2147483647 w 173"/>
                <a:gd name="T87" fmla="*/ 2147483647 h 213"/>
                <a:gd name="T88" fmla="*/ 2147483647 w 173"/>
                <a:gd name="T89" fmla="*/ 2147483647 h 213"/>
                <a:gd name="T90" fmla="*/ 2147483647 w 173"/>
                <a:gd name="T91" fmla="*/ 2147483647 h 213"/>
                <a:gd name="T92" fmla="*/ 2147483647 w 173"/>
                <a:gd name="T93" fmla="*/ 2147483647 h 213"/>
                <a:gd name="T94" fmla="*/ 2147483647 w 173"/>
                <a:gd name="T95" fmla="*/ 2147483647 h 213"/>
                <a:gd name="T96" fmla="*/ 2147483647 w 173"/>
                <a:gd name="T97" fmla="*/ 2147483647 h 213"/>
                <a:gd name="T98" fmla="*/ 2147483647 w 173"/>
                <a:gd name="T99" fmla="*/ 2147483647 h 213"/>
                <a:gd name="T100" fmla="*/ 2147483647 w 173"/>
                <a:gd name="T101" fmla="*/ 2147483647 h 213"/>
                <a:gd name="T102" fmla="*/ 2147483647 w 173"/>
                <a:gd name="T103" fmla="*/ 2147483647 h 213"/>
                <a:gd name="T104" fmla="*/ 2147483647 w 173"/>
                <a:gd name="T105" fmla="*/ 2147483647 h 213"/>
                <a:gd name="T106" fmla="*/ 2147483647 w 173"/>
                <a:gd name="T107" fmla="*/ 2147483647 h 213"/>
                <a:gd name="T108" fmla="*/ 2147483647 w 173"/>
                <a:gd name="T109" fmla="*/ 2147483647 h 213"/>
                <a:gd name="T110" fmla="*/ 2147483647 w 173"/>
                <a:gd name="T111" fmla="*/ 2147483647 h 213"/>
                <a:gd name="T112" fmla="*/ 2147483647 w 173"/>
                <a:gd name="T113" fmla="*/ 2147483647 h 213"/>
                <a:gd name="T114" fmla="*/ 2147483647 w 173"/>
                <a:gd name="T115" fmla="*/ 2147483647 h 213"/>
                <a:gd name="T116" fmla="*/ 2147483647 w 173"/>
                <a:gd name="T117" fmla="*/ 2147483647 h 213"/>
                <a:gd name="T118" fmla="*/ 2147483647 w 173"/>
                <a:gd name="T119" fmla="*/ 2147483647 h 213"/>
                <a:gd name="T120" fmla="*/ 2147483647 w 173"/>
                <a:gd name="T121" fmla="*/ 2147483647 h 213"/>
                <a:gd name="T122" fmla="*/ 2147483647 w 173"/>
                <a:gd name="T123" fmla="*/ 2147483647 h 21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73"/>
                <a:gd name="T187" fmla="*/ 0 h 213"/>
                <a:gd name="T188" fmla="*/ 173 w 173"/>
                <a:gd name="T189" fmla="*/ 213 h 21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73" h="213">
                  <a:moveTo>
                    <a:pt x="67" y="207"/>
                  </a:moveTo>
                  <a:lnTo>
                    <a:pt x="69" y="206"/>
                  </a:lnTo>
                  <a:lnTo>
                    <a:pt x="71" y="204"/>
                  </a:lnTo>
                  <a:lnTo>
                    <a:pt x="71" y="198"/>
                  </a:lnTo>
                  <a:lnTo>
                    <a:pt x="71" y="194"/>
                  </a:lnTo>
                  <a:lnTo>
                    <a:pt x="69" y="192"/>
                  </a:lnTo>
                  <a:lnTo>
                    <a:pt x="67" y="190"/>
                  </a:lnTo>
                  <a:lnTo>
                    <a:pt x="61" y="179"/>
                  </a:lnTo>
                  <a:lnTo>
                    <a:pt x="57" y="169"/>
                  </a:lnTo>
                  <a:lnTo>
                    <a:pt x="59" y="167"/>
                  </a:lnTo>
                  <a:lnTo>
                    <a:pt x="61" y="165"/>
                  </a:lnTo>
                  <a:lnTo>
                    <a:pt x="65" y="169"/>
                  </a:lnTo>
                  <a:lnTo>
                    <a:pt x="69" y="173"/>
                  </a:lnTo>
                  <a:lnTo>
                    <a:pt x="73" y="163"/>
                  </a:lnTo>
                  <a:lnTo>
                    <a:pt x="77" y="156"/>
                  </a:lnTo>
                  <a:lnTo>
                    <a:pt x="67" y="158"/>
                  </a:lnTo>
                  <a:lnTo>
                    <a:pt x="57" y="160"/>
                  </a:lnTo>
                  <a:lnTo>
                    <a:pt x="56" y="163"/>
                  </a:lnTo>
                  <a:lnTo>
                    <a:pt x="52" y="165"/>
                  </a:lnTo>
                  <a:lnTo>
                    <a:pt x="50" y="175"/>
                  </a:lnTo>
                  <a:lnTo>
                    <a:pt x="48" y="184"/>
                  </a:lnTo>
                  <a:lnTo>
                    <a:pt x="31" y="184"/>
                  </a:lnTo>
                  <a:lnTo>
                    <a:pt x="13" y="184"/>
                  </a:lnTo>
                  <a:lnTo>
                    <a:pt x="11" y="183"/>
                  </a:lnTo>
                  <a:lnTo>
                    <a:pt x="9" y="179"/>
                  </a:lnTo>
                  <a:lnTo>
                    <a:pt x="6" y="177"/>
                  </a:lnTo>
                  <a:lnTo>
                    <a:pt x="4" y="175"/>
                  </a:lnTo>
                  <a:lnTo>
                    <a:pt x="2" y="173"/>
                  </a:lnTo>
                  <a:lnTo>
                    <a:pt x="0" y="169"/>
                  </a:lnTo>
                  <a:lnTo>
                    <a:pt x="0" y="150"/>
                  </a:lnTo>
                  <a:lnTo>
                    <a:pt x="0" y="131"/>
                  </a:lnTo>
                  <a:lnTo>
                    <a:pt x="2" y="129"/>
                  </a:lnTo>
                  <a:lnTo>
                    <a:pt x="4" y="127"/>
                  </a:lnTo>
                  <a:lnTo>
                    <a:pt x="6" y="123"/>
                  </a:lnTo>
                  <a:lnTo>
                    <a:pt x="9" y="121"/>
                  </a:lnTo>
                  <a:lnTo>
                    <a:pt x="11" y="119"/>
                  </a:lnTo>
                  <a:lnTo>
                    <a:pt x="13" y="117"/>
                  </a:lnTo>
                  <a:lnTo>
                    <a:pt x="15" y="110"/>
                  </a:lnTo>
                  <a:lnTo>
                    <a:pt x="19" y="102"/>
                  </a:lnTo>
                  <a:lnTo>
                    <a:pt x="21" y="100"/>
                  </a:lnTo>
                  <a:lnTo>
                    <a:pt x="23" y="98"/>
                  </a:lnTo>
                  <a:lnTo>
                    <a:pt x="25" y="90"/>
                  </a:lnTo>
                  <a:lnTo>
                    <a:pt x="29" y="83"/>
                  </a:lnTo>
                  <a:lnTo>
                    <a:pt x="31" y="81"/>
                  </a:lnTo>
                  <a:lnTo>
                    <a:pt x="33" y="79"/>
                  </a:lnTo>
                  <a:lnTo>
                    <a:pt x="34" y="71"/>
                  </a:lnTo>
                  <a:lnTo>
                    <a:pt x="38" y="64"/>
                  </a:lnTo>
                  <a:lnTo>
                    <a:pt x="40" y="62"/>
                  </a:lnTo>
                  <a:lnTo>
                    <a:pt x="42" y="58"/>
                  </a:lnTo>
                  <a:lnTo>
                    <a:pt x="46" y="58"/>
                  </a:lnTo>
                  <a:lnTo>
                    <a:pt x="52" y="58"/>
                  </a:lnTo>
                  <a:lnTo>
                    <a:pt x="56" y="62"/>
                  </a:lnTo>
                  <a:lnTo>
                    <a:pt x="57" y="64"/>
                  </a:lnTo>
                  <a:lnTo>
                    <a:pt x="61" y="64"/>
                  </a:lnTo>
                  <a:lnTo>
                    <a:pt x="67" y="64"/>
                  </a:lnTo>
                  <a:lnTo>
                    <a:pt x="69" y="62"/>
                  </a:lnTo>
                  <a:lnTo>
                    <a:pt x="71" y="58"/>
                  </a:lnTo>
                  <a:lnTo>
                    <a:pt x="73" y="56"/>
                  </a:lnTo>
                  <a:lnTo>
                    <a:pt x="77" y="54"/>
                  </a:lnTo>
                  <a:lnTo>
                    <a:pt x="79" y="52"/>
                  </a:lnTo>
                  <a:lnTo>
                    <a:pt x="80" y="48"/>
                  </a:lnTo>
                  <a:lnTo>
                    <a:pt x="84" y="46"/>
                  </a:lnTo>
                  <a:lnTo>
                    <a:pt x="86" y="44"/>
                  </a:lnTo>
                  <a:lnTo>
                    <a:pt x="88" y="42"/>
                  </a:lnTo>
                  <a:lnTo>
                    <a:pt x="90" y="41"/>
                  </a:lnTo>
                  <a:lnTo>
                    <a:pt x="94" y="27"/>
                  </a:lnTo>
                  <a:lnTo>
                    <a:pt x="96" y="16"/>
                  </a:lnTo>
                  <a:lnTo>
                    <a:pt x="98" y="14"/>
                  </a:lnTo>
                  <a:lnTo>
                    <a:pt x="100" y="10"/>
                  </a:lnTo>
                  <a:lnTo>
                    <a:pt x="103" y="8"/>
                  </a:lnTo>
                  <a:lnTo>
                    <a:pt x="105" y="6"/>
                  </a:lnTo>
                  <a:lnTo>
                    <a:pt x="107" y="2"/>
                  </a:lnTo>
                  <a:lnTo>
                    <a:pt x="109" y="0"/>
                  </a:lnTo>
                  <a:lnTo>
                    <a:pt x="113" y="2"/>
                  </a:lnTo>
                  <a:lnTo>
                    <a:pt x="115" y="6"/>
                  </a:lnTo>
                  <a:lnTo>
                    <a:pt x="123" y="8"/>
                  </a:lnTo>
                  <a:lnTo>
                    <a:pt x="130" y="10"/>
                  </a:lnTo>
                  <a:lnTo>
                    <a:pt x="132" y="14"/>
                  </a:lnTo>
                  <a:lnTo>
                    <a:pt x="134" y="16"/>
                  </a:lnTo>
                  <a:lnTo>
                    <a:pt x="136" y="18"/>
                  </a:lnTo>
                  <a:lnTo>
                    <a:pt x="138" y="19"/>
                  </a:lnTo>
                  <a:lnTo>
                    <a:pt x="142" y="21"/>
                  </a:lnTo>
                  <a:lnTo>
                    <a:pt x="144" y="25"/>
                  </a:lnTo>
                  <a:lnTo>
                    <a:pt x="151" y="27"/>
                  </a:lnTo>
                  <a:lnTo>
                    <a:pt x="159" y="29"/>
                  </a:lnTo>
                  <a:lnTo>
                    <a:pt x="161" y="31"/>
                  </a:lnTo>
                  <a:lnTo>
                    <a:pt x="163" y="35"/>
                  </a:lnTo>
                  <a:lnTo>
                    <a:pt x="169" y="54"/>
                  </a:lnTo>
                  <a:lnTo>
                    <a:pt x="173" y="73"/>
                  </a:lnTo>
                  <a:lnTo>
                    <a:pt x="171" y="75"/>
                  </a:lnTo>
                  <a:lnTo>
                    <a:pt x="169" y="79"/>
                  </a:lnTo>
                  <a:lnTo>
                    <a:pt x="165" y="90"/>
                  </a:lnTo>
                  <a:lnTo>
                    <a:pt x="163" y="102"/>
                  </a:lnTo>
                  <a:lnTo>
                    <a:pt x="161" y="104"/>
                  </a:lnTo>
                  <a:lnTo>
                    <a:pt x="159" y="108"/>
                  </a:lnTo>
                  <a:lnTo>
                    <a:pt x="155" y="123"/>
                  </a:lnTo>
                  <a:lnTo>
                    <a:pt x="153" y="140"/>
                  </a:lnTo>
                  <a:lnTo>
                    <a:pt x="151" y="142"/>
                  </a:lnTo>
                  <a:lnTo>
                    <a:pt x="150" y="146"/>
                  </a:lnTo>
                  <a:lnTo>
                    <a:pt x="146" y="148"/>
                  </a:lnTo>
                  <a:lnTo>
                    <a:pt x="144" y="150"/>
                  </a:lnTo>
                  <a:lnTo>
                    <a:pt x="142" y="154"/>
                  </a:lnTo>
                  <a:lnTo>
                    <a:pt x="138" y="156"/>
                  </a:lnTo>
                  <a:lnTo>
                    <a:pt x="136" y="158"/>
                  </a:lnTo>
                  <a:lnTo>
                    <a:pt x="134" y="160"/>
                  </a:lnTo>
                  <a:lnTo>
                    <a:pt x="132" y="163"/>
                  </a:lnTo>
                  <a:lnTo>
                    <a:pt x="130" y="165"/>
                  </a:lnTo>
                  <a:lnTo>
                    <a:pt x="127" y="167"/>
                  </a:lnTo>
                  <a:lnTo>
                    <a:pt x="125" y="169"/>
                  </a:lnTo>
                  <a:lnTo>
                    <a:pt x="123" y="173"/>
                  </a:lnTo>
                  <a:lnTo>
                    <a:pt x="121" y="175"/>
                  </a:lnTo>
                  <a:lnTo>
                    <a:pt x="121" y="179"/>
                  </a:lnTo>
                  <a:lnTo>
                    <a:pt x="121" y="184"/>
                  </a:lnTo>
                  <a:lnTo>
                    <a:pt x="123" y="186"/>
                  </a:lnTo>
                  <a:lnTo>
                    <a:pt x="125" y="190"/>
                  </a:lnTo>
                  <a:lnTo>
                    <a:pt x="125" y="194"/>
                  </a:lnTo>
                  <a:lnTo>
                    <a:pt x="125" y="200"/>
                  </a:lnTo>
                  <a:lnTo>
                    <a:pt x="123" y="202"/>
                  </a:lnTo>
                  <a:lnTo>
                    <a:pt x="121" y="204"/>
                  </a:lnTo>
                  <a:lnTo>
                    <a:pt x="113" y="206"/>
                  </a:lnTo>
                  <a:lnTo>
                    <a:pt x="105" y="207"/>
                  </a:lnTo>
                  <a:lnTo>
                    <a:pt x="103" y="211"/>
                  </a:lnTo>
                  <a:lnTo>
                    <a:pt x="100" y="213"/>
                  </a:lnTo>
                  <a:lnTo>
                    <a:pt x="82" y="211"/>
                  </a:lnTo>
                  <a:lnTo>
                    <a:pt x="67" y="207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9" name="Freeform 319">
              <a:extLst>
                <a:ext uri="{FF2B5EF4-FFF2-40B4-BE49-F238E27FC236}">
                  <a16:creationId xmlns:a16="http://schemas.microsoft.com/office/drawing/2014/main" xmlns="" id="{63905AC0-E58E-B94E-9BD9-FF9DF076C13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350" y="3925703"/>
              <a:ext cx="180975" cy="327025"/>
            </a:xfrm>
            <a:custGeom>
              <a:avLst/>
              <a:gdLst>
                <a:gd name="T0" fmla="*/ 2147483647 w 115"/>
                <a:gd name="T1" fmla="*/ 2147483647 h 215"/>
                <a:gd name="T2" fmla="*/ 2147483647 w 115"/>
                <a:gd name="T3" fmla="*/ 2147483647 h 215"/>
                <a:gd name="T4" fmla="*/ 2147483647 w 115"/>
                <a:gd name="T5" fmla="*/ 2147483647 h 215"/>
                <a:gd name="T6" fmla="*/ 0 w 115"/>
                <a:gd name="T7" fmla="*/ 2147483647 h 215"/>
                <a:gd name="T8" fmla="*/ 2147483647 w 115"/>
                <a:gd name="T9" fmla="*/ 2147483647 h 215"/>
                <a:gd name="T10" fmla="*/ 2147483647 w 115"/>
                <a:gd name="T11" fmla="*/ 2147483647 h 215"/>
                <a:gd name="T12" fmla="*/ 2147483647 w 115"/>
                <a:gd name="T13" fmla="*/ 2147483647 h 215"/>
                <a:gd name="T14" fmla="*/ 2147483647 w 115"/>
                <a:gd name="T15" fmla="*/ 2147483647 h 215"/>
                <a:gd name="T16" fmla="*/ 2147483647 w 115"/>
                <a:gd name="T17" fmla="*/ 2147483647 h 215"/>
                <a:gd name="T18" fmla="*/ 2147483647 w 115"/>
                <a:gd name="T19" fmla="*/ 2147483647 h 215"/>
                <a:gd name="T20" fmla="*/ 2147483647 w 115"/>
                <a:gd name="T21" fmla="*/ 2147483647 h 215"/>
                <a:gd name="T22" fmla="*/ 2147483647 w 115"/>
                <a:gd name="T23" fmla="*/ 2147483647 h 215"/>
                <a:gd name="T24" fmla="*/ 2147483647 w 115"/>
                <a:gd name="T25" fmla="*/ 2147483647 h 215"/>
                <a:gd name="T26" fmla="*/ 2147483647 w 115"/>
                <a:gd name="T27" fmla="*/ 2147483647 h 215"/>
                <a:gd name="T28" fmla="*/ 2147483647 w 115"/>
                <a:gd name="T29" fmla="*/ 2147483647 h 215"/>
                <a:gd name="T30" fmla="*/ 2147483647 w 115"/>
                <a:gd name="T31" fmla="*/ 2147483647 h 215"/>
                <a:gd name="T32" fmla="*/ 2147483647 w 115"/>
                <a:gd name="T33" fmla="*/ 2147483647 h 215"/>
                <a:gd name="T34" fmla="*/ 2147483647 w 115"/>
                <a:gd name="T35" fmla="*/ 2147483647 h 215"/>
                <a:gd name="T36" fmla="*/ 2147483647 w 115"/>
                <a:gd name="T37" fmla="*/ 2147483647 h 215"/>
                <a:gd name="T38" fmla="*/ 2147483647 w 115"/>
                <a:gd name="T39" fmla="*/ 2147483647 h 215"/>
                <a:gd name="T40" fmla="*/ 2147483647 w 115"/>
                <a:gd name="T41" fmla="*/ 2147483647 h 215"/>
                <a:gd name="T42" fmla="*/ 2147483647 w 115"/>
                <a:gd name="T43" fmla="*/ 2147483647 h 215"/>
                <a:gd name="T44" fmla="*/ 2147483647 w 115"/>
                <a:gd name="T45" fmla="*/ 2147483647 h 215"/>
                <a:gd name="T46" fmla="*/ 2147483647 w 115"/>
                <a:gd name="T47" fmla="*/ 2147483647 h 215"/>
                <a:gd name="T48" fmla="*/ 2147483647 w 115"/>
                <a:gd name="T49" fmla="*/ 0 h 215"/>
                <a:gd name="T50" fmla="*/ 2147483647 w 115"/>
                <a:gd name="T51" fmla="*/ 2147483647 h 215"/>
                <a:gd name="T52" fmla="*/ 2147483647 w 115"/>
                <a:gd name="T53" fmla="*/ 2147483647 h 215"/>
                <a:gd name="T54" fmla="*/ 2147483647 w 115"/>
                <a:gd name="T55" fmla="*/ 2147483647 h 215"/>
                <a:gd name="T56" fmla="*/ 2147483647 w 115"/>
                <a:gd name="T57" fmla="*/ 2147483647 h 215"/>
                <a:gd name="T58" fmla="*/ 2147483647 w 115"/>
                <a:gd name="T59" fmla="*/ 2147483647 h 215"/>
                <a:gd name="T60" fmla="*/ 2147483647 w 115"/>
                <a:gd name="T61" fmla="*/ 2147483647 h 215"/>
                <a:gd name="T62" fmla="*/ 2147483647 w 115"/>
                <a:gd name="T63" fmla="*/ 2147483647 h 215"/>
                <a:gd name="T64" fmla="*/ 2147483647 w 115"/>
                <a:gd name="T65" fmla="*/ 2147483647 h 215"/>
                <a:gd name="T66" fmla="*/ 2147483647 w 115"/>
                <a:gd name="T67" fmla="*/ 2147483647 h 215"/>
                <a:gd name="T68" fmla="*/ 2147483647 w 115"/>
                <a:gd name="T69" fmla="*/ 2147483647 h 215"/>
                <a:gd name="T70" fmla="*/ 2147483647 w 115"/>
                <a:gd name="T71" fmla="*/ 2147483647 h 215"/>
                <a:gd name="T72" fmla="*/ 2147483647 w 115"/>
                <a:gd name="T73" fmla="*/ 2147483647 h 215"/>
                <a:gd name="T74" fmla="*/ 2147483647 w 115"/>
                <a:gd name="T75" fmla="*/ 2147483647 h 215"/>
                <a:gd name="T76" fmla="*/ 2147483647 w 115"/>
                <a:gd name="T77" fmla="*/ 2147483647 h 215"/>
                <a:gd name="T78" fmla="*/ 2147483647 w 115"/>
                <a:gd name="T79" fmla="*/ 2147483647 h 215"/>
                <a:gd name="T80" fmla="*/ 2147483647 w 115"/>
                <a:gd name="T81" fmla="*/ 2147483647 h 215"/>
                <a:gd name="T82" fmla="*/ 2147483647 w 115"/>
                <a:gd name="T83" fmla="*/ 2147483647 h 215"/>
                <a:gd name="T84" fmla="*/ 2147483647 w 115"/>
                <a:gd name="T85" fmla="*/ 2147483647 h 215"/>
                <a:gd name="T86" fmla="*/ 2147483647 w 115"/>
                <a:gd name="T87" fmla="*/ 2147483647 h 215"/>
                <a:gd name="T88" fmla="*/ 2147483647 w 115"/>
                <a:gd name="T89" fmla="*/ 2147483647 h 215"/>
                <a:gd name="T90" fmla="*/ 2147483647 w 115"/>
                <a:gd name="T91" fmla="*/ 2147483647 h 215"/>
                <a:gd name="T92" fmla="*/ 2147483647 w 115"/>
                <a:gd name="T93" fmla="*/ 2147483647 h 215"/>
                <a:gd name="T94" fmla="*/ 2147483647 w 115"/>
                <a:gd name="T95" fmla="*/ 2147483647 h 215"/>
                <a:gd name="T96" fmla="*/ 2147483647 w 115"/>
                <a:gd name="T97" fmla="*/ 2147483647 h 21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15"/>
                <a:gd name="T148" fmla="*/ 0 h 215"/>
                <a:gd name="T149" fmla="*/ 115 w 115"/>
                <a:gd name="T150" fmla="*/ 215 h 21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15" h="215">
                  <a:moveTo>
                    <a:pt x="14" y="215"/>
                  </a:moveTo>
                  <a:lnTo>
                    <a:pt x="12" y="211"/>
                  </a:lnTo>
                  <a:lnTo>
                    <a:pt x="8" y="209"/>
                  </a:lnTo>
                  <a:lnTo>
                    <a:pt x="6" y="201"/>
                  </a:lnTo>
                  <a:lnTo>
                    <a:pt x="4" y="193"/>
                  </a:lnTo>
                  <a:lnTo>
                    <a:pt x="2" y="192"/>
                  </a:lnTo>
                  <a:lnTo>
                    <a:pt x="0" y="190"/>
                  </a:lnTo>
                  <a:lnTo>
                    <a:pt x="0" y="165"/>
                  </a:lnTo>
                  <a:lnTo>
                    <a:pt x="0" y="142"/>
                  </a:lnTo>
                  <a:lnTo>
                    <a:pt x="2" y="138"/>
                  </a:lnTo>
                  <a:lnTo>
                    <a:pt x="4" y="136"/>
                  </a:lnTo>
                  <a:lnTo>
                    <a:pt x="6" y="134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4" y="126"/>
                  </a:lnTo>
                  <a:lnTo>
                    <a:pt x="16" y="119"/>
                  </a:lnTo>
                  <a:lnTo>
                    <a:pt x="18" y="111"/>
                  </a:lnTo>
                  <a:lnTo>
                    <a:pt x="21" y="109"/>
                  </a:lnTo>
                  <a:lnTo>
                    <a:pt x="23" y="107"/>
                  </a:lnTo>
                  <a:lnTo>
                    <a:pt x="25" y="105"/>
                  </a:lnTo>
                  <a:lnTo>
                    <a:pt x="29" y="101"/>
                  </a:lnTo>
                  <a:lnTo>
                    <a:pt x="31" y="99"/>
                  </a:lnTo>
                  <a:lnTo>
                    <a:pt x="33" y="98"/>
                  </a:lnTo>
                  <a:lnTo>
                    <a:pt x="35" y="96"/>
                  </a:lnTo>
                  <a:lnTo>
                    <a:pt x="39" y="92"/>
                  </a:lnTo>
                  <a:lnTo>
                    <a:pt x="41" y="90"/>
                  </a:lnTo>
                  <a:lnTo>
                    <a:pt x="42" y="88"/>
                  </a:lnTo>
                  <a:lnTo>
                    <a:pt x="42" y="82"/>
                  </a:lnTo>
                  <a:lnTo>
                    <a:pt x="42" y="78"/>
                  </a:lnTo>
                  <a:lnTo>
                    <a:pt x="41" y="76"/>
                  </a:lnTo>
                  <a:lnTo>
                    <a:pt x="39" y="73"/>
                  </a:lnTo>
                  <a:lnTo>
                    <a:pt x="35" y="71"/>
                  </a:lnTo>
                  <a:lnTo>
                    <a:pt x="33" y="69"/>
                  </a:lnTo>
                  <a:lnTo>
                    <a:pt x="31" y="65"/>
                  </a:lnTo>
                  <a:lnTo>
                    <a:pt x="29" y="63"/>
                  </a:lnTo>
                  <a:lnTo>
                    <a:pt x="21" y="61"/>
                  </a:lnTo>
                  <a:lnTo>
                    <a:pt x="14" y="59"/>
                  </a:lnTo>
                  <a:lnTo>
                    <a:pt x="12" y="55"/>
                  </a:lnTo>
                  <a:lnTo>
                    <a:pt x="8" y="53"/>
                  </a:lnTo>
                  <a:lnTo>
                    <a:pt x="6" y="46"/>
                  </a:lnTo>
                  <a:lnTo>
                    <a:pt x="4" y="40"/>
                  </a:lnTo>
                  <a:lnTo>
                    <a:pt x="2" y="36"/>
                  </a:lnTo>
                  <a:lnTo>
                    <a:pt x="0" y="34"/>
                  </a:lnTo>
                  <a:lnTo>
                    <a:pt x="2" y="32"/>
                  </a:lnTo>
                  <a:lnTo>
                    <a:pt x="4" y="30"/>
                  </a:lnTo>
                  <a:lnTo>
                    <a:pt x="6" y="17"/>
                  </a:lnTo>
                  <a:lnTo>
                    <a:pt x="8" y="5"/>
                  </a:lnTo>
                  <a:lnTo>
                    <a:pt x="12" y="4"/>
                  </a:lnTo>
                  <a:lnTo>
                    <a:pt x="14" y="0"/>
                  </a:lnTo>
                  <a:lnTo>
                    <a:pt x="33" y="0"/>
                  </a:lnTo>
                  <a:lnTo>
                    <a:pt x="52" y="0"/>
                  </a:lnTo>
                  <a:lnTo>
                    <a:pt x="54" y="4"/>
                  </a:lnTo>
                  <a:lnTo>
                    <a:pt x="58" y="5"/>
                  </a:lnTo>
                  <a:lnTo>
                    <a:pt x="60" y="7"/>
                  </a:lnTo>
                  <a:lnTo>
                    <a:pt x="62" y="11"/>
                  </a:lnTo>
                  <a:lnTo>
                    <a:pt x="64" y="13"/>
                  </a:lnTo>
                  <a:lnTo>
                    <a:pt x="67" y="15"/>
                  </a:lnTo>
                  <a:lnTo>
                    <a:pt x="67" y="27"/>
                  </a:lnTo>
                  <a:lnTo>
                    <a:pt x="67" y="40"/>
                  </a:lnTo>
                  <a:lnTo>
                    <a:pt x="79" y="40"/>
                  </a:lnTo>
                  <a:lnTo>
                    <a:pt x="90" y="40"/>
                  </a:lnTo>
                  <a:lnTo>
                    <a:pt x="92" y="42"/>
                  </a:lnTo>
                  <a:lnTo>
                    <a:pt x="96" y="44"/>
                  </a:lnTo>
                  <a:lnTo>
                    <a:pt x="98" y="46"/>
                  </a:lnTo>
                  <a:lnTo>
                    <a:pt x="100" y="50"/>
                  </a:lnTo>
                  <a:lnTo>
                    <a:pt x="102" y="51"/>
                  </a:lnTo>
                  <a:lnTo>
                    <a:pt x="106" y="53"/>
                  </a:lnTo>
                  <a:lnTo>
                    <a:pt x="110" y="63"/>
                  </a:lnTo>
                  <a:lnTo>
                    <a:pt x="115" y="73"/>
                  </a:lnTo>
                  <a:lnTo>
                    <a:pt x="113" y="76"/>
                  </a:lnTo>
                  <a:lnTo>
                    <a:pt x="110" y="78"/>
                  </a:lnTo>
                  <a:lnTo>
                    <a:pt x="108" y="90"/>
                  </a:lnTo>
                  <a:lnTo>
                    <a:pt x="106" y="101"/>
                  </a:lnTo>
                  <a:lnTo>
                    <a:pt x="102" y="105"/>
                  </a:lnTo>
                  <a:lnTo>
                    <a:pt x="100" y="107"/>
                  </a:lnTo>
                  <a:lnTo>
                    <a:pt x="98" y="124"/>
                  </a:lnTo>
                  <a:lnTo>
                    <a:pt x="96" y="142"/>
                  </a:lnTo>
                  <a:lnTo>
                    <a:pt x="92" y="144"/>
                  </a:lnTo>
                  <a:lnTo>
                    <a:pt x="90" y="145"/>
                  </a:lnTo>
                  <a:lnTo>
                    <a:pt x="89" y="153"/>
                  </a:lnTo>
                  <a:lnTo>
                    <a:pt x="87" y="161"/>
                  </a:lnTo>
                  <a:lnTo>
                    <a:pt x="83" y="163"/>
                  </a:lnTo>
                  <a:lnTo>
                    <a:pt x="81" y="165"/>
                  </a:lnTo>
                  <a:lnTo>
                    <a:pt x="81" y="174"/>
                  </a:lnTo>
                  <a:lnTo>
                    <a:pt x="81" y="184"/>
                  </a:lnTo>
                  <a:lnTo>
                    <a:pt x="83" y="188"/>
                  </a:lnTo>
                  <a:lnTo>
                    <a:pt x="87" y="190"/>
                  </a:lnTo>
                  <a:lnTo>
                    <a:pt x="89" y="192"/>
                  </a:lnTo>
                  <a:lnTo>
                    <a:pt x="90" y="193"/>
                  </a:lnTo>
                  <a:lnTo>
                    <a:pt x="92" y="195"/>
                  </a:lnTo>
                  <a:lnTo>
                    <a:pt x="96" y="199"/>
                  </a:lnTo>
                  <a:lnTo>
                    <a:pt x="96" y="203"/>
                  </a:lnTo>
                  <a:lnTo>
                    <a:pt x="96" y="209"/>
                  </a:lnTo>
                  <a:lnTo>
                    <a:pt x="92" y="211"/>
                  </a:lnTo>
                  <a:lnTo>
                    <a:pt x="90" y="215"/>
                  </a:lnTo>
                  <a:lnTo>
                    <a:pt x="71" y="215"/>
                  </a:lnTo>
                  <a:lnTo>
                    <a:pt x="52" y="215"/>
                  </a:lnTo>
                  <a:lnTo>
                    <a:pt x="33" y="215"/>
                  </a:lnTo>
                  <a:lnTo>
                    <a:pt x="14" y="215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0" name="Freeform 320">
              <a:extLst>
                <a:ext uri="{FF2B5EF4-FFF2-40B4-BE49-F238E27FC236}">
                  <a16:creationId xmlns:a16="http://schemas.microsoft.com/office/drawing/2014/main" xmlns="" id="{E69F069A-9A17-114E-A1FB-2C36EAA439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3213" y="4276541"/>
              <a:ext cx="287337" cy="319087"/>
            </a:xfrm>
            <a:custGeom>
              <a:avLst/>
              <a:gdLst>
                <a:gd name="T0" fmla="*/ 2147483647 w 184"/>
                <a:gd name="T1" fmla="*/ 2147483647 h 213"/>
                <a:gd name="T2" fmla="*/ 2147483647 w 184"/>
                <a:gd name="T3" fmla="*/ 2147483647 h 213"/>
                <a:gd name="T4" fmla="*/ 2147483647 w 184"/>
                <a:gd name="T5" fmla="*/ 2147483647 h 213"/>
                <a:gd name="T6" fmla="*/ 2147483647 w 184"/>
                <a:gd name="T7" fmla="*/ 2147483647 h 213"/>
                <a:gd name="T8" fmla="*/ 2147483647 w 184"/>
                <a:gd name="T9" fmla="*/ 2147483647 h 213"/>
                <a:gd name="T10" fmla="*/ 2147483647 w 184"/>
                <a:gd name="T11" fmla="*/ 2147483647 h 213"/>
                <a:gd name="T12" fmla="*/ 2147483647 w 184"/>
                <a:gd name="T13" fmla="*/ 2147483647 h 213"/>
                <a:gd name="T14" fmla="*/ 2147483647 w 184"/>
                <a:gd name="T15" fmla="*/ 2147483647 h 213"/>
                <a:gd name="T16" fmla="*/ 2147483647 w 184"/>
                <a:gd name="T17" fmla="*/ 2147483647 h 213"/>
                <a:gd name="T18" fmla="*/ 2147483647 w 184"/>
                <a:gd name="T19" fmla="*/ 2147483647 h 213"/>
                <a:gd name="T20" fmla="*/ 2147483647 w 184"/>
                <a:gd name="T21" fmla="*/ 2147483647 h 213"/>
                <a:gd name="T22" fmla="*/ 2147483647 w 184"/>
                <a:gd name="T23" fmla="*/ 2147483647 h 213"/>
                <a:gd name="T24" fmla="*/ 2147483647 w 184"/>
                <a:gd name="T25" fmla="*/ 2147483647 h 213"/>
                <a:gd name="T26" fmla="*/ 2147483647 w 184"/>
                <a:gd name="T27" fmla="*/ 2147483647 h 213"/>
                <a:gd name="T28" fmla="*/ 2147483647 w 184"/>
                <a:gd name="T29" fmla="*/ 2147483647 h 213"/>
                <a:gd name="T30" fmla="*/ 2147483647 w 184"/>
                <a:gd name="T31" fmla="*/ 2147483647 h 213"/>
                <a:gd name="T32" fmla="*/ 2147483647 w 184"/>
                <a:gd name="T33" fmla="*/ 2147483647 h 213"/>
                <a:gd name="T34" fmla="*/ 2147483647 w 184"/>
                <a:gd name="T35" fmla="*/ 2147483647 h 213"/>
                <a:gd name="T36" fmla="*/ 2147483647 w 184"/>
                <a:gd name="T37" fmla="*/ 2147483647 h 213"/>
                <a:gd name="T38" fmla="*/ 2147483647 w 184"/>
                <a:gd name="T39" fmla="*/ 2147483647 h 213"/>
                <a:gd name="T40" fmla="*/ 2147483647 w 184"/>
                <a:gd name="T41" fmla="*/ 2147483647 h 213"/>
                <a:gd name="T42" fmla="*/ 2147483647 w 184"/>
                <a:gd name="T43" fmla="*/ 2147483647 h 213"/>
                <a:gd name="T44" fmla="*/ 2147483647 w 184"/>
                <a:gd name="T45" fmla="*/ 2147483647 h 213"/>
                <a:gd name="T46" fmla="*/ 2147483647 w 184"/>
                <a:gd name="T47" fmla="*/ 2147483647 h 213"/>
                <a:gd name="T48" fmla="*/ 2147483647 w 184"/>
                <a:gd name="T49" fmla="*/ 2147483647 h 213"/>
                <a:gd name="T50" fmla="*/ 2147483647 w 184"/>
                <a:gd name="T51" fmla="*/ 2147483647 h 213"/>
                <a:gd name="T52" fmla="*/ 2147483647 w 184"/>
                <a:gd name="T53" fmla="*/ 2147483647 h 213"/>
                <a:gd name="T54" fmla="*/ 2147483647 w 184"/>
                <a:gd name="T55" fmla="*/ 2147483647 h 213"/>
                <a:gd name="T56" fmla="*/ 2147483647 w 184"/>
                <a:gd name="T57" fmla="*/ 2147483647 h 213"/>
                <a:gd name="T58" fmla="*/ 2147483647 w 184"/>
                <a:gd name="T59" fmla="*/ 2147483647 h 213"/>
                <a:gd name="T60" fmla="*/ 2147483647 w 184"/>
                <a:gd name="T61" fmla="*/ 2147483647 h 213"/>
                <a:gd name="T62" fmla="*/ 2147483647 w 184"/>
                <a:gd name="T63" fmla="*/ 2147483647 h 213"/>
                <a:gd name="T64" fmla="*/ 0 w 184"/>
                <a:gd name="T65" fmla="*/ 2147483647 h 213"/>
                <a:gd name="T66" fmla="*/ 2147483647 w 184"/>
                <a:gd name="T67" fmla="*/ 2147483647 h 213"/>
                <a:gd name="T68" fmla="*/ 2147483647 w 184"/>
                <a:gd name="T69" fmla="*/ 2147483647 h 213"/>
                <a:gd name="T70" fmla="*/ 2147483647 w 184"/>
                <a:gd name="T71" fmla="*/ 2147483647 h 213"/>
                <a:gd name="T72" fmla="*/ 2147483647 w 184"/>
                <a:gd name="T73" fmla="*/ 2147483647 h 213"/>
                <a:gd name="T74" fmla="*/ 2147483647 w 184"/>
                <a:gd name="T75" fmla="*/ 2147483647 h 213"/>
                <a:gd name="T76" fmla="*/ 2147483647 w 184"/>
                <a:gd name="T77" fmla="*/ 2147483647 h 213"/>
                <a:gd name="T78" fmla="*/ 2147483647 w 184"/>
                <a:gd name="T79" fmla="*/ 0 h 213"/>
                <a:gd name="T80" fmla="*/ 2147483647 w 184"/>
                <a:gd name="T81" fmla="*/ 2147483647 h 213"/>
                <a:gd name="T82" fmla="*/ 2147483647 w 184"/>
                <a:gd name="T83" fmla="*/ 2147483647 h 213"/>
                <a:gd name="T84" fmla="*/ 2147483647 w 184"/>
                <a:gd name="T85" fmla="*/ 2147483647 h 213"/>
                <a:gd name="T86" fmla="*/ 2147483647 w 184"/>
                <a:gd name="T87" fmla="*/ 2147483647 h 213"/>
                <a:gd name="T88" fmla="*/ 2147483647 w 184"/>
                <a:gd name="T89" fmla="*/ 2147483647 h 213"/>
                <a:gd name="T90" fmla="*/ 2147483647 w 184"/>
                <a:gd name="T91" fmla="*/ 2147483647 h 213"/>
                <a:gd name="T92" fmla="*/ 2147483647 w 184"/>
                <a:gd name="T93" fmla="*/ 2147483647 h 213"/>
                <a:gd name="T94" fmla="*/ 2147483647 w 184"/>
                <a:gd name="T95" fmla="*/ 2147483647 h 213"/>
                <a:gd name="T96" fmla="*/ 2147483647 w 184"/>
                <a:gd name="T97" fmla="*/ 2147483647 h 213"/>
                <a:gd name="T98" fmla="*/ 2147483647 w 184"/>
                <a:gd name="T99" fmla="*/ 2147483647 h 213"/>
                <a:gd name="T100" fmla="*/ 2147483647 w 184"/>
                <a:gd name="T101" fmla="*/ 2147483647 h 213"/>
                <a:gd name="T102" fmla="*/ 2147483647 w 184"/>
                <a:gd name="T103" fmla="*/ 2147483647 h 213"/>
                <a:gd name="T104" fmla="*/ 2147483647 w 184"/>
                <a:gd name="T105" fmla="*/ 2147483647 h 213"/>
                <a:gd name="T106" fmla="*/ 2147483647 w 184"/>
                <a:gd name="T107" fmla="*/ 2147483647 h 213"/>
                <a:gd name="T108" fmla="*/ 2147483647 w 184"/>
                <a:gd name="T109" fmla="*/ 2147483647 h 21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84"/>
                <a:gd name="T166" fmla="*/ 0 h 213"/>
                <a:gd name="T167" fmla="*/ 184 w 184"/>
                <a:gd name="T168" fmla="*/ 213 h 21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84" h="213">
                  <a:moveTo>
                    <a:pt x="148" y="75"/>
                  </a:moveTo>
                  <a:lnTo>
                    <a:pt x="160" y="80"/>
                  </a:lnTo>
                  <a:lnTo>
                    <a:pt x="171" y="88"/>
                  </a:lnTo>
                  <a:lnTo>
                    <a:pt x="173" y="90"/>
                  </a:lnTo>
                  <a:lnTo>
                    <a:pt x="175" y="92"/>
                  </a:lnTo>
                  <a:lnTo>
                    <a:pt x="177" y="100"/>
                  </a:lnTo>
                  <a:lnTo>
                    <a:pt x="181" y="107"/>
                  </a:lnTo>
                  <a:lnTo>
                    <a:pt x="183" y="109"/>
                  </a:lnTo>
                  <a:lnTo>
                    <a:pt x="184" y="111"/>
                  </a:lnTo>
                  <a:lnTo>
                    <a:pt x="184" y="128"/>
                  </a:lnTo>
                  <a:lnTo>
                    <a:pt x="184" y="146"/>
                  </a:lnTo>
                  <a:lnTo>
                    <a:pt x="184" y="163"/>
                  </a:lnTo>
                  <a:lnTo>
                    <a:pt x="184" y="180"/>
                  </a:lnTo>
                  <a:lnTo>
                    <a:pt x="183" y="182"/>
                  </a:lnTo>
                  <a:lnTo>
                    <a:pt x="181" y="184"/>
                  </a:lnTo>
                  <a:lnTo>
                    <a:pt x="177" y="188"/>
                  </a:lnTo>
                  <a:lnTo>
                    <a:pt x="175" y="190"/>
                  </a:lnTo>
                  <a:lnTo>
                    <a:pt x="173" y="192"/>
                  </a:lnTo>
                  <a:lnTo>
                    <a:pt x="171" y="194"/>
                  </a:lnTo>
                  <a:lnTo>
                    <a:pt x="167" y="196"/>
                  </a:lnTo>
                  <a:lnTo>
                    <a:pt x="165" y="199"/>
                  </a:lnTo>
                  <a:lnTo>
                    <a:pt x="163" y="201"/>
                  </a:lnTo>
                  <a:lnTo>
                    <a:pt x="161" y="203"/>
                  </a:lnTo>
                  <a:lnTo>
                    <a:pt x="158" y="205"/>
                  </a:lnTo>
                  <a:lnTo>
                    <a:pt x="156" y="209"/>
                  </a:lnTo>
                  <a:lnTo>
                    <a:pt x="154" y="211"/>
                  </a:lnTo>
                  <a:lnTo>
                    <a:pt x="152" y="213"/>
                  </a:lnTo>
                  <a:lnTo>
                    <a:pt x="148" y="211"/>
                  </a:lnTo>
                  <a:lnTo>
                    <a:pt x="146" y="209"/>
                  </a:lnTo>
                  <a:lnTo>
                    <a:pt x="144" y="205"/>
                  </a:lnTo>
                  <a:lnTo>
                    <a:pt x="140" y="203"/>
                  </a:lnTo>
                  <a:lnTo>
                    <a:pt x="138" y="201"/>
                  </a:lnTo>
                  <a:lnTo>
                    <a:pt x="137" y="199"/>
                  </a:lnTo>
                  <a:lnTo>
                    <a:pt x="119" y="196"/>
                  </a:lnTo>
                  <a:lnTo>
                    <a:pt x="102" y="194"/>
                  </a:lnTo>
                  <a:lnTo>
                    <a:pt x="100" y="192"/>
                  </a:lnTo>
                  <a:lnTo>
                    <a:pt x="98" y="190"/>
                  </a:lnTo>
                  <a:lnTo>
                    <a:pt x="90" y="188"/>
                  </a:lnTo>
                  <a:lnTo>
                    <a:pt x="83" y="184"/>
                  </a:lnTo>
                  <a:lnTo>
                    <a:pt x="81" y="182"/>
                  </a:lnTo>
                  <a:lnTo>
                    <a:pt x="79" y="180"/>
                  </a:lnTo>
                  <a:lnTo>
                    <a:pt x="75" y="176"/>
                  </a:lnTo>
                  <a:lnTo>
                    <a:pt x="73" y="174"/>
                  </a:lnTo>
                  <a:lnTo>
                    <a:pt x="71" y="173"/>
                  </a:lnTo>
                  <a:lnTo>
                    <a:pt x="69" y="171"/>
                  </a:lnTo>
                  <a:lnTo>
                    <a:pt x="66" y="167"/>
                  </a:lnTo>
                  <a:lnTo>
                    <a:pt x="64" y="165"/>
                  </a:lnTo>
                  <a:lnTo>
                    <a:pt x="62" y="163"/>
                  </a:lnTo>
                  <a:lnTo>
                    <a:pt x="60" y="161"/>
                  </a:lnTo>
                  <a:lnTo>
                    <a:pt x="56" y="157"/>
                  </a:lnTo>
                  <a:lnTo>
                    <a:pt x="54" y="155"/>
                  </a:lnTo>
                  <a:lnTo>
                    <a:pt x="52" y="153"/>
                  </a:lnTo>
                  <a:lnTo>
                    <a:pt x="50" y="149"/>
                  </a:lnTo>
                  <a:lnTo>
                    <a:pt x="42" y="148"/>
                  </a:lnTo>
                  <a:lnTo>
                    <a:pt x="35" y="146"/>
                  </a:lnTo>
                  <a:lnTo>
                    <a:pt x="33" y="144"/>
                  </a:lnTo>
                  <a:lnTo>
                    <a:pt x="29" y="142"/>
                  </a:lnTo>
                  <a:lnTo>
                    <a:pt x="23" y="138"/>
                  </a:lnTo>
                  <a:lnTo>
                    <a:pt x="16" y="136"/>
                  </a:lnTo>
                  <a:lnTo>
                    <a:pt x="14" y="134"/>
                  </a:lnTo>
                  <a:lnTo>
                    <a:pt x="12" y="132"/>
                  </a:lnTo>
                  <a:lnTo>
                    <a:pt x="8" y="128"/>
                  </a:lnTo>
                  <a:lnTo>
                    <a:pt x="6" y="126"/>
                  </a:lnTo>
                  <a:lnTo>
                    <a:pt x="4" y="125"/>
                  </a:lnTo>
                  <a:lnTo>
                    <a:pt x="0" y="121"/>
                  </a:lnTo>
                  <a:lnTo>
                    <a:pt x="0" y="117"/>
                  </a:lnTo>
                  <a:lnTo>
                    <a:pt x="0" y="111"/>
                  </a:lnTo>
                  <a:lnTo>
                    <a:pt x="4" y="109"/>
                  </a:lnTo>
                  <a:lnTo>
                    <a:pt x="6" y="107"/>
                  </a:lnTo>
                  <a:lnTo>
                    <a:pt x="8" y="96"/>
                  </a:lnTo>
                  <a:lnTo>
                    <a:pt x="12" y="82"/>
                  </a:lnTo>
                  <a:lnTo>
                    <a:pt x="14" y="80"/>
                  </a:lnTo>
                  <a:lnTo>
                    <a:pt x="16" y="79"/>
                  </a:lnTo>
                  <a:lnTo>
                    <a:pt x="16" y="59"/>
                  </a:lnTo>
                  <a:lnTo>
                    <a:pt x="18" y="42"/>
                  </a:lnTo>
                  <a:lnTo>
                    <a:pt x="19" y="23"/>
                  </a:lnTo>
                  <a:lnTo>
                    <a:pt x="19" y="6"/>
                  </a:lnTo>
                  <a:lnTo>
                    <a:pt x="23" y="4"/>
                  </a:lnTo>
                  <a:lnTo>
                    <a:pt x="25" y="0"/>
                  </a:lnTo>
                  <a:lnTo>
                    <a:pt x="31" y="0"/>
                  </a:lnTo>
                  <a:lnTo>
                    <a:pt x="35" y="0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1" y="13"/>
                  </a:lnTo>
                  <a:lnTo>
                    <a:pt x="41" y="21"/>
                  </a:lnTo>
                  <a:lnTo>
                    <a:pt x="46" y="21"/>
                  </a:lnTo>
                  <a:lnTo>
                    <a:pt x="54" y="21"/>
                  </a:lnTo>
                  <a:lnTo>
                    <a:pt x="56" y="23"/>
                  </a:lnTo>
                  <a:lnTo>
                    <a:pt x="60" y="25"/>
                  </a:lnTo>
                  <a:lnTo>
                    <a:pt x="62" y="29"/>
                  </a:lnTo>
                  <a:lnTo>
                    <a:pt x="69" y="29"/>
                  </a:lnTo>
                  <a:lnTo>
                    <a:pt x="75" y="29"/>
                  </a:lnTo>
                  <a:lnTo>
                    <a:pt x="79" y="25"/>
                  </a:lnTo>
                  <a:lnTo>
                    <a:pt x="81" y="23"/>
                  </a:lnTo>
                  <a:lnTo>
                    <a:pt x="83" y="21"/>
                  </a:lnTo>
                  <a:lnTo>
                    <a:pt x="89" y="21"/>
                  </a:lnTo>
                  <a:lnTo>
                    <a:pt x="92" y="21"/>
                  </a:lnTo>
                  <a:lnTo>
                    <a:pt x="96" y="23"/>
                  </a:lnTo>
                  <a:lnTo>
                    <a:pt x="98" y="25"/>
                  </a:lnTo>
                  <a:lnTo>
                    <a:pt x="100" y="46"/>
                  </a:lnTo>
                  <a:lnTo>
                    <a:pt x="102" y="69"/>
                  </a:lnTo>
                  <a:lnTo>
                    <a:pt x="104" y="71"/>
                  </a:lnTo>
                  <a:lnTo>
                    <a:pt x="108" y="73"/>
                  </a:lnTo>
                  <a:lnTo>
                    <a:pt x="110" y="75"/>
                  </a:lnTo>
                  <a:lnTo>
                    <a:pt x="112" y="79"/>
                  </a:lnTo>
                  <a:lnTo>
                    <a:pt x="113" y="80"/>
                  </a:lnTo>
                  <a:lnTo>
                    <a:pt x="117" y="82"/>
                  </a:lnTo>
                  <a:lnTo>
                    <a:pt x="121" y="82"/>
                  </a:lnTo>
                  <a:lnTo>
                    <a:pt x="127" y="82"/>
                  </a:lnTo>
                  <a:lnTo>
                    <a:pt x="137" y="79"/>
                  </a:lnTo>
                  <a:lnTo>
                    <a:pt x="148" y="75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1" name="Freeform 321">
              <a:extLst>
                <a:ext uri="{FF2B5EF4-FFF2-40B4-BE49-F238E27FC236}">
                  <a16:creationId xmlns:a16="http://schemas.microsoft.com/office/drawing/2014/main" xmlns="" id="{3F051D7D-D5E3-8448-94DB-B5E116118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8300" y="4205103"/>
              <a:ext cx="314325" cy="203200"/>
            </a:xfrm>
            <a:custGeom>
              <a:avLst/>
              <a:gdLst>
                <a:gd name="T0" fmla="*/ 2147483647 w 203"/>
                <a:gd name="T1" fmla="*/ 2147483647 h 136"/>
                <a:gd name="T2" fmla="*/ 2147483647 w 203"/>
                <a:gd name="T3" fmla="*/ 2147483647 h 136"/>
                <a:gd name="T4" fmla="*/ 2147483647 w 203"/>
                <a:gd name="T5" fmla="*/ 2147483647 h 136"/>
                <a:gd name="T6" fmla="*/ 2147483647 w 203"/>
                <a:gd name="T7" fmla="*/ 2147483647 h 136"/>
                <a:gd name="T8" fmla="*/ 2147483647 w 203"/>
                <a:gd name="T9" fmla="*/ 2147483647 h 136"/>
                <a:gd name="T10" fmla="*/ 2147483647 w 203"/>
                <a:gd name="T11" fmla="*/ 2147483647 h 136"/>
                <a:gd name="T12" fmla="*/ 2147483647 w 203"/>
                <a:gd name="T13" fmla="*/ 2147483647 h 136"/>
                <a:gd name="T14" fmla="*/ 2147483647 w 203"/>
                <a:gd name="T15" fmla="*/ 2147483647 h 136"/>
                <a:gd name="T16" fmla="*/ 2147483647 w 203"/>
                <a:gd name="T17" fmla="*/ 2147483647 h 136"/>
                <a:gd name="T18" fmla="*/ 2147483647 w 203"/>
                <a:gd name="T19" fmla="*/ 2147483647 h 136"/>
                <a:gd name="T20" fmla="*/ 2147483647 w 203"/>
                <a:gd name="T21" fmla="*/ 2147483647 h 136"/>
                <a:gd name="T22" fmla="*/ 2147483647 w 203"/>
                <a:gd name="T23" fmla="*/ 2147483647 h 136"/>
                <a:gd name="T24" fmla="*/ 2147483647 w 203"/>
                <a:gd name="T25" fmla="*/ 2147483647 h 136"/>
                <a:gd name="T26" fmla="*/ 2147483647 w 203"/>
                <a:gd name="T27" fmla="*/ 2147483647 h 136"/>
                <a:gd name="T28" fmla="*/ 2147483647 w 203"/>
                <a:gd name="T29" fmla="*/ 2147483647 h 136"/>
                <a:gd name="T30" fmla="*/ 2147483647 w 203"/>
                <a:gd name="T31" fmla="*/ 2147483647 h 136"/>
                <a:gd name="T32" fmla="*/ 2147483647 w 203"/>
                <a:gd name="T33" fmla="*/ 2147483647 h 136"/>
                <a:gd name="T34" fmla="*/ 2147483647 w 203"/>
                <a:gd name="T35" fmla="*/ 2147483647 h 136"/>
                <a:gd name="T36" fmla="*/ 2147483647 w 203"/>
                <a:gd name="T37" fmla="*/ 2147483647 h 136"/>
                <a:gd name="T38" fmla="*/ 2147483647 w 203"/>
                <a:gd name="T39" fmla="*/ 2147483647 h 136"/>
                <a:gd name="T40" fmla="*/ 2147483647 w 203"/>
                <a:gd name="T41" fmla="*/ 2147483647 h 136"/>
                <a:gd name="T42" fmla="*/ 2147483647 w 203"/>
                <a:gd name="T43" fmla="*/ 2147483647 h 136"/>
                <a:gd name="T44" fmla="*/ 2147483647 w 203"/>
                <a:gd name="T45" fmla="*/ 0 h 136"/>
                <a:gd name="T46" fmla="*/ 2147483647 w 203"/>
                <a:gd name="T47" fmla="*/ 2147483647 h 136"/>
                <a:gd name="T48" fmla="*/ 2147483647 w 203"/>
                <a:gd name="T49" fmla="*/ 2147483647 h 136"/>
                <a:gd name="T50" fmla="*/ 2147483647 w 203"/>
                <a:gd name="T51" fmla="*/ 2147483647 h 136"/>
                <a:gd name="T52" fmla="*/ 2147483647 w 203"/>
                <a:gd name="T53" fmla="*/ 2147483647 h 136"/>
                <a:gd name="T54" fmla="*/ 2147483647 w 203"/>
                <a:gd name="T55" fmla="*/ 2147483647 h 136"/>
                <a:gd name="T56" fmla="*/ 2147483647 w 203"/>
                <a:gd name="T57" fmla="*/ 2147483647 h 136"/>
                <a:gd name="T58" fmla="*/ 2147483647 w 203"/>
                <a:gd name="T59" fmla="*/ 2147483647 h 136"/>
                <a:gd name="T60" fmla="*/ 2147483647 w 203"/>
                <a:gd name="T61" fmla="*/ 2147483647 h 136"/>
                <a:gd name="T62" fmla="*/ 2147483647 w 203"/>
                <a:gd name="T63" fmla="*/ 2147483647 h 136"/>
                <a:gd name="T64" fmla="*/ 2147483647 w 203"/>
                <a:gd name="T65" fmla="*/ 2147483647 h 136"/>
                <a:gd name="T66" fmla="*/ 2147483647 w 203"/>
                <a:gd name="T67" fmla="*/ 2147483647 h 136"/>
                <a:gd name="T68" fmla="*/ 2147483647 w 203"/>
                <a:gd name="T69" fmla="*/ 2147483647 h 136"/>
                <a:gd name="T70" fmla="*/ 2147483647 w 203"/>
                <a:gd name="T71" fmla="*/ 2147483647 h 136"/>
                <a:gd name="T72" fmla="*/ 2147483647 w 203"/>
                <a:gd name="T73" fmla="*/ 2147483647 h 136"/>
                <a:gd name="T74" fmla="*/ 2147483647 w 203"/>
                <a:gd name="T75" fmla="*/ 2147483647 h 136"/>
                <a:gd name="T76" fmla="*/ 2147483647 w 203"/>
                <a:gd name="T77" fmla="*/ 2147483647 h 136"/>
                <a:gd name="T78" fmla="*/ 2147483647 w 203"/>
                <a:gd name="T79" fmla="*/ 2147483647 h 136"/>
                <a:gd name="T80" fmla="*/ 2147483647 w 203"/>
                <a:gd name="T81" fmla="*/ 2147483647 h 136"/>
                <a:gd name="T82" fmla="*/ 2147483647 w 203"/>
                <a:gd name="T83" fmla="*/ 2147483647 h 136"/>
                <a:gd name="T84" fmla="*/ 2147483647 w 203"/>
                <a:gd name="T85" fmla="*/ 2147483647 h 136"/>
                <a:gd name="T86" fmla="*/ 2147483647 w 203"/>
                <a:gd name="T87" fmla="*/ 2147483647 h 136"/>
                <a:gd name="T88" fmla="*/ 2147483647 w 203"/>
                <a:gd name="T89" fmla="*/ 2147483647 h 136"/>
                <a:gd name="T90" fmla="*/ 2147483647 w 203"/>
                <a:gd name="T91" fmla="*/ 2147483647 h 136"/>
                <a:gd name="T92" fmla="*/ 2147483647 w 203"/>
                <a:gd name="T93" fmla="*/ 2147483647 h 136"/>
                <a:gd name="T94" fmla="*/ 2147483647 w 203"/>
                <a:gd name="T95" fmla="*/ 2147483647 h 136"/>
                <a:gd name="T96" fmla="*/ 2147483647 w 203"/>
                <a:gd name="T97" fmla="*/ 2147483647 h 136"/>
                <a:gd name="T98" fmla="*/ 2147483647 w 203"/>
                <a:gd name="T99" fmla="*/ 2147483647 h 136"/>
                <a:gd name="T100" fmla="*/ 2147483647 w 203"/>
                <a:gd name="T101" fmla="*/ 2147483647 h 136"/>
                <a:gd name="T102" fmla="*/ 2147483647 w 203"/>
                <a:gd name="T103" fmla="*/ 2147483647 h 1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03"/>
                <a:gd name="T157" fmla="*/ 0 h 136"/>
                <a:gd name="T158" fmla="*/ 203 w 203"/>
                <a:gd name="T159" fmla="*/ 136 h 1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03" h="136">
                  <a:moveTo>
                    <a:pt x="99" y="121"/>
                  </a:moveTo>
                  <a:lnTo>
                    <a:pt x="92" y="121"/>
                  </a:lnTo>
                  <a:lnTo>
                    <a:pt x="86" y="121"/>
                  </a:lnTo>
                  <a:lnTo>
                    <a:pt x="84" y="123"/>
                  </a:lnTo>
                  <a:lnTo>
                    <a:pt x="82" y="127"/>
                  </a:lnTo>
                  <a:lnTo>
                    <a:pt x="78" y="123"/>
                  </a:lnTo>
                  <a:lnTo>
                    <a:pt x="76" y="121"/>
                  </a:lnTo>
                  <a:lnTo>
                    <a:pt x="72" y="119"/>
                  </a:lnTo>
                  <a:lnTo>
                    <a:pt x="71" y="117"/>
                  </a:lnTo>
                  <a:lnTo>
                    <a:pt x="69" y="113"/>
                  </a:lnTo>
                  <a:lnTo>
                    <a:pt x="67" y="111"/>
                  </a:lnTo>
                  <a:lnTo>
                    <a:pt x="63" y="90"/>
                  </a:lnTo>
                  <a:lnTo>
                    <a:pt x="61" y="69"/>
                  </a:lnTo>
                  <a:lnTo>
                    <a:pt x="59" y="65"/>
                  </a:lnTo>
                  <a:lnTo>
                    <a:pt x="57" y="63"/>
                  </a:lnTo>
                  <a:lnTo>
                    <a:pt x="48" y="63"/>
                  </a:lnTo>
                  <a:lnTo>
                    <a:pt x="38" y="63"/>
                  </a:lnTo>
                  <a:lnTo>
                    <a:pt x="34" y="65"/>
                  </a:lnTo>
                  <a:lnTo>
                    <a:pt x="32" y="69"/>
                  </a:lnTo>
                  <a:lnTo>
                    <a:pt x="28" y="69"/>
                  </a:lnTo>
                  <a:lnTo>
                    <a:pt x="23" y="69"/>
                  </a:lnTo>
                  <a:lnTo>
                    <a:pt x="21" y="65"/>
                  </a:lnTo>
                  <a:lnTo>
                    <a:pt x="19" y="63"/>
                  </a:lnTo>
                  <a:lnTo>
                    <a:pt x="11" y="56"/>
                  </a:lnTo>
                  <a:lnTo>
                    <a:pt x="3" y="48"/>
                  </a:lnTo>
                  <a:lnTo>
                    <a:pt x="1" y="46"/>
                  </a:lnTo>
                  <a:lnTo>
                    <a:pt x="0" y="44"/>
                  </a:lnTo>
                  <a:lnTo>
                    <a:pt x="1" y="42"/>
                  </a:lnTo>
                  <a:lnTo>
                    <a:pt x="3" y="38"/>
                  </a:lnTo>
                  <a:lnTo>
                    <a:pt x="11" y="36"/>
                  </a:lnTo>
                  <a:lnTo>
                    <a:pt x="19" y="34"/>
                  </a:lnTo>
                  <a:lnTo>
                    <a:pt x="21" y="32"/>
                  </a:lnTo>
                  <a:lnTo>
                    <a:pt x="23" y="31"/>
                  </a:lnTo>
                  <a:lnTo>
                    <a:pt x="25" y="27"/>
                  </a:lnTo>
                  <a:lnTo>
                    <a:pt x="28" y="25"/>
                  </a:lnTo>
                  <a:lnTo>
                    <a:pt x="30" y="21"/>
                  </a:lnTo>
                  <a:lnTo>
                    <a:pt x="32" y="19"/>
                  </a:lnTo>
                  <a:lnTo>
                    <a:pt x="34" y="17"/>
                  </a:lnTo>
                  <a:lnTo>
                    <a:pt x="38" y="15"/>
                  </a:lnTo>
                  <a:lnTo>
                    <a:pt x="40" y="11"/>
                  </a:lnTo>
                  <a:lnTo>
                    <a:pt x="42" y="9"/>
                  </a:lnTo>
                  <a:lnTo>
                    <a:pt x="44" y="8"/>
                  </a:lnTo>
                  <a:lnTo>
                    <a:pt x="48" y="6"/>
                  </a:lnTo>
                  <a:lnTo>
                    <a:pt x="49" y="4"/>
                  </a:lnTo>
                  <a:lnTo>
                    <a:pt x="51" y="0"/>
                  </a:lnTo>
                  <a:lnTo>
                    <a:pt x="57" y="0"/>
                  </a:lnTo>
                  <a:lnTo>
                    <a:pt x="61" y="0"/>
                  </a:lnTo>
                  <a:lnTo>
                    <a:pt x="63" y="4"/>
                  </a:lnTo>
                  <a:lnTo>
                    <a:pt x="67" y="6"/>
                  </a:lnTo>
                  <a:lnTo>
                    <a:pt x="78" y="8"/>
                  </a:lnTo>
                  <a:lnTo>
                    <a:pt x="90" y="9"/>
                  </a:lnTo>
                  <a:lnTo>
                    <a:pt x="94" y="11"/>
                  </a:lnTo>
                  <a:lnTo>
                    <a:pt x="96" y="15"/>
                  </a:lnTo>
                  <a:lnTo>
                    <a:pt x="97" y="27"/>
                  </a:lnTo>
                  <a:lnTo>
                    <a:pt x="99" y="38"/>
                  </a:lnTo>
                  <a:lnTo>
                    <a:pt x="103" y="42"/>
                  </a:lnTo>
                  <a:lnTo>
                    <a:pt x="105" y="44"/>
                  </a:lnTo>
                  <a:lnTo>
                    <a:pt x="105" y="52"/>
                  </a:lnTo>
                  <a:lnTo>
                    <a:pt x="105" y="59"/>
                  </a:lnTo>
                  <a:lnTo>
                    <a:pt x="115" y="59"/>
                  </a:lnTo>
                  <a:lnTo>
                    <a:pt x="124" y="59"/>
                  </a:lnTo>
                  <a:lnTo>
                    <a:pt x="124" y="73"/>
                  </a:lnTo>
                  <a:lnTo>
                    <a:pt x="124" y="88"/>
                  </a:lnTo>
                  <a:lnTo>
                    <a:pt x="128" y="88"/>
                  </a:lnTo>
                  <a:lnTo>
                    <a:pt x="134" y="88"/>
                  </a:lnTo>
                  <a:lnTo>
                    <a:pt x="140" y="82"/>
                  </a:lnTo>
                  <a:lnTo>
                    <a:pt x="143" y="79"/>
                  </a:lnTo>
                  <a:lnTo>
                    <a:pt x="159" y="75"/>
                  </a:lnTo>
                  <a:lnTo>
                    <a:pt x="172" y="73"/>
                  </a:lnTo>
                  <a:lnTo>
                    <a:pt x="176" y="71"/>
                  </a:lnTo>
                  <a:lnTo>
                    <a:pt x="178" y="69"/>
                  </a:lnTo>
                  <a:lnTo>
                    <a:pt x="182" y="69"/>
                  </a:lnTo>
                  <a:lnTo>
                    <a:pt x="188" y="69"/>
                  </a:lnTo>
                  <a:lnTo>
                    <a:pt x="190" y="71"/>
                  </a:lnTo>
                  <a:lnTo>
                    <a:pt x="191" y="73"/>
                  </a:lnTo>
                  <a:lnTo>
                    <a:pt x="195" y="75"/>
                  </a:lnTo>
                  <a:lnTo>
                    <a:pt x="197" y="79"/>
                  </a:lnTo>
                  <a:lnTo>
                    <a:pt x="199" y="80"/>
                  </a:lnTo>
                  <a:lnTo>
                    <a:pt x="203" y="82"/>
                  </a:lnTo>
                  <a:lnTo>
                    <a:pt x="203" y="92"/>
                  </a:lnTo>
                  <a:lnTo>
                    <a:pt x="203" y="102"/>
                  </a:lnTo>
                  <a:lnTo>
                    <a:pt x="199" y="103"/>
                  </a:lnTo>
                  <a:lnTo>
                    <a:pt x="197" y="107"/>
                  </a:lnTo>
                  <a:lnTo>
                    <a:pt x="195" y="119"/>
                  </a:lnTo>
                  <a:lnTo>
                    <a:pt x="191" y="130"/>
                  </a:lnTo>
                  <a:lnTo>
                    <a:pt x="190" y="132"/>
                  </a:lnTo>
                  <a:lnTo>
                    <a:pt x="188" y="136"/>
                  </a:lnTo>
                  <a:lnTo>
                    <a:pt x="172" y="136"/>
                  </a:lnTo>
                  <a:lnTo>
                    <a:pt x="159" y="136"/>
                  </a:lnTo>
                  <a:lnTo>
                    <a:pt x="155" y="132"/>
                  </a:lnTo>
                  <a:lnTo>
                    <a:pt x="153" y="130"/>
                  </a:lnTo>
                  <a:lnTo>
                    <a:pt x="149" y="130"/>
                  </a:lnTo>
                  <a:lnTo>
                    <a:pt x="143" y="130"/>
                  </a:lnTo>
                  <a:lnTo>
                    <a:pt x="142" y="132"/>
                  </a:lnTo>
                  <a:lnTo>
                    <a:pt x="140" y="136"/>
                  </a:lnTo>
                  <a:lnTo>
                    <a:pt x="136" y="132"/>
                  </a:lnTo>
                  <a:lnTo>
                    <a:pt x="134" y="130"/>
                  </a:lnTo>
                  <a:lnTo>
                    <a:pt x="134" y="123"/>
                  </a:lnTo>
                  <a:lnTo>
                    <a:pt x="134" y="117"/>
                  </a:lnTo>
                  <a:lnTo>
                    <a:pt x="117" y="117"/>
                  </a:lnTo>
                  <a:lnTo>
                    <a:pt x="105" y="115"/>
                  </a:lnTo>
                  <a:lnTo>
                    <a:pt x="103" y="115"/>
                  </a:lnTo>
                  <a:lnTo>
                    <a:pt x="99" y="117"/>
                  </a:lnTo>
                  <a:lnTo>
                    <a:pt x="99" y="119"/>
                  </a:lnTo>
                  <a:lnTo>
                    <a:pt x="99" y="121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2" name="Freeform 322">
              <a:extLst>
                <a:ext uri="{FF2B5EF4-FFF2-40B4-BE49-F238E27FC236}">
                  <a16:creationId xmlns:a16="http://schemas.microsoft.com/office/drawing/2014/main" xmlns="" id="{905D34EF-8D07-1E47-B2F4-128D228DA3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2625" y="4233678"/>
              <a:ext cx="192088" cy="174625"/>
            </a:xfrm>
            <a:custGeom>
              <a:avLst/>
              <a:gdLst>
                <a:gd name="T0" fmla="*/ 2147483647 w 125"/>
                <a:gd name="T1" fmla="*/ 2147483647 h 117"/>
                <a:gd name="T2" fmla="*/ 2147483647 w 125"/>
                <a:gd name="T3" fmla="*/ 2147483647 h 117"/>
                <a:gd name="T4" fmla="*/ 2147483647 w 125"/>
                <a:gd name="T5" fmla="*/ 2147483647 h 117"/>
                <a:gd name="T6" fmla="*/ 0 w 125"/>
                <a:gd name="T7" fmla="*/ 2147483647 h 117"/>
                <a:gd name="T8" fmla="*/ 2147483647 w 125"/>
                <a:gd name="T9" fmla="*/ 2147483647 h 117"/>
                <a:gd name="T10" fmla="*/ 2147483647 w 125"/>
                <a:gd name="T11" fmla="*/ 2147483647 h 117"/>
                <a:gd name="T12" fmla="*/ 2147483647 w 125"/>
                <a:gd name="T13" fmla="*/ 2147483647 h 117"/>
                <a:gd name="T14" fmla="*/ 2147483647 w 125"/>
                <a:gd name="T15" fmla="*/ 2147483647 h 117"/>
                <a:gd name="T16" fmla="*/ 2147483647 w 125"/>
                <a:gd name="T17" fmla="*/ 2147483647 h 117"/>
                <a:gd name="T18" fmla="*/ 2147483647 w 125"/>
                <a:gd name="T19" fmla="*/ 2147483647 h 117"/>
                <a:gd name="T20" fmla="*/ 2147483647 w 125"/>
                <a:gd name="T21" fmla="*/ 2147483647 h 117"/>
                <a:gd name="T22" fmla="*/ 2147483647 w 125"/>
                <a:gd name="T23" fmla="*/ 2147483647 h 117"/>
                <a:gd name="T24" fmla="*/ 2147483647 w 125"/>
                <a:gd name="T25" fmla="*/ 2147483647 h 117"/>
                <a:gd name="T26" fmla="*/ 2147483647 w 125"/>
                <a:gd name="T27" fmla="*/ 0 h 117"/>
                <a:gd name="T28" fmla="*/ 2147483647 w 125"/>
                <a:gd name="T29" fmla="*/ 2147483647 h 117"/>
                <a:gd name="T30" fmla="*/ 2147483647 w 125"/>
                <a:gd name="T31" fmla="*/ 2147483647 h 117"/>
                <a:gd name="T32" fmla="*/ 2147483647 w 125"/>
                <a:gd name="T33" fmla="*/ 2147483647 h 117"/>
                <a:gd name="T34" fmla="*/ 2147483647 w 125"/>
                <a:gd name="T35" fmla="*/ 2147483647 h 117"/>
                <a:gd name="T36" fmla="*/ 2147483647 w 125"/>
                <a:gd name="T37" fmla="*/ 2147483647 h 117"/>
                <a:gd name="T38" fmla="*/ 2147483647 w 125"/>
                <a:gd name="T39" fmla="*/ 2147483647 h 117"/>
                <a:gd name="T40" fmla="*/ 2147483647 w 125"/>
                <a:gd name="T41" fmla="*/ 2147483647 h 117"/>
                <a:gd name="T42" fmla="*/ 2147483647 w 125"/>
                <a:gd name="T43" fmla="*/ 2147483647 h 117"/>
                <a:gd name="T44" fmla="*/ 2147483647 w 125"/>
                <a:gd name="T45" fmla="*/ 2147483647 h 117"/>
                <a:gd name="T46" fmla="*/ 2147483647 w 125"/>
                <a:gd name="T47" fmla="*/ 2147483647 h 117"/>
                <a:gd name="T48" fmla="*/ 2147483647 w 125"/>
                <a:gd name="T49" fmla="*/ 2147483647 h 117"/>
                <a:gd name="T50" fmla="*/ 2147483647 w 125"/>
                <a:gd name="T51" fmla="*/ 2147483647 h 117"/>
                <a:gd name="T52" fmla="*/ 2147483647 w 125"/>
                <a:gd name="T53" fmla="*/ 2147483647 h 117"/>
                <a:gd name="T54" fmla="*/ 2147483647 w 125"/>
                <a:gd name="T55" fmla="*/ 2147483647 h 117"/>
                <a:gd name="T56" fmla="*/ 2147483647 w 125"/>
                <a:gd name="T57" fmla="*/ 2147483647 h 117"/>
                <a:gd name="T58" fmla="*/ 2147483647 w 125"/>
                <a:gd name="T59" fmla="*/ 2147483647 h 117"/>
                <a:gd name="T60" fmla="*/ 2147483647 w 125"/>
                <a:gd name="T61" fmla="*/ 2147483647 h 117"/>
                <a:gd name="T62" fmla="*/ 2147483647 w 125"/>
                <a:gd name="T63" fmla="*/ 2147483647 h 117"/>
                <a:gd name="T64" fmla="*/ 2147483647 w 125"/>
                <a:gd name="T65" fmla="*/ 2147483647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5"/>
                <a:gd name="T100" fmla="*/ 0 h 117"/>
                <a:gd name="T101" fmla="*/ 125 w 125"/>
                <a:gd name="T102" fmla="*/ 117 h 1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5" h="117">
                  <a:moveTo>
                    <a:pt x="23" y="117"/>
                  </a:moveTo>
                  <a:lnTo>
                    <a:pt x="21" y="113"/>
                  </a:lnTo>
                  <a:lnTo>
                    <a:pt x="17" y="111"/>
                  </a:lnTo>
                  <a:lnTo>
                    <a:pt x="17" y="109"/>
                  </a:lnTo>
                  <a:lnTo>
                    <a:pt x="15" y="108"/>
                  </a:lnTo>
                  <a:lnTo>
                    <a:pt x="10" y="108"/>
                  </a:lnTo>
                  <a:lnTo>
                    <a:pt x="0" y="108"/>
                  </a:lnTo>
                  <a:lnTo>
                    <a:pt x="0" y="100"/>
                  </a:lnTo>
                  <a:lnTo>
                    <a:pt x="0" y="92"/>
                  </a:lnTo>
                  <a:lnTo>
                    <a:pt x="2" y="90"/>
                  </a:lnTo>
                  <a:lnTo>
                    <a:pt x="4" y="88"/>
                  </a:lnTo>
                  <a:lnTo>
                    <a:pt x="6" y="75"/>
                  </a:lnTo>
                  <a:lnTo>
                    <a:pt x="8" y="63"/>
                  </a:lnTo>
                  <a:lnTo>
                    <a:pt x="11" y="61"/>
                  </a:lnTo>
                  <a:lnTo>
                    <a:pt x="13" y="60"/>
                  </a:lnTo>
                  <a:lnTo>
                    <a:pt x="15" y="52"/>
                  </a:lnTo>
                  <a:lnTo>
                    <a:pt x="17" y="44"/>
                  </a:lnTo>
                  <a:lnTo>
                    <a:pt x="21" y="42"/>
                  </a:lnTo>
                  <a:lnTo>
                    <a:pt x="23" y="40"/>
                  </a:lnTo>
                  <a:lnTo>
                    <a:pt x="25" y="37"/>
                  </a:lnTo>
                  <a:lnTo>
                    <a:pt x="29" y="35"/>
                  </a:lnTo>
                  <a:lnTo>
                    <a:pt x="31" y="33"/>
                  </a:lnTo>
                  <a:lnTo>
                    <a:pt x="33" y="29"/>
                  </a:lnTo>
                  <a:lnTo>
                    <a:pt x="40" y="17"/>
                  </a:lnTo>
                  <a:lnTo>
                    <a:pt x="48" y="6"/>
                  </a:lnTo>
                  <a:lnTo>
                    <a:pt x="50" y="2"/>
                  </a:lnTo>
                  <a:lnTo>
                    <a:pt x="52" y="0"/>
                  </a:lnTo>
                  <a:lnTo>
                    <a:pt x="63" y="0"/>
                  </a:lnTo>
                  <a:lnTo>
                    <a:pt x="77" y="0"/>
                  </a:lnTo>
                  <a:lnTo>
                    <a:pt x="90" y="6"/>
                  </a:lnTo>
                  <a:lnTo>
                    <a:pt x="105" y="12"/>
                  </a:lnTo>
                  <a:lnTo>
                    <a:pt x="109" y="25"/>
                  </a:lnTo>
                  <a:lnTo>
                    <a:pt x="115" y="40"/>
                  </a:lnTo>
                  <a:lnTo>
                    <a:pt x="117" y="40"/>
                  </a:lnTo>
                  <a:lnTo>
                    <a:pt x="119" y="40"/>
                  </a:lnTo>
                  <a:lnTo>
                    <a:pt x="123" y="42"/>
                  </a:lnTo>
                  <a:lnTo>
                    <a:pt x="125" y="44"/>
                  </a:lnTo>
                  <a:lnTo>
                    <a:pt x="125" y="48"/>
                  </a:lnTo>
                  <a:lnTo>
                    <a:pt x="125" y="54"/>
                  </a:lnTo>
                  <a:lnTo>
                    <a:pt x="123" y="56"/>
                  </a:lnTo>
                  <a:lnTo>
                    <a:pt x="119" y="60"/>
                  </a:lnTo>
                  <a:lnTo>
                    <a:pt x="111" y="61"/>
                  </a:lnTo>
                  <a:lnTo>
                    <a:pt x="105" y="63"/>
                  </a:lnTo>
                  <a:lnTo>
                    <a:pt x="102" y="65"/>
                  </a:lnTo>
                  <a:lnTo>
                    <a:pt x="100" y="69"/>
                  </a:lnTo>
                  <a:lnTo>
                    <a:pt x="94" y="71"/>
                  </a:lnTo>
                  <a:lnTo>
                    <a:pt x="86" y="73"/>
                  </a:lnTo>
                  <a:lnTo>
                    <a:pt x="84" y="75"/>
                  </a:lnTo>
                  <a:lnTo>
                    <a:pt x="81" y="79"/>
                  </a:lnTo>
                  <a:lnTo>
                    <a:pt x="79" y="81"/>
                  </a:lnTo>
                  <a:lnTo>
                    <a:pt x="77" y="83"/>
                  </a:lnTo>
                  <a:lnTo>
                    <a:pt x="73" y="84"/>
                  </a:lnTo>
                  <a:lnTo>
                    <a:pt x="71" y="88"/>
                  </a:lnTo>
                  <a:lnTo>
                    <a:pt x="69" y="100"/>
                  </a:lnTo>
                  <a:lnTo>
                    <a:pt x="67" y="111"/>
                  </a:lnTo>
                  <a:lnTo>
                    <a:pt x="63" y="113"/>
                  </a:lnTo>
                  <a:lnTo>
                    <a:pt x="61" y="117"/>
                  </a:lnTo>
                  <a:lnTo>
                    <a:pt x="58" y="117"/>
                  </a:lnTo>
                  <a:lnTo>
                    <a:pt x="52" y="117"/>
                  </a:lnTo>
                  <a:lnTo>
                    <a:pt x="50" y="113"/>
                  </a:lnTo>
                  <a:lnTo>
                    <a:pt x="48" y="111"/>
                  </a:lnTo>
                  <a:lnTo>
                    <a:pt x="44" y="109"/>
                  </a:lnTo>
                  <a:lnTo>
                    <a:pt x="38" y="108"/>
                  </a:lnTo>
                  <a:lnTo>
                    <a:pt x="31" y="109"/>
                  </a:lnTo>
                  <a:lnTo>
                    <a:pt x="29" y="111"/>
                  </a:lnTo>
                  <a:lnTo>
                    <a:pt x="25" y="113"/>
                  </a:lnTo>
                  <a:lnTo>
                    <a:pt x="23" y="117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3" name="Freeform 323">
              <a:extLst>
                <a:ext uri="{FF2B5EF4-FFF2-40B4-BE49-F238E27FC236}">
                  <a16:creationId xmlns:a16="http://schemas.microsoft.com/office/drawing/2014/main" xmlns="" id="{A8401B8B-AD1D-834B-AEF1-3CB5575A0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0425" y="3724091"/>
              <a:ext cx="603250" cy="668337"/>
            </a:xfrm>
            <a:custGeom>
              <a:avLst/>
              <a:gdLst>
                <a:gd name="T0" fmla="*/ 2147483647 w 388"/>
                <a:gd name="T1" fmla="*/ 2147483647 h 448"/>
                <a:gd name="T2" fmla="*/ 2147483647 w 388"/>
                <a:gd name="T3" fmla="*/ 2147483647 h 448"/>
                <a:gd name="T4" fmla="*/ 2147483647 w 388"/>
                <a:gd name="T5" fmla="*/ 2147483647 h 448"/>
                <a:gd name="T6" fmla="*/ 2147483647 w 388"/>
                <a:gd name="T7" fmla="*/ 2147483647 h 448"/>
                <a:gd name="T8" fmla="*/ 2147483647 w 388"/>
                <a:gd name="T9" fmla="*/ 2147483647 h 448"/>
                <a:gd name="T10" fmla="*/ 2147483647 w 388"/>
                <a:gd name="T11" fmla="*/ 2147483647 h 448"/>
                <a:gd name="T12" fmla="*/ 2147483647 w 388"/>
                <a:gd name="T13" fmla="*/ 2147483647 h 448"/>
                <a:gd name="T14" fmla="*/ 2147483647 w 388"/>
                <a:gd name="T15" fmla="*/ 2147483647 h 448"/>
                <a:gd name="T16" fmla="*/ 2147483647 w 388"/>
                <a:gd name="T17" fmla="*/ 2147483647 h 448"/>
                <a:gd name="T18" fmla="*/ 2147483647 w 388"/>
                <a:gd name="T19" fmla="*/ 2147483647 h 448"/>
                <a:gd name="T20" fmla="*/ 2147483647 w 388"/>
                <a:gd name="T21" fmla="*/ 2147483647 h 448"/>
                <a:gd name="T22" fmla="*/ 2147483647 w 388"/>
                <a:gd name="T23" fmla="*/ 2147483647 h 448"/>
                <a:gd name="T24" fmla="*/ 2147483647 w 388"/>
                <a:gd name="T25" fmla="*/ 2147483647 h 448"/>
                <a:gd name="T26" fmla="*/ 2147483647 w 388"/>
                <a:gd name="T27" fmla="*/ 2147483647 h 448"/>
                <a:gd name="T28" fmla="*/ 2147483647 w 388"/>
                <a:gd name="T29" fmla="*/ 2147483647 h 448"/>
                <a:gd name="T30" fmla="*/ 2147483647 w 388"/>
                <a:gd name="T31" fmla="*/ 2147483647 h 448"/>
                <a:gd name="T32" fmla="*/ 2147483647 w 388"/>
                <a:gd name="T33" fmla="*/ 2147483647 h 448"/>
                <a:gd name="T34" fmla="*/ 2147483647 w 388"/>
                <a:gd name="T35" fmla="*/ 2147483647 h 448"/>
                <a:gd name="T36" fmla="*/ 2147483647 w 388"/>
                <a:gd name="T37" fmla="*/ 2147483647 h 448"/>
                <a:gd name="T38" fmla="*/ 2147483647 w 388"/>
                <a:gd name="T39" fmla="*/ 2147483647 h 448"/>
                <a:gd name="T40" fmla="*/ 2147483647 w 388"/>
                <a:gd name="T41" fmla="*/ 2147483647 h 448"/>
                <a:gd name="T42" fmla="*/ 2147483647 w 388"/>
                <a:gd name="T43" fmla="*/ 2147483647 h 448"/>
                <a:gd name="T44" fmla="*/ 2147483647 w 388"/>
                <a:gd name="T45" fmla="*/ 2147483647 h 448"/>
                <a:gd name="T46" fmla="*/ 2147483647 w 388"/>
                <a:gd name="T47" fmla="*/ 2147483647 h 448"/>
                <a:gd name="T48" fmla="*/ 2147483647 w 388"/>
                <a:gd name="T49" fmla="*/ 2147483647 h 448"/>
                <a:gd name="T50" fmla="*/ 2147483647 w 388"/>
                <a:gd name="T51" fmla="*/ 2147483647 h 448"/>
                <a:gd name="T52" fmla="*/ 2147483647 w 388"/>
                <a:gd name="T53" fmla="*/ 2147483647 h 448"/>
                <a:gd name="T54" fmla="*/ 2147483647 w 388"/>
                <a:gd name="T55" fmla="*/ 2147483647 h 448"/>
                <a:gd name="T56" fmla="*/ 2147483647 w 388"/>
                <a:gd name="T57" fmla="*/ 2147483647 h 448"/>
                <a:gd name="T58" fmla="*/ 2147483647 w 388"/>
                <a:gd name="T59" fmla="*/ 2147483647 h 448"/>
                <a:gd name="T60" fmla="*/ 2147483647 w 388"/>
                <a:gd name="T61" fmla="*/ 2147483647 h 448"/>
                <a:gd name="T62" fmla="*/ 2147483647 w 388"/>
                <a:gd name="T63" fmla="*/ 2147483647 h 448"/>
                <a:gd name="T64" fmla="*/ 2147483647 w 388"/>
                <a:gd name="T65" fmla="*/ 2147483647 h 448"/>
                <a:gd name="T66" fmla="*/ 2147483647 w 388"/>
                <a:gd name="T67" fmla="*/ 2147483647 h 448"/>
                <a:gd name="T68" fmla="*/ 2147483647 w 388"/>
                <a:gd name="T69" fmla="*/ 2147483647 h 448"/>
                <a:gd name="T70" fmla="*/ 2147483647 w 388"/>
                <a:gd name="T71" fmla="*/ 2147483647 h 448"/>
                <a:gd name="T72" fmla="*/ 2147483647 w 388"/>
                <a:gd name="T73" fmla="*/ 2147483647 h 448"/>
                <a:gd name="T74" fmla="*/ 2147483647 w 388"/>
                <a:gd name="T75" fmla="*/ 2147483647 h 448"/>
                <a:gd name="T76" fmla="*/ 2147483647 w 388"/>
                <a:gd name="T77" fmla="*/ 2147483647 h 448"/>
                <a:gd name="T78" fmla="*/ 2147483647 w 388"/>
                <a:gd name="T79" fmla="*/ 2147483647 h 448"/>
                <a:gd name="T80" fmla="*/ 2147483647 w 388"/>
                <a:gd name="T81" fmla="*/ 2147483647 h 448"/>
                <a:gd name="T82" fmla="*/ 2147483647 w 388"/>
                <a:gd name="T83" fmla="*/ 2147483647 h 448"/>
                <a:gd name="T84" fmla="*/ 2147483647 w 388"/>
                <a:gd name="T85" fmla="*/ 2147483647 h 448"/>
                <a:gd name="T86" fmla="*/ 2147483647 w 388"/>
                <a:gd name="T87" fmla="*/ 2147483647 h 448"/>
                <a:gd name="T88" fmla="*/ 2147483647 w 388"/>
                <a:gd name="T89" fmla="*/ 2147483647 h 448"/>
                <a:gd name="T90" fmla="*/ 2147483647 w 388"/>
                <a:gd name="T91" fmla="*/ 2147483647 h 448"/>
                <a:gd name="T92" fmla="*/ 2147483647 w 388"/>
                <a:gd name="T93" fmla="*/ 2147483647 h 448"/>
                <a:gd name="T94" fmla="*/ 2147483647 w 388"/>
                <a:gd name="T95" fmla="*/ 2147483647 h 448"/>
                <a:gd name="T96" fmla="*/ 2147483647 w 388"/>
                <a:gd name="T97" fmla="*/ 2147483647 h 448"/>
                <a:gd name="T98" fmla="*/ 2147483647 w 388"/>
                <a:gd name="T99" fmla="*/ 2147483647 h 448"/>
                <a:gd name="T100" fmla="*/ 2147483647 w 388"/>
                <a:gd name="T101" fmla="*/ 2147483647 h 448"/>
                <a:gd name="T102" fmla="*/ 2147483647 w 388"/>
                <a:gd name="T103" fmla="*/ 2147483647 h 448"/>
                <a:gd name="T104" fmla="*/ 2147483647 w 388"/>
                <a:gd name="T105" fmla="*/ 2147483647 h 448"/>
                <a:gd name="T106" fmla="*/ 2147483647 w 388"/>
                <a:gd name="T107" fmla="*/ 2147483647 h 448"/>
                <a:gd name="T108" fmla="*/ 2147483647 w 388"/>
                <a:gd name="T109" fmla="*/ 2147483647 h 448"/>
                <a:gd name="T110" fmla="*/ 2147483647 w 388"/>
                <a:gd name="T111" fmla="*/ 2147483647 h 44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88"/>
                <a:gd name="T169" fmla="*/ 0 h 448"/>
                <a:gd name="T170" fmla="*/ 388 w 388"/>
                <a:gd name="T171" fmla="*/ 448 h 44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88" h="448">
                  <a:moveTo>
                    <a:pt x="131" y="448"/>
                  </a:moveTo>
                  <a:lnTo>
                    <a:pt x="129" y="444"/>
                  </a:lnTo>
                  <a:lnTo>
                    <a:pt x="125" y="442"/>
                  </a:lnTo>
                  <a:lnTo>
                    <a:pt x="123" y="434"/>
                  </a:lnTo>
                  <a:lnTo>
                    <a:pt x="121" y="428"/>
                  </a:lnTo>
                  <a:lnTo>
                    <a:pt x="119" y="424"/>
                  </a:lnTo>
                  <a:lnTo>
                    <a:pt x="117" y="423"/>
                  </a:lnTo>
                  <a:lnTo>
                    <a:pt x="113" y="415"/>
                  </a:lnTo>
                  <a:lnTo>
                    <a:pt x="111" y="409"/>
                  </a:lnTo>
                  <a:lnTo>
                    <a:pt x="109" y="405"/>
                  </a:lnTo>
                  <a:lnTo>
                    <a:pt x="106" y="403"/>
                  </a:lnTo>
                  <a:lnTo>
                    <a:pt x="109" y="401"/>
                  </a:lnTo>
                  <a:lnTo>
                    <a:pt x="111" y="400"/>
                  </a:lnTo>
                  <a:lnTo>
                    <a:pt x="113" y="392"/>
                  </a:lnTo>
                  <a:lnTo>
                    <a:pt x="115" y="375"/>
                  </a:lnTo>
                  <a:lnTo>
                    <a:pt x="113" y="357"/>
                  </a:lnTo>
                  <a:lnTo>
                    <a:pt x="111" y="352"/>
                  </a:lnTo>
                  <a:lnTo>
                    <a:pt x="109" y="348"/>
                  </a:lnTo>
                  <a:lnTo>
                    <a:pt x="106" y="346"/>
                  </a:lnTo>
                  <a:lnTo>
                    <a:pt x="104" y="338"/>
                  </a:lnTo>
                  <a:lnTo>
                    <a:pt x="102" y="330"/>
                  </a:lnTo>
                  <a:lnTo>
                    <a:pt x="98" y="329"/>
                  </a:lnTo>
                  <a:lnTo>
                    <a:pt x="96" y="327"/>
                  </a:lnTo>
                  <a:lnTo>
                    <a:pt x="88" y="325"/>
                  </a:lnTo>
                  <a:lnTo>
                    <a:pt x="83" y="321"/>
                  </a:lnTo>
                  <a:lnTo>
                    <a:pt x="79" y="319"/>
                  </a:lnTo>
                  <a:lnTo>
                    <a:pt x="77" y="317"/>
                  </a:lnTo>
                  <a:lnTo>
                    <a:pt x="65" y="313"/>
                  </a:lnTo>
                  <a:lnTo>
                    <a:pt x="54" y="311"/>
                  </a:lnTo>
                  <a:lnTo>
                    <a:pt x="50" y="309"/>
                  </a:lnTo>
                  <a:lnTo>
                    <a:pt x="48" y="307"/>
                  </a:lnTo>
                  <a:lnTo>
                    <a:pt x="40" y="304"/>
                  </a:lnTo>
                  <a:lnTo>
                    <a:pt x="35" y="302"/>
                  </a:lnTo>
                  <a:lnTo>
                    <a:pt x="31" y="300"/>
                  </a:lnTo>
                  <a:lnTo>
                    <a:pt x="29" y="298"/>
                  </a:lnTo>
                  <a:lnTo>
                    <a:pt x="21" y="294"/>
                  </a:lnTo>
                  <a:lnTo>
                    <a:pt x="13" y="292"/>
                  </a:lnTo>
                  <a:lnTo>
                    <a:pt x="12" y="290"/>
                  </a:lnTo>
                  <a:lnTo>
                    <a:pt x="10" y="286"/>
                  </a:lnTo>
                  <a:lnTo>
                    <a:pt x="8" y="284"/>
                  </a:lnTo>
                  <a:lnTo>
                    <a:pt x="4" y="282"/>
                  </a:lnTo>
                  <a:lnTo>
                    <a:pt x="2" y="281"/>
                  </a:lnTo>
                  <a:lnTo>
                    <a:pt x="0" y="279"/>
                  </a:lnTo>
                  <a:lnTo>
                    <a:pt x="2" y="275"/>
                  </a:lnTo>
                  <a:lnTo>
                    <a:pt x="4" y="273"/>
                  </a:lnTo>
                  <a:lnTo>
                    <a:pt x="8" y="271"/>
                  </a:lnTo>
                  <a:lnTo>
                    <a:pt x="10" y="269"/>
                  </a:lnTo>
                  <a:lnTo>
                    <a:pt x="12" y="265"/>
                  </a:lnTo>
                  <a:lnTo>
                    <a:pt x="13" y="263"/>
                  </a:lnTo>
                  <a:lnTo>
                    <a:pt x="21" y="261"/>
                  </a:lnTo>
                  <a:lnTo>
                    <a:pt x="29" y="258"/>
                  </a:lnTo>
                  <a:lnTo>
                    <a:pt x="31" y="256"/>
                  </a:lnTo>
                  <a:lnTo>
                    <a:pt x="35" y="254"/>
                  </a:lnTo>
                  <a:lnTo>
                    <a:pt x="37" y="256"/>
                  </a:lnTo>
                  <a:lnTo>
                    <a:pt x="38" y="258"/>
                  </a:lnTo>
                  <a:lnTo>
                    <a:pt x="48" y="258"/>
                  </a:lnTo>
                  <a:lnTo>
                    <a:pt x="58" y="258"/>
                  </a:lnTo>
                  <a:lnTo>
                    <a:pt x="60" y="256"/>
                  </a:lnTo>
                  <a:lnTo>
                    <a:pt x="63" y="254"/>
                  </a:lnTo>
                  <a:lnTo>
                    <a:pt x="65" y="252"/>
                  </a:lnTo>
                  <a:lnTo>
                    <a:pt x="67" y="248"/>
                  </a:lnTo>
                  <a:lnTo>
                    <a:pt x="69" y="246"/>
                  </a:lnTo>
                  <a:lnTo>
                    <a:pt x="73" y="244"/>
                  </a:lnTo>
                  <a:lnTo>
                    <a:pt x="73" y="235"/>
                  </a:lnTo>
                  <a:lnTo>
                    <a:pt x="73" y="225"/>
                  </a:lnTo>
                  <a:lnTo>
                    <a:pt x="69" y="221"/>
                  </a:lnTo>
                  <a:lnTo>
                    <a:pt x="67" y="219"/>
                  </a:lnTo>
                  <a:lnTo>
                    <a:pt x="65" y="217"/>
                  </a:lnTo>
                  <a:lnTo>
                    <a:pt x="63" y="215"/>
                  </a:lnTo>
                  <a:lnTo>
                    <a:pt x="60" y="213"/>
                  </a:lnTo>
                  <a:lnTo>
                    <a:pt x="58" y="210"/>
                  </a:lnTo>
                  <a:lnTo>
                    <a:pt x="56" y="202"/>
                  </a:lnTo>
                  <a:lnTo>
                    <a:pt x="54" y="196"/>
                  </a:lnTo>
                  <a:lnTo>
                    <a:pt x="50" y="192"/>
                  </a:lnTo>
                  <a:lnTo>
                    <a:pt x="48" y="190"/>
                  </a:lnTo>
                  <a:lnTo>
                    <a:pt x="50" y="188"/>
                  </a:lnTo>
                  <a:lnTo>
                    <a:pt x="54" y="187"/>
                  </a:lnTo>
                  <a:lnTo>
                    <a:pt x="56" y="183"/>
                  </a:lnTo>
                  <a:lnTo>
                    <a:pt x="58" y="181"/>
                  </a:lnTo>
                  <a:lnTo>
                    <a:pt x="60" y="179"/>
                  </a:lnTo>
                  <a:lnTo>
                    <a:pt x="63" y="177"/>
                  </a:lnTo>
                  <a:lnTo>
                    <a:pt x="90" y="173"/>
                  </a:lnTo>
                  <a:lnTo>
                    <a:pt x="117" y="171"/>
                  </a:lnTo>
                  <a:lnTo>
                    <a:pt x="119" y="169"/>
                  </a:lnTo>
                  <a:lnTo>
                    <a:pt x="121" y="167"/>
                  </a:lnTo>
                  <a:lnTo>
                    <a:pt x="123" y="164"/>
                  </a:lnTo>
                  <a:lnTo>
                    <a:pt x="125" y="162"/>
                  </a:lnTo>
                  <a:lnTo>
                    <a:pt x="129" y="160"/>
                  </a:lnTo>
                  <a:lnTo>
                    <a:pt x="131" y="158"/>
                  </a:lnTo>
                  <a:lnTo>
                    <a:pt x="132" y="144"/>
                  </a:lnTo>
                  <a:lnTo>
                    <a:pt x="134" y="133"/>
                  </a:lnTo>
                  <a:lnTo>
                    <a:pt x="138" y="131"/>
                  </a:lnTo>
                  <a:lnTo>
                    <a:pt x="140" y="127"/>
                  </a:lnTo>
                  <a:lnTo>
                    <a:pt x="140" y="100"/>
                  </a:lnTo>
                  <a:lnTo>
                    <a:pt x="138" y="75"/>
                  </a:lnTo>
                  <a:lnTo>
                    <a:pt x="146" y="66"/>
                  </a:lnTo>
                  <a:lnTo>
                    <a:pt x="155" y="54"/>
                  </a:lnTo>
                  <a:lnTo>
                    <a:pt x="157" y="52"/>
                  </a:lnTo>
                  <a:lnTo>
                    <a:pt x="159" y="50"/>
                  </a:lnTo>
                  <a:lnTo>
                    <a:pt x="161" y="48"/>
                  </a:lnTo>
                  <a:lnTo>
                    <a:pt x="165" y="46"/>
                  </a:lnTo>
                  <a:lnTo>
                    <a:pt x="167" y="43"/>
                  </a:lnTo>
                  <a:lnTo>
                    <a:pt x="169" y="41"/>
                  </a:lnTo>
                  <a:lnTo>
                    <a:pt x="171" y="39"/>
                  </a:lnTo>
                  <a:lnTo>
                    <a:pt x="175" y="37"/>
                  </a:lnTo>
                  <a:lnTo>
                    <a:pt x="177" y="33"/>
                  </a:lnTo>
                  <a:lnTo>
                    <a:pt x="179" y="31"/>
                  </a:lnTo>
                  <a:lnTo>
                    <a:pt x="180" y="29"/>
                  </a:lnTo>
                  <a:lnTo>
                    <a:pt x="184" y="25"/>
                  </a:lnTo>
                  <a:lnTo>
                    <a:pt x="186" y="23"/>
                  </a:lnTo>
                  <a:lnTo>
                    <a:pt x="188" y="22"/>
                  </a:lnTo>
                  <a:lnTo>
                    <a:pt x="203" y="10"/>
                  </a:lnTo>
                  <a:lnTo>
                    <a:pt x="217" y="0"/>
                  </a:lnTo>
                  <a:lnTo>
                    <a:pt x="221" y="0"/>
                  </a:lnTo>
                  <a:lnTo>
                    <a:pt x="225" y="2"/>
                  </a:lnTo>
                  <a:lnTo>
                    <a:pt x="226" y="6"/>
                  </a:lnTo>
                  <a:lnTo>
                    <a:pt x="228" y="10"/>
                  </a:lnTo>
                  <a:lnTo>
                    <a:pt x="225" y="18"/>
                  </a:lnTo>
                  <a:lnTo>
                    <a:pt x="223" y="22"/>
                  </a:lnTo>
                  <a:lnTo>
                    <a:pt x="223" y="33"/>
                  </a:lnTo>
                  <a:lnTo>
                    <a:pt x="223" y="39"/>
                  </a:lnTo>
                  <a:lnTo>
                    <a:pt x="225" y="41"/>
                  </a:lnTo>
                  <a:lnTo>
                    <a:pt x="226" y="41"/>
                  </a:lnTo>
                  <a:lnTo>
                    <a:pt x="230" y="43"/>
                  </a:lnTo>
                  <a:lnTo>
                    <a:pt x="232" y="46"/>
                  </a:lnTo>
                  <a:lnTo>
                    <a:pt x="230" y="48"/>
                  </a:lnTo>
                  <a:lnTo>
                    <a:pt x="226" y="50"/>
                  </a:lnTo>
                  <a:lnTo>
                    <a:pt x="225" y="58"/>
                  </a:lnTo>
                  <a:lnTo>
                    <a:pt x="223" y="66"/>
                  </a:lnTo>
                  <a:lnTo>
                    <a:pt x="219" y="68"/>
                  </a:lnTo>
                  <a:lnTo>
                    <a:pt x="217" y="70"/>
                  </a:lnTo>
                  <a:lnTo>
                    <a:pt x="215" y="83"/>
                  </a:lnTo>
                  <a:lnTo>
                    <a:pt x="213" y="94"/>
                  </a:lnTo>
                  <a:lnTo>
                    <a:pt x="209" y="96"/>
                  </a:lnTo>
                  <a:lnTo>
                    <a:pt x="207" y="98"/>
                  </a:lnTo>
                  <a:lnTo>
                    <a:pt x="205" y="106"/>
                  </a:lnTo>
                  <a:lnTo>
                    <a:pt x="203" y="114"/>
                  </a:lnTo>
                  <a:lnTo>
                    <a:pt x="202" y="116"/>
                  </a:lnTo>
                  <a:lnTo>
                    <a:pt x="198" y="119"/>
                  </a:lnTo>
                  <a:lnTo>
                    <a:pt x="198" y="127"/>
                  </a:lnTo>
                  <a:lnTo>
                    <a:pt x="198" y="137"/>
                  </a:lnTo>
                  <a:lnTo>
                    <a:pt x="202" y="141"/>
                  </a:lnTo>
                  <a:lnTo>
                    <a:pt x="203" y="142"/>
                  </a:lnTo>
                  <a:lnTo>
                    <a:pt x="203" y="146"/>
                  </a:lnTo>
                  <a:lnTo>
                    <a:pt x="203" y="152"/>
                  </a:lnTo>
                  <a:lnTo>
                    <a:pt x="202" y="154"/>
                  </a:lnTo>
                  <a:lnTo>
                    <a:pt x="198" y="158"/>
                  </a:lnTo>
                  <a:lnTo>
                    <a:pt x="198" y="167"/>
                  </a:lnTo>
                  <a:lnTo>
                    <a:pt x="198" y="177"/>
                  </a:lnTo>
                  <a:lnTo>
                    <a:pt x="202" y="179"/>
                  </a:lnTo>
                  <a:lnTo>
                    <a:pt x="203" y="181"/>
                  </a:lnTo>
                  <a:lnTo>
                    <a:pt x="205" y="188"/>
                  </a:lnTo>
                  <a:lnTo>
                    <a:pt x="207" y="196"/>
                  </a:lnTo>
                  <a:lnTo>
                    <a:pt x="209" y="198"/>
                  </a:lnTo>
                  <a:lnTo>
                    <a:pt x="213" y="200"/>
                  </a:lnTo>
                  <a:lnTo>
                    <a:pt x="217" y="200"/>
                  </a:lnTo>
                  <a:lnTo>
                    <a:pt x="223" y="200"/>
                  </a:lnTo>
                  <a:lnTo>
                    <a:pt x="225" y="198"/>
                  </a:lnTo>
                  <a:lnTo>
                    <a:pt x="226" y="196"/>
                  </a:lnTo>
                  <a:lnTo>
                    <a:pt x="234" y="192"/>
                  </a:lnTo>
                  <a:lnTo>
                    <a:pt x="242" y="190"/>
                  </a:lnTo>
                  <a:lnTo>
                    <a:pt x="244" y="188"/>
                  </a:lnTo>
                  <a:lnTo>
                    <a:pt x="246" y="187"/>
                  </a:lnTo>
                  <a:lnTo>
                    <a:pt x="249" y="183"/>
                  </a:lnTo>
                  <a:lnTo>
                    <a:pt x="251" y="181"/>
                  </a:lnTo>
                  <a:lnTo>
                    <a:pt x="253" y="179"/>
                  </a:lnTo>
                  <a:lnTo>
                    <a:pt x="255" y="177"/>
                  </a:lnTo>
                  <a:lnTo>
                    <a:pt x="274" y="177"/>
                  </a:lnTo>
                  <a:lnTo>
                    <a:pt x="296" y="177"/>
                  </a:lnTo>
                  <a:lnTo>
                    <a:pt x="297" y="179"/>
                  </a:lnTo>
                  <a:lnTo>
                    <a:pt x="299" y="181"/>
                  </a:lnTo>
                  <a:lnTo>
                    <a:pt x="299" y="188"/>
                  </a:lnTo>
                  <a:lnTo>
                    <a:pt x="299" y="196"/>
                  </a:lnTo>
                  <a:lnTo>
                    <a:pt x="309" y="192"/>
                  </a:lnTo>
                  <a:lnTo>
                    <a:pt x="319" y="190"/>
                  </a:lnTo>
                  <a:lnTo>
                    <a:pt x="322" y="188"/>
                  </a:lnTo>
                  <a:lnTo>
                    <a:pt x="324" y="187"/>
                  </a:lnTo>
                  <a:lnTo>
                    <a:pt x="332" y="183"/>
                  </a:lnTo>
                  <a:lnTo>
                    <a:pt x="338" y="181"/>
                  </a:lnTo>
                  <a:lnTo>
                    <a:pt x="340" y="179"/>
                  </a:lnTo>
                  <a:lnTo>
                    <a:pt x="344" y="177"/>
                  </a:lnTo>
                  <a:lnTo>
                    <a:pt x="345" y="179"/>
                  </a:lnTo>
                  <a:lnTo>
                    <a:pt x="349" y="181"/>
                  </a:lnTo>
                  <a:lnTo>
                    <a:pt x="351" y="188"/>
                  </a:lnTo>
                  <a:lnTo>
                    <a:pt x="353" y="196"/>
                  </a:lnTo>
                  <a:lnTo>
                    <a:pt x="355" y="198"/>
                  </a:lnTo>
                  <a:lnTo>
                    <a:pt x="357" y="200"/>
                  </a:lnTo>
                  <a:lnTo>
                    <a:pt x="365" y="202"/>
                  </a:lnTo>
                  <a:lnTo>
                    <a:pt x="372" y="206"/>
                  </a:lnTo>
                  <a:lnTo>
                    <a:pt x="374" y="208"/>
                  </a:lnTo>
                  <a:lnTo>
                    <a:pt x="378" y="210"/>
                  </a:lnTo>
                  <a:lnTo>
                    <a:pt x="380" y="213"/>
                  </a:lnTo>
                  <a:lnTo>
                    <a:pt x="382" y="215"/>
                  </a:lnTo>
                  <a:lnTo>
                    <a:pt x="384" y="217"/>
                  </a:lnTo>
                  <a:lnTo>
                    <a:pt x="388" y="219"/>
                  </a:lnTo>
                  <a:lnTo>
                    <a:pt x="384" y="221"/>
                  </a:lnTo>
                  <a:lnTo>
                    <a:pt x="382" y="225"/>
                  </a:lnTo>
                  <a:lnTo>
                    <a:pt x="380" y="227"/>
                  </a:lnTo>
                  <a:lnTo>
                    <a:pt x="378" y="229"/>
                  </a:lnTo>
                  <a:lnTo>
                    <a:pt x="374" y="233"/>
                  </a:lnTo>
                  <a:lnTo>
                    <a:pt x="372" y="235"/>
                  </a:lnTo>
                  <a:lnTo>
                    <a:pt x="370" y="236"/>
                  </a:lnTo>
                  <a:lnTo>
                    <a:pt x="367" y="238"/>
                  </a:lnTo>
                  <a:lnTo>
                    <a:pt x="365" y="242"/>
                  </a:lnTo>
                  <a:lnTo>
                    <a:pt x="363" y="244"/>
                  </a:lnTo>
                  <a:lnTo>
                    <a:pt x="361" y="252"/>
                  </a:lnTo>
                  <a:lnTo>
                    <a:pt x="357" y="258"/>
                  </a:lnTo>
                  <a:lnTo>
                    <a:pt x="355" y="261"/>
                  </a:lnTo>
                  <a:lnTo>
                    <a:pt x="353" y="263"/>
                  </a:lnTo>
                  <a:lnTo>
                    <a:pt x="351" y="265"/>
                  </a:lnTo>
                  <a:lnTo>
                    <a:pt x="349" y="269"/>
                  </a:lnTo>
                  <a:lnTo>
                    <a:pt x="345" y="271"/>
                  </a:lnTo>
                  <a:lnTo>
                    <a:pt x="344" y="273"/>
                  </a:lnTo>
                  <a:lnTo>
                    <a:pt x="340" y="300"/>
                  </a:lnTo>
                  <a:lnTo>
                    <a:pt x="338" y="327"/>
                  </a:lnTo>
                  <a:lnTo>
                    <a:pt x="336" y="329"/>
                  </a:lnTo>
                  <a:lnTo>
                    <a:pt x="334" y="330"/>
                  </a:lnTo>
                  <a:lnTo>
                    <a:pt x="330" y="332"/>
                  </a:lnTo>
                  <a:lnTo>
                    <a:pt x="328" y="336"/>
                  </a:lnTo>
                  <a:lnTo>
                    <a:pt x="326" y="338"/>
                  </a:lnTo>
                  <a:lnTo>
                    <a:pt x="324" y="340"/>
                  </a:lnTo>
                  <a:lnTo>
                    <a:pt x="319" y="340"/>
                  </a:lnTo>
                  <a:lnTo>
                    <a:pt x="315" y="340"/>
                  </a:lnTo>
                  <a:lnTo>
                    <a:pt x="311" y="338"/>
                  </a:lnTo>
                  <a:lnTo>
                    <a:pt x="309" y="336"/>
                  </a:lnTo>
                  <a:lnTo>
                    <a:pt x="301" y="332"/>
                  </a:lnTo>
                  <a:lnTo>
                    <a:pt x="296" y="330"/>
                  </a:lnTo>
                  <a:lnTo>
                    <a:pt x="292" y="329"/>
                  </a:lnTo>
                  <a:lnTo>
                    <a:pt x="290" y="327"/>
                  </a:lnTo>
                  <a:lnTo>
                    <a:pt x="288" y="325"/>
                  </a:lnTo>
                  <a:lnTo>
                    <a:pt x="284" y="321"/>
                  </a:lnTo>
                  <a:lnTo>
                    <a:pt x="282" y="319"/>
                  </a:lnTo>
                  <a:lnTo>
                    <a:pt x="280" y="317"/>
                  </a:lnTo>
                  <a:lnTo>
                    <a:pt x="273" y="313"/>
                  </a:lnTo>
                  <a:lnTo>
                    <a:pt x="267" y="311"/>
                  </a:lnTo>
                  <a:lnTo>
                    <a:pt x="263" y="309"/>
                  </a:lnTo>
                  <a:lnTo>
                    <a:pt x="261" y="307"/>
                  </a:lnTo>
                  <a:lnTo>
                    <a:pt x="255" y="307"/>
                  </a:lnTo>
                  <a:lnTo>
                    <a:pt x="251" y="307"/>
                  </a:lnTo>
                  <a:lnTo>
                    <a:pt x="249" y="309"/>
                  </a:lnTo>
                  <a:lnTo>
                    <a:pt x="246" y="311"/>
                  </a:lnTo>
                  <a:lnTo>
                    <a:pt x="244" y="313"/>
                  </a:lnTo>
                  <a:lnTo>
                    <a:pt x="242" y="317"/>
                  </a:lnTo>
                  <a:lnTo>
                    <a:pt x="240" y="319"/>
                  </a:lnTo>
                  <a:lnTo>
                    <a:pt x="236" y="321"/>
                  </a:lnTo>
                  <a:lnTo>
                    <a:pt x="234" y="332"/>
                  </a:lnTo>
                  <a:lnTo>
                    <a:pt x="232" y="346"/>
                  </a:lnTo>
                  <a:lnTo>
                    <a:pt x="230" y="348"/>
                  </a:lnTo>
                  <a:lnTo>
                    <a:pt x="226" y="352"/>
                  </a:lnTo>
                  <a:lnTo>
                    <a:pt x="225" y="353"/>
                  </a:lnTo>
                  <a:lnTo>
                    <a:pt x="223" y="355"/>
                  </a:lnTo>
                  <a:lnTo>
                    <a:pt x="219" y="357"/>
                  </a:lnTo>
                  <a:lnTo>
                    <a:pt x="217" y="359"/>
                  </a:lnTo>
                  <a:lnTo>
                    <a:pt x="215" y="363"/>
                  </a:lnTo>
                  <a:lnTo>
                    <a:pt x="213" y="365"/>
                  </a:lnTo>
                  <a:lnTo>
                    <a:pt x="209" y="367"/>
                  </a:lnTo>
                  <a:lnTo>
                    <a:pt x="207" y="369"/>
                  </a:lnTo>
                  <a:lnTo>
                    <a:pt x="205" y="367"/>
                  </a:lnTo>
                  <a:lnTo>
                    <a:pt x="203" y="365"/>
                  </a:lnTo>
                  <a:lnTo>
                    <a:pt x="200" y="361"/>
                  </a:lnTo>
                  <a:lnTo>
                    <a:pt x="194" y="361"/>
                  </a:lnTo>
                  <a:lnTo>
                    <a:pt x="186" y="361"/>
                  </a:lnTo>
                  <a:lnTo>
                    <a:pt x="184" y="365"/>
                  </a:lnTo>
                  <a:lnTo>
                    <a:pt x="180" y="367"/>
                  </a:lnTo>
                  <a:lnTo>
                    <a:pt x="179" y="369"/>
                  </a:lnTo>
                  <a:lnTo>
                    <a:pt x="177" y="377"/>
                  </a:lnTo>
                  <a:lnTo>
                    <a:pt x="175" y="384"/>
                  </a:lnTo>
                  <a:lnTo>
                    <a:pt x="171" y="386"/>
                  </a:lnTo>
                  <a:lnTo>
                    <a:pt x="169" y="390"/>
                  </a:lnTo>
                  <a:lnTo>
                    <a:pt x="167" y="396"/>
                  </a:lnTo>
                  <a:lnTo>
                    <a:pt x="165" y="403"/>
                  </a:lnTo>
                  <a:lnTo>
                    <a:pt x="161" y="405"/>
                  </a:lnTo>
                  <a:lnTo>
                    <a:pt x="159" y="409"/>
                  </a:lnTo>
                  <a:lnTo>
                    <a:pt x="157" y="415"/>
                  </a:lnTo>
                  <a:lnTo>
                    <a:pt x="155" y="423"/>
                  </a:lnTo>
                  <a:lnTo>
                    <a:pt x="152" y="424"/>
                  </a:lnTo>
                  <a:lnTo>
                    <a:pt x="150" y="428"/>
                  </a:lnTo>
                  <a:lnTo>
                    <a:pt x="148" y="430"/>
                  </a:lnTo>
                  <a:lnTo>
                    <a:pt x="146" y="432"/>
                  </a:lnTo>
                  <a:lnTo>
                    <a:pt x="142" y="434"/>
                  </a:lnTo>
                  <a:lnTo>
                    <a:pt x="140" y="438"/>
                  </a:lnTo>
                  <a:lnTo>
                    <a:pt x="134" y="442"/>
                  </a:lnTo>
                  <a:lnTo>
                    <a:pt x="131" y="448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4" name="Freeform 324">
              <a:extLst>
                <a:ext uri="{FF2B5EF4-FFF2-40B4-BE49-F238E27FC236}">
                  <a16:creationId xmlns:a16="http://schemas.microsoft.com/office/drawing/2014/main" xmlns="" id="{900F02E5-7671-3B42-BDBD-4EB1D24777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325" y="3973328"/>
              <a:ext cx="525463" cy="347663"/>
            </a:xfrm>
            <a:custGeom>
              <a:avLst/>
              <a:gdLst>
                <a:gd name="T0" fmla="*/ 2147483647 w 337"/>
                <a:gd name="T1" fmla="*/ 2147483647 h 233"/>
                <a:gd name="T2" fmla="*/ 2147483647 w 337"/>
                <a:gd name="T3" fmla="*/ 2147483647 h 233"/>
                <a:gd name="T4" fmla="*/ 2147483647 w 337"/>
                <a:gd name="T5" fmla="*/ 2147483647 h 233"/>
                <a:gd name="T6" fmla="*/ 2147483647 w 337"/>
                <a:gd name="T7" fmla="*/ 2147483647 h 233"/>
                <a:gd name="T8" fmla="*/ 2147483647 w 337"/>
                <a:gd name="T9" fmla="*/ 2147483647 h 233"/>
                <a:gd name="T10" fmla="*/ 2147483647 w 337"/>
                <a:gd name="T11" fmla="*/ 2147483647 h 233"/>
                <a:gd name="T12" fmla="*/ 2147483647 w 337"/>
                <a:gd name="T13" fmla="*/ 2147483647 h 233"/>
                <a:gd name="T14" fmla="*/ 2147483647 w 337"/>
                <a:gd name="T15" fmla="*/ 2147483647 h 233"/>
                <a:gd name="T16" fmla="*/ 2147483647 w 337"/>
                <a:gd name="T17" fmla="*/ 2147483647 h 233"/>
                <a:gd name="T18" fmla="*/ 2147483647 w 337"/>
                <a:gd name="T19" fmla="*/ 2147483647 h 233"/>
                <a:gd name="T20" fmla="*/ 2147483647 w 337"/>
                <a:gd name="T21" fmla="*/ 2147483647 h 233"/>
                <a:gd name="T22" fmla="*/ 2147483647 w 337"/>
                <a:gd name="T23" fmla="*/ 2147483647 h 233"/>
                <a:gd name="T24" fmla="*/ 2147483647 w 337"/>
                <a:gd name="T25" fmla="*/ 2147483647 h 233"/>
                <a:gd name="T26" fmla="*/ 2147483647 w 337"/>
                <a:gd name="T27" fmla="*/ 2147483647 h 233"/>
                <a:gd name="T28" fmla="*/ 2147483647 w 337"/>
                <a:gd name="T29" fmla="*/ 2147483647 h 233"/>
                <a:gd name="T30" fmla="*/ 2147483647 w 337"/>
                <a:gd name="T31" fmla="*/ 2147483647 h 233"/>
                <a:gd name="T32" fmla="*/ 2147483647 w 337"/>
                <a:gd name="T33" fmla="*/ 2147483647 h 233"/>
                <a:gd name="T34" fmla="*/ 2147483647 w 337"/>
                <a:gd name="T35" fmla="*/ 2147483647 h 233"/>
                <a:gd name="T36" fmla="*/ 2147483647 w 337"/>
                <a:gd name="T37" fmla="*/ 0 h 233"/>
                <a:gd name="T38" fmla="*/ 2147483647 w 337"/>
                <a:gd name="T39" fmla="*/ 2147483647 h 233"/>
                <a:gd name="T40" fmla="*/ 2147483647 w 337"/>
                <a:gd name="T41" fmla="*/ 0 h 233"/>
                <a:gd name="T42" fmla="*/ 2147483647 w 337"/>
                <a:gd name="T43" fmla="*/ 2147483647 h 233"/>
                <a:gd name="T44" fmla="*/ 2147483647 w 337"/>
                <a:gd name="T45" fmla="*/ 2147483647 h 233"/>
                <a:gd name="T46" fmla="*/ 2147483647 w 337"/>
                <a:gd name="T47" fmla="*/ 2147483647 h 233"/>
                <a:gd name="T48" fmla="*/ 2147483647 w 337"/>
                <a:gd name="T49" fmla="*/ 2147483647 h 233"/>
                <a:gd name="T50" fmla="*/ 2147483647 w 337"/>
                <a:gd name="T51" fmla="*/ 2147483647 h 233"/>
                <a:gd name="T52" fmla="*/ 2147483647 w 337"/>
                <a:gd name="T53" fmla="*/ 2147483647 h 233"/>
                <a:gd name="T54" fmla="*/ 2147483647 w 337"/>
                <a:gd name="T55" fmla="*/ 2147483647 h 233"/>
                <a:gd name="T56" fmla="*/ 2147483647 w 337"/>
                <a:gd name="T57" fmla="*/ 2147483647 h 233"/>
                <a:gd name="T58" fmla="*/ 2147483647 w 337"/>
                <a:gd name="T59" fmla="*/ 2147483647 h 233"/>
                <a:gd name="T60" fmla="*/ 2147483647 w 337"/>
                <a:gd name="T61" fmla="*/ 2147483647 h 233"/>
                <a:gd name="T62" fmla="*/ 2147483647 w 337"/>
                <a:gd name="T63" fmla="*/ 2147483647 h 233"/>
                <a:gd name="T64" fmla="*/ 2147483647 w 337"/>
                <a:gd name="T65" fmla="*/ 2147483647 h 233"/>
                <a:gd name="T66" fmla="*/ 2147483647 w 337"/>
                <a:gd name="T67" fmla="*/ 2147483647 h 233"/>
                <a:gd name="T68" fmla="*/ 2147483647 w 337"/>
                <a:gd name="T69" fmla="*/ 2147483647 h 233"/>
                <a:gd name="T70" fmla="*/ 2147483647 w 337"/>
                <a:gd name="T71" fmla="*/ 2147483647 h 233"/>
                <a:gd name="T72" fmla="*/ 2147483647 w 337"/>
                <a:gd name="T73" fmla="*/ 2147483647 h 233"/>
                <a:gd name="T74" fmla="*/ 2147483647 w 337"/>
                <a:gd name="T75" fmla="*/ 2147483647 h 233"/>
                <a:gd name="T76" fmla="*/ 2147483647 w 337"/>
                <a:gd name="T77" fmla="*/ 2147483647 h 233"/>
                <a:gd name="T78" fmla="*/ 2147483647 w 337"/>
                <a:gd name="T79" fmla="*/ 2147483647 h 233"/>
                <a:gd name="T80" fmla="*/ 2147483647 w 337"/>
                <a:gd name="T81" fmla="*/ 2147483647 h 233"/>
                <a:gd name="T82" fmla="*/ 2147483647 w 337"/>
                <a:gd name="T83" fmla="*/ 2147483647 h 233"/>
                <a:gd name="T84" fmla="*/ 2147483647 w 337"/>
                <a:gd name="T85" fmla="*/ 2147483647 h 233"/>
                <a:gd name="T86" fmla="*/ 2147483647 w 337"/>
                <a:gd name="T87" fmla="*/ 2147483647 h 233"/>
                <a:gd name="T88" fmla="*/ 2147483647 w 337"/>
                <a:gd name="T89" fmla="*/ 2147483647 h 233"/>
                <a:gd name="T90" fmla="*/ 2147483647 w 337"/>
                <a:gd name="T91" fmla="*/ 2147483647 h 233"/>
                <a:gd name="T92" fmla="*/ 2147483647 w 337"/>
                <a:gd name="T93" fmla="*/ 2147483647 h 233"/>
                <a:gd name="T94" fmla="*/ 2147483647 w 337"/>
                <a:gd name="T95" fmla="*/ 2147483647 h 233"/>
                <a:gd name="T96" fmla="*/ 2147483647 w 337"/>
                <a:gd name="T97" fmla="*/ 2147483647 h 233"/>
                <a:gd name="T98" fmla="*/ 2147483647 w 337"/>
                <a:gd name="T99" fmla="*/ 2147483647 h 233"/>
                <a:gd name="T100" fmla="*/ 2147483647 w 337"/>
                <a:gd name="T101" fmla="*/ 2147483647 h 23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37"/>
                <a:gd name="T154" fmla="*/ 0 h 233"/>
                <a:gd name="T155" fmla="*/ 337 w 337"/>
                <a:gd name="T156" fmla="*/ 233 h 23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37" h="233">
                  <a:moveTo>
                    <a:pt x="86" y="233"/>
                  </a:moveTo>
                  <a:lnTo>
                    <a:pt x="86" y="217"/>
                  </a:lnTo>
                  <a:lnTo>
                    <a:pt x="86" y="202"/>
                  </a:lnTo>
                  <a:lnTo>
                    <a:pt x="74" y="198"/>
                  </a:lnTo>
                  <a:lnTo>
                    <a:pt x="63" y="192"/>
                  </a:lnTo>
                  <a:lnTo>
                    <a:pt x="59" y="190"/>
                  </a:lnTo>
                  <a:lnTo>
                    <a:pt x="57" y="188"/>
                  </a:lnTo>
                  <a:lnTo>
                    <a:pt x="55" y="177"/>
                  </a:lnTo>
                  <a:lnTo>
                    <a:pt x="51" y="163"/>
                  </a:lnTo>
                  <a:lnTo>
                    <a:pt x="49" y="162"/>
                  </a:lnTo>
                  <a:lnTo>
                    <a:pt x="48" y="160"/>
                  </a:lnTo>
                  <a:lnTo>
                    <a:pt x="36" y="158"/>
                  </a:lnTo>
                  <a:lnTo>
                    <a:pt x="23" y="154"/>
                  </a:lnTo>
                  <a:lnTo>
                    <a:pt x="21" y="152"/>
                  </a:lnTo>
                  <a:lnTo>
                    <a:pt x="19" y="150"/>
                  </a:lnTo>
                  <a:lnTo>
                    <a:pt x="11" y="133"/>
                  </a:lnTo>
                  <a:lnTo>
                    <a:pt x="3" y="115"/>
                  </a:lnTo>
                  <a:lnTo>
                    <a:pt x="1" y="114"/>
                  </a:lnTo>
                  <a:lnTo>
                    <a:pt x="0" y="112"/>
                  </a:lnTo>
                  <a:lnTo>
                    <a:pt x="3" y="100"/>
                  </a:lnTo>
                  <a:lnTo>
                    <a:pt x="9" y="91"/>
                  </a:lnTo>
                  <a:lnTo>
                    <a:pt x="11" y="89"/>
                  </a:lnTo>
                  <a:lnTo>
                    <a:pt x="13" y="87"/>
                  </a:lnTo>
                  <a:lnTo>
                    <a:pt x="21" y="85"/>
                  </a:lnTo>
                  <a:lnTo>
                    <a:pt x="28" y="81"/>
                  </a:lnTo>
                  <a:lnTo>
                    <a:pt x="30" y="79"/>
                  </a:lnTo>
                  <a:lnTo>
                    <a:pt x="34" y="77"/>
                  </a:lnTo>
                  <a:lnTo>
                    <a:pt x="46" y="75"/>
                  </a:lnTo>
                  <a:lnTo>
                    <a:pt x="57" y="71"/>
                  </a:lnTo>
                  <a:lnTo>
                    <a:pt x="59" y="69"/>
                  </a:lnTo>
                  <a:lnTo>
                    <a:pt x="63" y="68"/>
                  </a:lnTo>
                  <a:lnTo>
                    <a:pt x="74" y="66"/>
                  </a:lnTo>
                  <a:lnTo>
                    <a:pt x="86" y="62"/>
                  </a:lnTo>
                  <a:lnTo>
                    <a:pt x="88" y="60"/>
                  </a:lnTo>
                  <a:lnTo>
                    <a:pt x="92" y="58"/>
                  </a:lnTo>
                  <a:lnTo>
                    <a:pt x="97" y="44"/>
                  </a:lnTo>
                  <a:lnTo>
                    <a:pt x="105" y="33"/>
                  </a:lnTo>
                  <a:lnTo>
                    <a:pt x="107" y="31"/>
                  </a:lnTo>
                  <a:lnTo>
                    <a:pt x="111" y="29"/>
                  </a:lnTo>
                  <a:lnTo>
                    <a:pt x="120" y="29"/>
                  </a:lnTo>
                  <a:lnTo>
                    <a:pt x="130" y="29"/>
                  </a:lnTo>
                  <a:lnTo>
                    <a:pt x="132" y="31"/>
                  </a:lnTo>
                  <a:lnTo>
                    <a:pt x="134" y="33"/>
                  </a:lnTo>
                  <a:lnTo>
                    <a:pt x="138" y="37"/>
                  </a:lnTo>
                  <a:lnTo>
                    <a:pt x="143" y="37"/>
                  </a:lnTo>
                  <a:lnTo>
                    <a:pt x="151" y="37"/>
                  </a:lnTo>
                  <a:lnTo>
                    <a:pt x="155" y="33"/>
                  </a:lnTo>
                  <a:lnTo>
                    <a:pt x="157" y="31"/>
                  </a:lnTo>
                  <a:lnTo>
                    <a:pt x="159" y="29"/>
                  </a:lnTo>
                  <a:lnTo>
                    <a:pt x="161" y="21"/>
                  </a:lnTo>
                  <a:lnTo>
                    <a:pt x="163" y="14"/>
                  </a:lnTo>
                  <a:lnTo>
                    <a:pt x="166" y="12"/>
                  </a:lnTo>
                  <a:lnTo>
                    <a:pt x="168" y="10"/>
                  </a:lnTo>
                  <a:lnTo>
                    <a:pt x="170" y="6"/>
                  </a:lnTo>
                  <a:lnTo>
                    <a:pt x="172" y="4"/>
                  </a:lnTo>
                  <a:lnTo>
                    <a:pt x="176" y="2"/>
                  </a:lnTo>
                  <a:lnTo>
                    <a:pt x="178" y="0"/>
                  </a:lnTo>
                  <a:lnTo>
                    <a:pt x="193" y="0"/>
                  </a:lnTo>
                  <a:lnTo>
                    <a:pt x="209" y="2"/>
                  </a:lnTo>
                  <a:lnTo>
                    <a:pt x="226" y="2"/>
                  </a:lnTo>
                  <a:lnTo>
                    <a:pt x="241" y="4"/>
                  </a:lnTo>
                  <a:lnTo>
                    <a:pt x="243" y="2"/>
                  </a:lnTo>
                  <a:lnTo>
                    <a:pt x="245" y="0"/>
                  </a:lnTo>
                  <a:lnTo>
                    <a:pt x="251" y="0"/>
                  </a:lnTo>
                  <a:lnTo>
                    <a:pt x="255" y="0"/>
                  </a:lnTo>
                  <a:lnTo>
                    <a:pt x="257" y="2"/>
                  </a:lnTo>
                  <a:lnTo>
                    <a:pt x="260" y="4"/>
                  </a:lnTo>
                  <a:lnTo>
                    <a:pt x="262" y="6"/>
                  </a:lnTo>
                  <a:lnTo>
                    <a:pt x="264" y="10"/>
                  </a:lnTo>
                  <a:lnTo>
                    <a:pt x="268" y="12"/>
                  </a:lnTo>
                  <a:lnTo>
                    <a:pt x="270" y="14"/>
                  </a:lnTo>
                  <a:lnTo>
                    <a:pt x="272" y="16"/>
                  </a:lnTo>
                  <a:lnTo>
                    <a:pt x="274" y="20"/>
                  </a:lnTo>
                  <a:lnTo>
                    <a:pt x="278" y="21"/>
                  </a:lnTo>
                  <a:lnTo>
                    <a:pt x="280" y="23"/>
                  </a:lnTo>
                  <a:lnTo>
                    <a:pt x="297" y="25"/>
                  </a:lnTo>
                  <a:lnTo>
                    <a:pt x="314" y="29"/>
                  </a:lnTo>
                  <a:lnTo>
                    <a:pt x="316" y="31"/>
                  </a:lnTo>
                  <a:lnTo>
                    <a:pt x="318" y="33"/>
                  </a:lnTo>
                  <a:lnTo>
                    <a:pt x="320" y="41"/>
                  </a:lnTo>
                  <a:lnTo>
                    <a:pt x="324" y="48"/>
                  </a:lnTo>
                  <a:lnTo>
                    <a:pt x="326" y="50"/>
                  </a:lnTo>
                  <a:lnTo>
                    <a:pt x="328" y="52"/>
                  </a:lnTo>
                  <a:lnTo>
                    <a:pt x="330" y="54"/>
                  </a:lnTo>
                  <a:lnTo>
                    <a:pt x="333" y="58"/>
                  </a:lnTo>
                  <a:lnTo>
                    <a:pt x="335" y="60"/>
                  </a:lnTo>
                  <a:lnTo>
                    <a:pt x="337" y="62"/>
                  </a:lnTo>
                  <a:lnTo>
                    <a:pt x="337" y="68"/>
                  </a:lnTo>
                  <a:lnTo>
                    <a:pt x="337" y="71"/>
                  </a:lnTo>
                  <a:lnTo>
                    <a:pt x="335" y="75"/>
                  </a:lnTo>
                  <a:lnTo>
                    <a:pt x="333" y="77"/>
                  </a:lnTo>
                  <a:lnTo>
                    <a:pt x="330" y="79"/>
                  </a:lnTo>
                  <a:lnTo>
                    <a:pt x="328" y="81"/>
                  </a:lnTo>
                  <a:lnTo>
                    <a:pt x="326" y="85"/>
                  </a:lnTo>
                  <a:lnTo>
                    <a:pt x="324" y="87"/>
                  </a:lnTo>
                  <a:lnTo>
                    <a:pt x="318" y="87"/>
                  </a:lnTo>
                  <a:lnTo>
                    <a:pt x="314" y="87"/>
                  </a:lnTo>
                  <a:lnTo>
                    <a:pt x="310" y="85"/>
                  </a:lnTo>
                  <a:lnTo>
                    <a:pt x="308" y="81"/>
                  </a:lnTo>
                  <a:lnTo>
                    <a:pt x="303" y="81"/>
                  </a:lnTo>
                  <a:lnTo>
                    <a:pt x="299" y="81"/>
                  </a:lnTo>
                  <a:lnTo>
                    <a:pt x="297" y="85"/>
                  </a:lnTo>
                  <a:lnTo>
                    <a:pt x="295" y="87"/>
                  </a:lnTo>
                  <a:lnTo>
                    <a:pt x="287" y="89"/>
                  </a:lnTo>
                  <a:lnTo>
                    <a:pt x="280" y="91"/>
                  </a:lnTo>
                  <a:lnTo>
                    <a:pt x="278" y="94"/>
                  </a:lnTo>
                  <a:lnTo>
                    <a:pt x="274" y="96"/>
                  </a:lnTo>
                  <a:lnTo>
                    <a:pt x="272" y="98"/>
                  </a:lnTo>
                  <a:lnTo>
                    <a:pt x="270" y="102"/>
                  </a:lnTo>
                  <a:lnTo>
                    <a:pt x="268" y="104"/>
                  </a:lnTo>
                  <a:lnTo>
                    <a:pt x="264" y="106"/>
                  </a:lnTo>
                  <a:lnTo>
                    <a:pt x="255" y="106"/>
                  </a:lnTo>
                  <a:lnTo>
                    <a:pt x="245" y="106"/>
                  </a:lnTo>
                  <a:lnTo>
                    <a:pt x="243" y="104"/>
                  </a:lnTo>
                  <a:lnTo>
                    <a:pt x="241" y="102"/>
                  </a:lnTo>
                  <a:lnTo>
                    <a:pt x="236" y="102"/>
                  </a:lnTo>
                  <a:lnTo>
                    <a:pt x="232" y="102"/>
                  </a:lnTo>
                  <a:lnTo>
                    <a:pt x="228" y="104"/>
                  </a:lnTo>
                  <a:lnTo>
                    <a:pt x="226" y="106"/>
                  </a:lnTo>
                  <a:lnTo>
                    <a:pt x="218" y="108"/>
                  </a:lnTo>
                  <a:lnTo>
                    <a:pt x="213" y="112"/>
                  </a:lnTo>
                  <a:lnTo>
                    <a:pt x="209" y="114"/>
                  </a:lnTo>
                  <a:lnTo>
                    <a:pt x="207" y="115"/>
                  </a:lnTo>
                  <a:lnTo>
                    <a:pt x="205" y="142"/>
                  </a:lnTo>
                  <a:lnTo>
                    <a:pt x="203" y="169"/>
                  </a:lnTo>
                  <a:lnTo>
                    <a:pt x="199" y="171"/>
                  </a:lnTo>
                  <a:lnTo>
                    <a:pt x="197" y="173"/>
                  </a:lnTo>
                  <a:lnTo>
                    <a:pt x="189" y="173"/>
                  </a:lnTo>
                  <a:lnTo>
                    <a:pt x="184" y="173"/>
                  </a:lnTo>
                  <a:lnTo>
                    <a:pt x="184" y="186"/>
                  </a:lnTo>
                  <a:lnTo>
                    <a:pt x="184" y="198"/>
                  </a:lnTo>
                  <a:lnTo>
                    <a:pt x="180" y="200"/>
                  </a:lnTo>
                  <a:lnTo>
                    <a:pt x="178" y="202"/>
                  </a:lnTo>
                  <a:lnTo>
                    <a:pt x="176" y="206"/>
                  </a:lnTo>
                  <a:lnTo>
                    <a:pt x="172" y="208"/>
                  </a:lnTo>
                  <a:lnTo>
                    <a:pt x="170" y="210"/>
                  </a:lnTo>
                  <a:lnTo>
                    <a:pt x="168" y="213"/>
                  </a:lnTo>
                  <a:lnTo>
                    <a:pt x="166" y="219"/>
                  </a:lnTo>
                  <a:lnTo>
                    <a:pt x="163" y="227"/>
                  </a:lnTo>
                  <a:lnTo>
                    <a:pt x="161" y="229"/>
                  </a:lnTo>
                  <a:lnTo>
                    <a:pt x="159" y="233"/>
                  </a:lnTo>
                  <a:lnTo>
                    <a:pt x="157" y="229"/>
                  </a:lnTo>
                  <a:lnTo>
                    <a:pt x="155" y="227"/>
                  </a:lnTo>
                  <a:lnTo>
                    <a:pt x="151" y="225"/>
                  </a:lnTo>
                  <a:lnTo>
                    <a:pt x="149" y="223"/>
                  </a:lnTo>
                  <a:lnTo>
                    <a:pt x="147" y="219"/>
                  </a:lnTo>
                  <a:lnTo>
                    <a:pt x="143" y="217"/>
                  </a:lnTo>
                  <a:lnTo>
                    <a:pt x="134" y="217"/>
                  </a:lnTo>
                  <a:lnTo>
                    <a:pt x="124" y="217"/>
                  </a:lnTo>
                  <a:lnTo>
                    <a:pt x="122" y="219"/>
                  </a:lnTo>
                  <a:lnTo>
                    <a:pt x="120" y="223"/>
                  </a:lnTo>
                  <a:lnTo>
                    <a:pt x="109" y="227"/>
                  </a:lnTo>
                  <a:lnTo>
                    <a:pt x="95" y="233"/>
                  </a:lnTo>
                  <a:lnTo>
                    <a:pt x="92" y="233"/>
                  </a:lnTo>
                  <a:lnTo>
                    <a:pt x="86" y="233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5" name="Freeform 325">
              <a:extLst>
                <a:ext uri="{FF2B5EF4-FFF2-40B4-BE49-F238E27FC236}">
                  <a16:creationId xmlns:a16="http://schemas.microsoft.com/office/drawing/2014/main" xmlns="" id="{C2C270FE-3D3E-7449-866A-7BC89F548B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1525" y="4132078"/>
              <a:ext cx="254000" cy="188913"/>
            </a:xfrm>
            <a:custGeom>
              <a:avLst/>
              <a:gdLst>
                <a:gd name="T0" fmla="*/ 2147483647 w 163"/>
                <a:gd name="T1" fmla="*/ 2147483647 h 127"/>
                <a:gd name="T2" fmla="*/ 2147483647 w 163"/>
                <a:gd name="T3" fmla="*/ 2147483647 h 127"/>
                <a:gd name="T4" fmla="*/ 2147483647 w 163"/>
                <a:gd name="T5" fmla="*/ 2147483647 h 127"/>
                <a:gd name="T6" fmla="*/ 2147483647 w 163"/>
                <a:gd name="T7" fmla="*/ 2147483647 h 127"/>
                <a:gd name="T8" fmla="*/ 2147483647 w 163"/>
                <a:gd name="T9" fmla="*/ 2147483647 h 127"/>
                <a:gd name="T10" fmla="*/ 2147483647 w 163"/>
                <a:gd name="T11" fmla="*/ 2147483647 h 127"/>
                <a:gd name="T12" fmla="*/ 2147483647 w 163"/>
                <a:gd name="T13" fmla="*/ 2147483647 h 127"/>
                <a:gd name="T14" fmla="*/ 2147483647 w 163"/>
                <a:gd name="T15" fmla="*/ 2147483647 h 127"/>
                <a:gd name="T16" fmla="*/ 2147483647 w 163"/>
                <a:gd name="T17" fmla="*/ 2147483647 h 127"/>
                <a:gd name="T18" fmla="*/ 2147483647 w 163"/>
                <a:gd name="T19" fmla="*/ 2147483647 h 127"/>
                <a:gd name="T20" fmla="*/ 2147483647 w 163"/>
                <a:gd name="T21" fmla="*/ 2147483647 h 127"/>
                <a:gd name="T22" fmla="*/ 2147483647 w 163"/>
                <a:gd name="T23" fmla="*/ 2147483647 h 127"/>
                <a:gd name="T24" fmla="*/ 0 w 163"/>
                <a:gd name="T25" fmla="*/ 2147483647 h 127"/>
                <a:gd name="T26" fmla="*/ 2147483647 w 163"/>
                <a:gd name="T27" fmla="*/ 2147483647 h 127"/>
                <a:gd name="T28" fmla="*/ 2147483647 w 163"/>
                <a:gd name="T29" fmla="*/ 2147483647 h 127"/>
                <a:gd name="T30" fmla="*/ 2147483647 w 163"/>
                <a:gd name="T31" fmla="*/ 2147483647 h 127"/>
                <a:gd name="T32" fmla="*/ 2147483647 w 163"/>
                <a:gd name="T33" fmla="*/ 2147483647 h 127"/>
                <a:gd name="T34" fmla="*/ 2147483647 w 163"/>
                <a:gd name="T35" fmla="*/ 2147483647 h 127"/>
                <a:gd name="T36" fmla="*/ 2147483647 w 163"/>
                <a:gd name="T37" fmla="*/ 2147483647 h 127"/>
                <a:gd name="T38" fmla="*/ 2147483647 w 163"/>
                <a:gd name="T39" fmla="*/ 2147483647 h 127"/>
                <a:gd name="T40" fmla="*/ 2147483647 w 163"/>
                <a:gd name="T41" fmla="*/ 2147483647 h 127"/>
                <a:gd name="T42" fmla="*/ 2147483647 w 163"/>
                <a:gd name="T43" fmla="*/ 2147483647 h 127"/>
                <a:gd name="T44" fmla="*/ 2147483647 w 163"/>
                <a:gd name="T45" fmla="*/ 2147483647 h 127"/>
                <a:gd name="T46" fmla="*/ 2147483647 w 163"/>
                <a:gd name="T47" fmla="*/ 2147483647 h 127"/>
                <a:gd name="T48" fmla="*/ 2147483647 w 163"/>
                <a:gd name="T49" fmla="*/ 2147483647 h 127"/>
                <a:gd name="T50" fmla="*/ 2147483647 w 163"/>
                <a:gd name="T51" fmla="*/ 2147483647 h 127"/>
                <a:gd name="T52" fmla="*/ 2147483647 w 163"/>
                <a:gd name="T53" fmla="*/ 2147483647 h 127"/>
                <a:gd name="T54" fmla="*/ 2147483647 w 163"/>
                <a:gd name="T55" fmla="*/ 2147483647 h 127"/>
                <a:gd name="T56" fmla="*/ 2147483647 w 163"/>
                <a:gd name="T57" fmla="*/ 2147483647 h 127"/>
                <a:gd name="T58" fmla="*/ 2147483647 w 163"/>
                <a:gd name="T59" fmla="*/ 2147483647 h 127"/>
                <a:gd name="T60" fmla="*/ 2147483647 w 163"/>
                <a:gd name="T61" fmla="*/ 2147483647 h 127"/>
                <a:gd name="T62" fmla="*/ 2147483647 w 163"/>
                <a:gd name="T63" fmla="*/ 2147483647 h 127"/>
                <a:gd name="T64" fmla="*/ 2147483647 w 163"/>
                <a:gd name="T65" fmla="*/ 2147483647 h 127"/>
                <a:gd name="T66" fmla="*/ 2147483647 w 163"/>
                <a:gd name="T67" fmla="*/ 2147483647 h 127"/>
                <a:gd name="T68" fmla="*/ 2147483647 w 163"/>
                <a:gd name="T69" fmla="*/ 2147483647 h 127"/>
                <a:gd name="T70" fmla="*/ 2147483647 w 163"/>
                <a:gd name="T71" fmla="*/ 2147483647 h 127"/>
                <a:gd name="T72" fmla="*/ 2147483647 w 163"/>
                <a:gd name="T73" fmla="*/ 2147483647 h 127"/>
                <a:gd name="T74" fmla="*/ 2147483647 w 163"/>
                <a:gd name="T75" fmla="*/ 2147483647 h 127"/>
                <a:gd name="T76" fmla="*/ 2147483647 w 163"/>
                <a:gd name="T77" fmla="*/ 2147483647 h 127"/>
                <a:gd name="T78" fmla="*/ 2147483647 w 163"/>
                <a:gd name="T79" fmla="*/ 2147483647 h 127"/>
                <a:gd name="T80" fmla="*/ 2147483647 w 163"/>
                <a:gd name="T81" fmla="*/ 2147483647 h 1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63"/>
                <a:gd name="T124" fmla="*/ 0 h 127"/>
                <a:gd name="T125" fmla="*/ 163 w 163"/>
                <a:gd name="T126" fmla="*/ 127 h 1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63" h="127">
                  <a:moveTo>
                    <a:pt x="82" y="127"/>
                  </a:moveTo>
                  <a:lnTo>
                    <a:pt x="78" y="123"/>
                  </a:lnTo>
                  <a:lnTo>
                    <a:pt x="76" y="121"/>
                  </a:lnTo>
                  <a:lnTo>
                    <a:pt x="74" y="113"/>
                  </a:lnTo>
                  <a:lnTo>
                    <a:pt x="70" y="107"/>
                  </a:lnTo>
                  <a:lnTo>
                    <a:pt x="69" y="104"/>
                  </a:lnTo>
                  <a:lnTo>
                    <a:pt x="67" y="102"/>
                  </a:lnTo>
                  <a:lnTo>
                    <a:pt x="61" y="100"/>
                  </a:lnTo>
                  <a:lnTo>
                    <a:pt x="57" y="96"/>
                  </a:lnTo>
                  <a:lnTo>
                    <a:pt x="57" y="86"/>
                  </a:lnTo>
                  <a:lnTo>
                    <a:pt x="57" y="79"/>
                  </a:lnTo>
                  <a:lnTo>
                    <a:pt x="51" y="73"/>
                  </a:lnTo>
                  <a:lnTo>
                    <a:pt x="47" y="67"/>
                  </a:lnTo>
                  <a:lnTo>
                    <a:pt x="47" y="61"/>
                  </a:lnTo>
                  <a:lnTo>
                    <a:pt x="46" y="59"/>
                  </a:lnTo>
                  <a:lnTo>
                    <a:pt x="40" y="57"/>
                  </a:lnTo>
                  <a:lnTo>
                    <a:pt x="28" y="57"/>
                  </a:lnTo>
                  <a:lnTo>
                    <a:pt x="28" y="63"/>
                  </a:lnTo>
                  <a:lnTo>
                    <a:pt x="28" y="67"/>
                  </a:lnTo>
                  <a:lnTo>
                    <a:pt x="23" y="67"/>
                  </a:lnTo>
                  <a:lnTo>
                    <a:pt x="19" y="67"/>
                  </a:lnTo>
                  <a:lnTo>
                    <a:pt x="19" y="61"/>
                  </a:lnTo>
                  <a:lnTo>
                    <a:pt x="17" y="59"/>
                  </a:lnTo>
                  <a:lnTo>
                    <a:pt x="9" y="57"/>
                  </a:lnTo>
                  <a:lnTo>
                    <a:pt x="0" y="57"/>
                  </a:lnTo>
                  <a:lnTo>
                    <a:pt x="0" y="36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3" y="9"/>
                  </a:lnTo>
                  <a:lnTo>
                    <a:pt x="11" y="8"/>
                  </a:lnTo>
                  <a:lnTo>
                    <a:pt x="19" y="6"/>
                  </a:lnTo>
                  <a:lnTo>
                    <a:pt x="21" y="2"/>
                  </a:lnTo>
                  <a:lnTo>
                    <a:pt x="23" y="0"/>
                  </a:lnTo>
                  <a:lnTo>
                    <a:pt x="26" y="2"/>
                  </a:lnTo>
                  <a:lnTo>
                    <a:pt x="28" y="6"/>
                  </a:lnTo>
                  <a:lnTo>
                    <a:pt x="40" y="8"/>
                  </a:lnTo>
                  <a:lnTo>
                    <a:pt x="51" y="9"/>
                  </a:lnTo>
                  <a:lnTo>
                    <a:pt x="55" y="11"/>
                  </a:lnTo>
                  <a:lnTo>
                    <a:pt x="57" y="13"/>
                  </a:lnTo>
                  <a:lnTo>
                    <a:pt x="59" y="17"/>
                  </a:lnTo>
                  <a:lnTo>
                    <a:pt x="61" y="19"/>
                  </a:lnTo>
                  <a:lnTo>
                    <a:pt x="65" y="21"/>
                  </a:lnTo>
                  <a:lnTo>
                    <a:pt x="67" y="25"/>
                  </a:lnTo>
                  <a:lnTo>
                    <a:pt x="74" y="27"/>
                  </a:lnTo>
                  <a:lnTo>
                    <a:pt x="82" y="29"/>
                  </a:lnTo>
                  <a:lnTo>
                    <a:pt x="84" y="31"/>
                  </a:lnTo>
                  <a:lnTo>
                    <a:pt x="86" y="34"/>
                  </a:lnTo>
                  <a:lnTo>
                    <a:pt x="94" y="36"/>
                  </a:lnTo>
                  <a:lnTo>
                    <a:pt x="101" y="38"/>
                  </a:lnTo>
                  <a:lnTo>
                    <a:pt x="103" y="40"/>
                  </a:lnTo>
                  <a:lnTo>
                    <a:pt x="105" y="44"/>
                  </a:lnTo>
                  <a:lnTo>
                    <a:pt x="117" y="46"/>
                  </a:lnTo>
                  <a:lnTo>
                    <a:pt x="130" y="48"/>
                  </a:lnTo>
                  <a:lnTo>
                    <a:pt x="132" y="52"/>
                  </a:lnTo>
                  <a:lnTo>
                    <a:pt x="134" y="54"/>
                  </a:lnTo>
                  <a:lnTo>
                    <a:pt x="141" y="56"/>
                  </a:lnTo>
                  <a:lnTo>
                    <a:pt x="149" y="57"/>
                  </a:lnTo>
                  <a:lnTo>
                    <a:pt x="151" y="59"/>
                  </a:lnTo>
                  <a:lnTo>
                    <a:pt x="153" y="63"/>
                  </a:lnTo>
                  <a:lnTo>
                    <a:pt x="155" y="69"/>
                  </a:lnTo>
                  <a:lnTo>
                    <a:pt x="159" y="79"/>
                  </a:lnTo>
                  <a:lnTo>
                    <a:pt x="161" y="80"/>
                  </a:lnTo>
                  <a:lnTo>
                    <a:pt x="163" y="82"/>
                  </a:lnTo>
                  <a:lnTo>
                    <a:pt x="163" y="102"/>
                  </a:lnTo>
                  <a:lnTo>
                    <a:pt x="163" y="121"/>
                  </a:lnTo>
                  <a:lnTo>
                    <a:pt x="161" y="123"/>
                  </a:lnTo>
                  <a:lnTo>
                    <a:pt x="159" y="127"/>
                  </a:lnTo>
                  <a:lnTo>
                    <a:pt x="155" y="123"/>
                  </a:lnTo>
                  <a:lnTo>
                    <a:pt x="153" y="121"/>
                  </a:lnTo>
                  <a:lnTo>
                    <a:pt x="141" y="119"/>
                  </a:lnTo>
                  <a:lnTo>
                    <a:pt x="130" y="117"/>
                  </a:lnTo>
                  <a:lnTo>
                    <a:pt x="126" y="113"/>
                  </a:lnTo>
                  <a:lnTo>
                    <a:pt x="124" y="111"/>
                  </a:lnTo>
                  <a:lnTo>
                    <a:pt x="115" y="111"/>
                  </a:lnTo>
                  <a:lnTo>
                    <a:pt x="105" y="111"/>
                  </a:lnTo>
                  <a:lnTo>
                    <a:pt x="103" y="113"/>
                  </a:lnTo>
                  <a:lnTo>
                    <a:pt x="101" y="117"/>
                  </a:lnTo>
                  <a:lnTo>
                    <a:pt x="97" y="119"/>
                  </a:lnTo>
                  <a:lnTo>
                    <a:pt x="95" y="121"/>
                  </a:lnTo>
                  <a:lnTo>
                    <a:pt x="94" y="123"/>
                  </a:lnTo>
                  <a:lnTo>
                    <a:pt x="92" y="127"/>
                  </a:lnTo>
                  <a:lnTo>
                    <a:pt x="86" y="127"/>
                  </a:lnTo>
                  <a:lnTo>
                    <a:pt x="82" y="127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6" name="Freeform 326">
              <a:extLst>
                <a:ext uri="{FF2B5EF4-FFF2-40B4-BE49-F238E27FC236}">
                  <a16:creationId xmlns:a16="http://schemas.microsoft.com/office/drawing/2014/main" xmlns="" id="{C97FED23-34D4-1F42-BBE0-055B514F54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663" y="4260666"/>
              <a:ext cx="346075" cy="334962"/>
            </a:xfrm>
            <a:custGeom>
              <a:avLst/>
              <a:gdLst>
                <a:gd name="T0" fmla="*/ 2147483647 w 223"/>
                <a:gd name="T1" fmla="*/ 2147483647 h 223"/>
                <a:gd name="T2" fmla="*/ 2147483647 w 223"/>
                <a:gd name="T3" fmla="*/ 2147483647 h 223"/>
                <a:gd name="T4" fmla="*/ 2147483647 w 223"/>
                <a:gd name="T5" fmla="*/ 2147483647 h 223"/>
                <a:gd name="T6" fmla="*/ 2147483647 w 223"/>
                <a:gd name="T7" fmla="*/ 2147483647 h 223"/>
                <a:gd name="T8" fmla="*/ 2147483647 w 223"/>
                <a:gd name="T9" fmla="*/ 2147483647 h 223"/>
                <a:gd name="T10" fmla="*/ 2147483647 w 223"/>
                <a:gd name="T11" fmla="*/ 2147483647 h 223"/>
                <a:gd name="T12" fmla="*/ 2147483647 w 223"/>
                <a:gd name="T13" fmla="*/ 2147483647 h 223"/>
                <a:gd name="T14" fmla="*/ 2147483647 w 223"/>
                <a:gd name="T15" fmla="*/ 2147483647 h 223"/>
                <a:gd name="T16" fmla="*/ 2147483647 w 223"/>
                <a:gd name="T17" fmla="*/ 2147483647 h 223"/>
                <a:gd name="T18" fmla="*/ 2147483647 w 223"/>
                <a:gd name="T19" fmla="*/ 2147483647 h 223"/>
                <a:gd name="T20" fmla="*/ 2147483647 w 223"/>
                <a:gd name="T21" fmla="*/ 2147483647 h 223"/>
                <a:gd name="T22" fmla="*/ 2147483647 w 223"/>
                <a:gd name="T23" fmla="*/ 2147483647 h 223"/>
                <a:gd name="T24" fmla="*/ 2147483647 w 223"/>
                <a:gd name="T25" fmla="*/ 2147483647 h 223"/>
                <a:gd name="T26" fmla="*/ 2147483647 w 223"/>
                <a:gd name="T27" fmla="*/ 2147483647 h 223"/>
                <a:gd name="T28" fmla="*/ 2147483647 w 223"/>
                <a:gd name="T29" fmla="*/ 2147483647 h 223"/>
                <a:gd name="T30" fmla="*/ 2147483647 w 223"/>
                <a:gd name="T31" fmla="*/ 2147483647 h 223"/>
                <a:gd name="T32" fmla="*/ 2147483647 w 223"/>
                <a:gd name="T33" fmla="*/ 2147483647 h 223"/>
                <a:gd name="T34" fmla="*/ 2147483647 w 223"/>
                <a:gd name="T35" fmla="*/ 2147483647 h 223"/>
                <a:gd name="T36" fmla="*/ 2147483647 w 223"/>
                <a:gd name="T37" fmla="*/ 2147483647 h 223"/>
                <a:gd name="T38" fmla="*/ 2147483647 w 223"/>
                <a:gd name="T39" fmla="*/ 2147483647 h 223"/>
                <a:gd name="T40" fmla="*/ 2147483647 w 223"/>
                <a:gd name="T41" fmla="*/ 2147483647 h 223"/>
                <a:gd name="T42" fmla="*/ 2147483647 w 223"/>
                <a:gd name="T43" fmla="*/ 2147483647 h 223"/>
                <a:gd name="T44" fmla="*/ 2147483647 w 223"/>
                <a:gd name="T45" fmla="*/ 2147483647 h 223"/>
                <a:gd name="T46" fmla="*/ 2147483647 w 223"/>
                <a:gd name="T47" fmla="*/ 2147483647 h 223"/>
                <a:gd name="T48" fmla="*/ 2147483647 w 223"/>
                <a:gd name="T49" fmla="*/ 0 h 223"/>
                <a:gd name="T50" fmla="*/ 2147483647 w 223"/>
                <a:gd name="T51" fmla="*/ 2147483647 h 223"/>
                <a:gd name="T52" fmla="*/ 2147483647 w 223"/>
                <a:gd name="T53" fmla="*/ 2147483647 h 223"/>
                <a:gd name="T54" fmla="*/ 2147483647 w 223"/>
                <a:gd name="T55" fmla="*/ 2147483647 h 223"/>
                <a:gd name="T56" fmla="*/ 2147483647 w 223"/>
                <a:gd name="T57" fmla="*/ 2147483647 h 223"/>
                <a:gd name="T58" fmla="*/ 2147483647 w 223"/>
                <a:gd name="T59" fmla="*/ 2147483647 h 223"/>
                <a:gd name="T60" fmla="*/ 2147483647 w 223"/>
                <a:gd name="T61" fmla="*/ 2147483647 h 223"/>
                <a:gd name="T62" fmla="*/ 2147483647 w 223"/>
                <a:gd name="T63" fmla="*/ 2147483647 h 223"/>
                <a:gd name="T64" fmla="*/ 2147483647 w 223"/>
                <a:gd name="T65" fmla="*/ 2147483647 h 223"/>
                <a:gd name="T66" fmla="*/ 2147483647 w 223"/>
                <a:gd name="T67" fmla="*/ 2147483647 h 223"/>
                <a:gd name="T68" fmla="*/ 2147483647 w 223"/>
                <a:gd name="T69" fmla="*/ 2147483647 h 223"/>
                <a:gd name="T70" fmla="*/ 2147483647 w 223"/>
                <a:gd name="T71" fmla="*/ 2147483647 h 223"/>
                <a:gd name="T72" fmla="*/ 2147483647 w 223"/>
                <a:gd name="T73" fmla="*/ 2147483647 h 223"/>
                <a:gd name="T74" fmla="*/ 2147483647 w 223"/>
                <a:gd name="T75" fmla="*/ 2147483647 h 223"/>
                <a:gd name="T76" fmla="*/ 2147483647 w 223"/>
                <a:gd name="T77" fmla="*/ 2147483647 h 223"/>
                <a:gd name="T78" fmla="*/ 2147483647 w 223"/>
                <a:gd name="T79" fmla="*/ 2147483647 h 223"/>
                <a:gd name="T80" fmla="*/ 2147483647 w 223"/>
                <a:gd name="T81" fmla="*/ 2147483647 h 223"/>
                <a:gd name="T82" fmla="*/ 2147483647 w 223"/>
                <a:gd name="T83" fmla="*/ 2147483647 h 223"/>
                <a:gd name="T84" fmla="*/ 2147483647 w 223"/>
                <a:gd name="T85" fmla="*/ 2147483647 h 223"/>
                <a:gd name="T86" fmla="*/ 2147483647 w 223"/>
                <a:gd name="T87" fmla="*/ 2147483647 h 223"/>
                <a:gd name="T88" fmla="*/ 2147483647 w 223"/>
                <a:gd name="T89" fmla="*/ 2147483647 h 223"/>
                <a:gd name="T90" fmla="*/ 2147483647 w 223"/>
                <a:gd name="T91" fmla="*/ 2147483647 h 223"/>
                <a:gd name="T92" fmla="*/ 2147483647 w 223"/>
                <a:gd name="T93" fmla="*/ 2147483647 h 223"/>
                <a:gd name="T94" fmla="*/ 2147483647 w 223"/>
                <a:gd name="T95" fmla="*/ 2147483647 h 223"/>
                <a:gd name="T96" fmla="*/ 2147483647 w 223"/>
                <a:gd name="T97" fmla="*/ 2147483647 h 223"/>
                <a:gd name="T98" fmla="*/ 2147483647 w 223"/>
                <a:gd name="T99" fmla="*/ 2147483647 h 223"/>
                <a:gd name="T100" fmla="*/ 2147483647 w 223"/>
                <a:gd name="T101" fmla="*/ 2147483647 h 223"/>
                <a:gd name="T102" fmla="*/ 2147483647 w 223"/>
                <a:gd name="T103" fmla="*/ 2147483647 h 223"/>
                <a:gd name="T104" fmla="*/ 2147483647 w 223"/>
                <a:gd name="T105" fmla="*/ 2147483647 h 223"/>
                <a:gd name="T106" fmla="*/ 2147483647 w 223"/>
                <a:gd name="T107" fmla="*/ 2147483647 h 223"/>
                <a:gd name="T108" fmla="*/ 2147483647 w 223"/>
                <a:gd name="T109" fmla="*/ 2147483647 h 223"/>
                <a:gd name="T110" fmla="*/ 2147483647 w 223"/>
                <a:gd name="T111" fmla="*/ 2147483647 h 223"/>
                <a:gd name="T112" fmla="*/ 2147483647 w 223"/>
                <a:gd name="T113" fmla="*/ 2147483647 h 223"/>
                <a:gd name="T114" fmla="*/ 2147483647 w 223"/>
                <a:gd name="T115" fmla="*/ 2147483647 h 223"/>
                <a:gd name="T116" fmla="*/ 2147483647 w 223"/>
                <a:gd name="T117" fmla="*/ 2147483647 h 223"/>
                <a:gd name="T118" fmla="*/ 2147483647 w 223"/>
                <a:gd name="T119" fmla="*/ 2147483647 h 223"/>
                <a:gd name="T120" fmla="*/ 2147483647 w 223"/>
                <a:gd name="T121" fmla="*/ 2147483647 h 223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23"/>
                <a:gd name="T184" fmla="*/ 0 h 223"/>
                <a:gd name="T185" fmla="*/ 223 w 223"/>
                <a:gd name="T186" fmla="*/ 223 h 223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23" h="223">
                  <a:moveTo>
                    <a:pt x="54" y="223"/>
                  </a:moveTo>
                  <a:lnTo>
                    <a:pt x="52" y="221"/>
                  </a:lnTo>
                  <a:lnTo>
                    <a:pt x="48" y="219"/>
                  </a:lnTo>
                  <a:lnTo>
                    <a:pt x="40" y="215"/>
                  </a:lnTo>
                  <a:lnTo>
                    <a:pt x="35" y="213"/>
                  </a:lnTo>
                  <a:lnTo>
                    <a:pt x="31" y="211"/>
                  </a:lnTo>
                  <a:lnTo>
                    <a:pt x="29" y="209"/>
                  </a:lnTo>
                  <a:lnTo>
                    <a:pt x="25" y="206"/>
                  </a:lnTo>
                  <a:lnTo>
                    <a:pt x="19" y="204"/>
                  </a:lnTo>
                  <a:lnTo>
                    <a:pt x="10" y="181"/>
                  </a:lnTo>
                  <a:lnTo>
                    <a:pt x="0" y="156"/>
                  </a:lnTo>
                  <a:lnTo>
                    <a:pt x="6" y="154"/>
                  </a:lnTo>
                  <a:lnTo>
                    <a:pt x="10" y="152"/>
                  </a:lnTo>
                  <a:lnTo>
                    <a:pt x="11" y="148"/>
                  </a:lnTo>
                  <a:lnTo>
                    <a:pt x="15" y="146"/>
                  </a:lnTo>
                  <a:lnTo>
                    <a:pt x="17" y="144"/>
                  </a:lnTo>
                  <a:lnTo>
                    <a:pt x="19" y="142"/>
                  </a:lnTo>
                  <a:lnTo>
                    <a:pt x="21" y="138"/>
                  </a:lnTo>
                  <a:lnTo>
                    <a:pt x="25" y="136"/>
                  </a:lnTo>
                  <a:lnTo>
                    <a:pt x="27" y="135"/>
                  </a:lnTo>
                  <a:lnTo>
                    <a:pt x="29" y="131"/>
                  </a:lnTo>
                  <a:lnTo>
                    <a:pt x="31" y="129"/>
                  </a:lnTo>
                  <a:lnTo>
                    <a:pt x="35" y="127"/>
                  </a:lnTo>
                  <a:lnTo>
                    <a:pt x="36" y="119"/>
                  </a:lnTo>
                  <a:lnTo>
                    <a:pt x="38" y="112"/>
                  </a:lnTo>
                  <a:lnTo>
                    <a:pt x="42" y="110"/>
                  </a:lnTo>
                  <a:lnTo>
                    <a:pt x="44" y="108"/>
                  </a:lnTo>
                  <a:lnTo>
                    <a:pt x="44" y="98"/>
                  </a:lnTo>
                  <a:lnTo>
                    <a:pt x="44" y="89"/>
                  </a:lnTo>
                  <a:lnTo>
                    <a:pt x="42" y="85"/>
                  </a:lnTo>
                  <a:lnTo>
                    <a:pt x="38" y="83"/>
                  </a:lnTo>
                  <a:lnTo>
                    <a:pt x="42" y="81"/>
                  </a:lnTo>
                  <a:lnTo>
                    <a:pt x="44" y="79"/>
                  </a:lnTo>
                  <a:lnTo>
                    <a:pt x="44" y="69"/>
                  </a:lnTo>
                  <a:lnTo>
                    <a:pt x="44" y="60"/>
                  </a:lnTo>
                  <a:lnTo>
                    <a:pt x="42" y="56"/>
                  </a:lnTo>
                  <a:lnTo>
                    <a:pt x="38" y="54"/>
                  </a:lnTo>
                  <a:lnTo>
                    <a:pt x="42" y="52"/>
                  </a:lnTo>
                  <a:lnTo>
                    <a:pt x="44" y="50"/>
                  </a:lnTo>
                  <a:lnTo>
                    <a:pt x="46" y="37"/>
                  </a:lnTo>
                  <a:lnTo>
                    <a:pt x="48" y="25"/>
                  </a:lnTo>
                  <a:lnTo>
                    <a:pt x="52" y="23"/>
                  </a:lnTo>
                  <a:lnTo>
                    <a:pt x="54" y="21"/>
                  </a:lnTo>
                  <a:lnTo>
                    <a:pt x="61" y="21"/>
                  </a:lnTo>
                  <a:lnTo>
                    <a:pt x="67" y="21"/>
                  </a:lnTo>
                  <a:lnTo>
                    <a:pt x="67" y="14"/>
                  </a:lnTo>
                  <a:lnTo>
                    <a:pt x="67" y="6"/>
                  </a:lnTo>
                  <a:lnTo>
                    <a:pt x="71" y="4"/>
                  </a:lnTo>
                  <a:lnTo>
                    <a:pt x="73" y="0"/>
                  </a:lnTo>
                  <a:lnTo>
                    <a:pt x="82" y="0"/>
                  </a:lnTo>
                  <a:lnTo>
                    <a:pt x="92" y="0"/>
                  </a:lnTo>
                  <a:lnTo>
                    <a:pt x="94" y="4"/>
                  </a:lnTo>
                  <a:lnTo>
                    <a:pt x="98" y="6"/>
                  </a:lnTo>
                  <a:lnTo>
                    <a:pt x="104" y="8"/>
                  </a:lnTo>
                  <a:lnTo>
                    <a:pt x="111" y="10"/>
                  </a:lnTo>
                  <a:lnTo>
                    <a:pt x="113" y="14"/>
                  </a:lnTo>
                  <a:lnTo>
                    <a:pt x="117" y="16"/>
                  </a:lnTo>
                  <a:lnTo>
                    <a:pt x="119" y="18"/>
                  </a:lnTo>
                  <a:lnTo>
                    <a:pt x="121" y="21"/>
                  </a:lnTo>
                  <a:lnTo>
                    <a:pt x="123" y="23"/>
                  </a:lnTo>
                  <a:lnTo>
                    <a:pt x="127" y="25"/>
                  </a:lnTo>
                  <a:lnTo>
                    <a:pt x="129" y="33"/>
                  </a:lnTo>
                  <a:lnTo>
                    <a:pt x="130" y="41"/>
                  </a:lnTo>
                  <a:lnTo>
                    <a:pt x="132" y="42"/>
                  </a:lnTo>
                  <a:lnTo>
                    <a:pt x="136" y="44"/>
                  </a:lnTo>
                  <a:lnTo>
                    <a:pt x="136" y="52"/>
                  </a:lnTo>
                  <a:lnTo>
                    <a:pt x="136" y="60"/>
                  </a:lnTo>
                  <a:lnTo>
                    <a:pt x="142" y="60"/>
                  </a:lnTo>
                  <a:lnTo>
                    <a:pt x="150" y="60"/>
                  </a:lnTo>
                  <a:lnTo>
                    <a:pt x="153" y="62"/>
                  </a:lnTo>
                  <a:lnTo>
                    <a:pt x="155" y="64"/>
                  </a:lnTo>
                  <a:lnTo>
                    <a:pt x="161" y="65"/>
                  </a:lnTo>
                  <a:lnTo>
                    <a:pt x="169" y="69"/>
                  </a:lnTo>
                  <a:lnTo>
                    <a:pt x="173" y="71"/>
                  </a:lnTo>
                  <a:lnTo>
                    <a:pt x="175" y="73"/>
                  </a:lnTo>
                  <a:lnTo>
                    <a:pt x="176" y="81"/>
                  </a:lnTo>
                  <a:lnTo>
                    <a:pt x="178" y="89"/>
                  </a:lnTo>
                  <a:lnTo>
                    <a:pt x="182" y="90"/>
                  </a:lnTo>
                  <a:lnTo>
                    <a:pt x="184" y="92"/>
                  </a:lnTo>
                  <a:lnTo>
                    <a:pt x="186" y="100"/>
                  </a:lnTo>
                  <a:lnTo>
                    <a:pt x="190" y="108"/>
                  </a:lnTo>
                  <a:lnTo>
                    <a:pt x="192" y="110"/>
                  </a:lnTo>
                  <a:lnTo>
                    <a:pt x="194" y="112"/>
                  </a:lnTo>
                  <a:lnTo>
                    <a:pt x="196" y="119"/>
                  </a:lnTo>
                  <a:lnTo>
                    <a:pt x="198" y="127"/>
                  </a:lnTo>
                  <a:lnTo>
                    <a:pt x="201" y="129"/>
                  </a:lnTo>
                  <a:lnTo>
                    <a:pt x="203" y="131"/>
                  </a:lnTo>
                  <a:lnTo>
                    <a:pt x="203" y="138"/>
                  </a:lnTo>
                  <a:lnTo>
                    <a:pt x="203" y="146"/>
                  </a:lnTo>
                  <a:lnTo>
                    <a:pt x="211" y="146"/>
                  </a:lnTo>
                  <a:lnTo>
                    <a:pt x="219" y="146"/>
                  </a:lnTo>
                  <a:lnTo>
                    <a:pt x="221" y="148"/>
                  </a:lnTo>
                  <a:lnTo>
                    <a:pt x="223" y="152"/>
                  </a:lnTo>
                  <a:lnTo>
                    <a:pt x="223" y="165"/>
                  </a:lnTo>
                  <a:lnTo>
                    <a:pt x="223" y="181"/>
                  </a:lnTo>
                  <a:lnTo>
                    <a:pt x="221" y="183"/>
                  </a:lnTo>
                  <a:lnTo>
                    <a:pt x="219" y="184"/>
                  </a:lnTo>
                  <a:lnTo>
                    <a:pt x="207" y="184"/>
                  </a:lnTo>
                  <a:lnTo>
                    <a:pt x="198" y="184"/>
                  </a:lnTo>
                  <a:lnTo>
                    <a:pt x="196" y="183"/>
                  </a:lnTo>
                  <a:lnTo>
                    <a:pt x="194" y="181"/>
                  </a:lnTo>
                  <a:lnTo>
                    <a:pt x="192" y="177"/>
                  </a:lnTo>
                  <a:lnTo>
                    <a:pt x="190" y="175"/>
                  </a:lnTo>
                  <a:lnTo>
                    <a:pt x="186" y="173"/>
                  </a:lnTo>
                  <a:lnTo>
                    <a:pt x="184" y="171"/>
                  </a:lnTo>
                  <a:lnTo>
                    <a:pt x="159" y="171"/>
                  </a:lnTo>
                  <a:lnTo>
                    <a:pt x="136" y="171"/>
                  </a:lnTo>
                  <a:lnTo>
                    <a:pt x="132" y="173"/>
                  </a:lnTo>
                  <a:lnTo>
                    <a:pt x="130" y="175"/>
                  </a:lnTo>
                  <a:lnTo>
                    <a:pt x="129" y="177"/>
                  </a:lnTo>
                  <a:lnTo>
                    <a:pt x="127" y="181"/>
                  </a:lnTo>
                  <a:lnTo>
                    <a:pt x="123" y="183"/>
                  </a:lnTo>
                  <a:lnTo>
                    <a:pt x="121" y="184"/>
                  </a:lnTo>
                  <a:lnTo>
                    <a:pt x="119" y="192"/>
                  </a:lnTo>
                  <a:lnTo>
                    <a:pt x="117" y="200"/>
                  </a:lnTo>
                  <a:lnTo>
                    <a:pt x="113" y="202"/>
                  </a:lnTo>
                  <a:lnTo>
                    <a:pt x="111" y="204"/>
                  </a:lnTo>
                  <a:lnTo>
                    <a:pt x="109" y="211"/>
                  </a:lnTo>
                  <a:lnTo>
                    <a:pt x="107" y="219"/>
                  </a:lnTo>
                  <a:lnTo>
                    <a:pt x="104" y="221"/>
                  </a:lnTo>
                  <a:lnTo>
                    <a:pt x="102" y="223"/>
                  </a:lnTo>
                  <a:lnTo>
                    <a:pt x="79" y="223"/>
                  </a:lnTo>
                  <a:lnTo>
                    <a:pt x="54" y="223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7" name="Freeform 327">
              <a:extLst>
                <a:ext uri="{FF2B5EF4-FFF2-40B4-BE49-F238E27FC236}">
                  <a16:creationId xmlns:a16="http://schemas.microsoft.com/office/drawing/2014/main" xmlns="" id="{29AD6CAC-5ED3-2541-B938-D88742A03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025" y="4189228"/>
              <a:ext cx="204788" cy="304800"/>
            </a:xfrm>
            <a:custGeom>
              <a:avLst/>
              <a:gdLst>
                <a:gd name="T0" fmla="*/ 2147483647 w 134"/>
                <a:gd name="T1" fmla="*/ 2147483647 h 204"/>
                <a:gd name="T2" fmla="*/ 2147483647 w 134"/>
                <a:gd name="T3" fmla="*/ 2147483647 h 204"/>
                <a:gd name="T4" fmla="*/ 2147483647 w 134"/>
                <a:gd name="T5" fmla="*/ 2147483647 h 204"/>
                <a:gd name="T6" fmla="*/ 2147483647 w 134"/>
                <a:gd name="T7" fmla="*/ 2147483647 h 204"/>
                <a:gd name="T8" fmla="*/ 2147483647 w 134"/>
                <a:gd name="T9" fmla="*/ 2147483647 h 204"/>
                <a:gd name="T10" fmla="*/ 2147483647 w 134"/>
                <a:gd name="T11" fmla="*/ 2147483647 h 204"/>
                <a:gd name="T12" fmla="*/ 2147483647 w 134"/>
                <a:gd name="T13" fmla="*/ 2147483647 h 204"/>
                <a:gd name="T14" fmla="*/ 2147483647 w 134"/>
                <a:gd name="T15" fmla="*/ 2147483647 h 204"/>
                <a:gd name="T16" fmla="*/ 2147483647 w 134"/>
                <a:gd name="T17" fmla="*/ 2147483647 h 204"/>
                <a:gd name="T18" fmla="*/ 2147483647 w 134"/>
                <a:gd name="T19" fmla="*/ 2147483647 h 204"/>
                <a:gd name="T20" fmla="*/ 2147483647 w 134"/>
                <a:gd name="T21" fmla="*/ 2147483647 h 204"/>
                <a:gd name="T22" fmla="*/ 0 w 134"/>
                <a:gd name="T23" fmla="*/ 2147483647 h 204"/>
                <a:gd name="T24" fmla="*/ 0 w 134"/>
                <a:gd name="T25" fmla="*/ 2147483647 h 204"/>
                <a:gd name="T26" fmla="*/ 2147483647 w 134"/>
                <a:gd name="T27" fmla="*/ 2147483647 h 204"/>
                <a:gd name="T28" fmla="*/ 2147483647 w 134"/>
                <a:gd name="T29" fmla="*/ 0 h 204"/>
                <a:gd name="T30" fmla="*/ 2147483647 w 134"/>
                <a:gd name="T31" fmla="*/ 2147483647 h 204"/>
                <a:gd name="T32" fmla="*/ 2147483647 w 134"/>
                <a:gd name="T33" fmla="*/ 2147483647 h 204"/>
                <a:gd name="T34" fmla="*/ 2147483647 w 134"/>
                <a:gd name="T35" fmla="*/ 2147483647 h 204"/>
                <a:gd name="T36" fmla="*/ 2147483647 w 134"/>
                <a:gd name="T37" fmla="*/ 2147483647 h 204"/>
                <a:gd name="T38" fmla="*/ 2147483647 w 134"/>
                <a:gd name="T39" fmla="*/ 2147483647 h 204"/>
                <a:gd name="T40" fmla="*/ 2147483647 w 134"/>
                <a:gd name="T41" fmla="*/ 2147483647 h 204"/>
                <a:gd name="T42" fmla="*/ 2147483647 w 134"/>
                <a:gd name="T43" fmla="*/ 2147483647 h 204"/>
                <a:gd name="T44" fmla="*/ 2147483647 w 134"/>
                <a:gd name="T45" fmla="*/ 2147483647 h 204"/>
                <a:gd name="T46" fmla="*/ 2147483647 w 134"/>
                <a:gd name="T47" fmla="*/ 2147483647 h 204"/>
                <a:gd name="T48" fmla="*/ 2147483647 w 134"/>
                <a:gd name="T49" fmla="*/ 2147483647 h 204"/>
                <a:gd name="T50" fmla="*/ 2147483647 w 134"/>
                <a:gd name="T51" fmla="*/ 2147483647 h 204"/>
                <a:gd name="T52" fmla="*/ 2147483647 w 134"/>
                <a:gd name="T53" fmla="*/ 2147483647 h 204"/>
                <a:gd name="T54" fmla="*/ 2147483647 w 134"/>
                <a:gd name="T55" fmla="*/ 2147483647 h 204"/>
                <a:gd name="T56" fmla="*/ 2147483647 w 134"/>
                <a:gd name="T57" fmla="*/ 2147483647 h 204"/>
                <a:gd name="T58" fmla="*/ 2147483647 w 134"/>
                <a:gd name="T59" fmla="*/ 2147483647 h 204"/>
                <a:gd name="T60" fmla="*/ 2147483647 w 134"/>
                <a:gd name="T61" fmla="*/ 2147483647 h 204"/>
                <a:gd name="T62" fmla="*/ 2147483647 w 134"/>
                <a:gd name="T63" fmla="*/ 2147483647 h 204"/>
                <a:gd name="T64" fmla="*/ 2147483647 w 134"/>
                <a:gd name="T65" fmla="*/ 2147483647 h 204"/>
                <a:gd name="T66" fmla="*/ 2147483647 w 134"/>
                <a:gd name="T67" fmla="*/ 2147483647 h 204"/>
                <a:gd name="T68" fmla="*/ 2147483647 w 134"/>
                <a:gd name="T69" fmla="*/ 2147483647 h 204"/>
                <a:gd name="T70" fmla="*/ 2147483647 w 134"/>
                <a:gd name="T71" fmla="*/ 2147483647 h 204"/>
                <a:gd name="T72" fmla="*/ 2147483647 w 134"/>
                <a:gd name="T73" fmla="*/ 2147483647 h 204"/>
                <a:gd name="T74" fmla="*/ 2147483647 w 134"/>
                <a:gd name="T75" fmla="*/ 2147483647 h 204"/>
                <a:gd name="T76" fmla="*/ 2147483647 w 134"/>
                <a:gd name="T77" fmla="*/ 2147483647 h 204"/>
                <a:gd name="T78" fmla="*/ 2147483647 w 134"/>
                <a:gd name="T79" fmla="*/ 2147483647 h 204"/>
                <a:gd name="T80" fmla="*/ 2147483647 w 134"/>
                <a:gd name="T81" fmla="*/ 2147483647 h 204"/>
                <a:gd name="T82" fmla="*/ 2147483647 w 134"/>
                <a:gd name="T83" fmla="*/ 2147483647 h 204"/>
                <a:gd name="T84" fmla="*/ 2147483647 w 134"/>
                <a:gd name="T85" fmla="*/ 2147483647 h 204"/>
                <a:gd name="T86" fmla="*/ 2147483647 w 134"/>
                <a:gd name="T87" fmla="*/ 2147483647 h 204"/>
                <a:gd name="T88" fmla="*/ 2147483647 w 134"/>
                <a:gd name="T89" fmla="*/ 2147483647 h 204"/>
                <a:gd name="T90" fmla="*/ 2147483647 w 134"/>
                <a:gd name="T91" fmla="*/ 2147483647 h 204"/>
                <a:gd name="T92" fmla="*/ 2147483647 w 134"/>
                <a:gd name="T93" fmla="*/ 2147483647 h 20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34"/>
                <a:gd name="T142" fmla="*/ 0 h 204"/>
                <a:gd name="T143" fmla="*/ 134 w 134"/>
                <a:gd name="T144" fmla="*/ 204 h 20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34" h="204">
                  <a:moveTo>
                    <a:pt x="86" y="204"/>
                  </a:moveTo>
                  <a:lnTo>
                    <a:pt x="86" y="194"/>
                  </a:lnTo>
                  <a:lnTo>
                    <a:pt x="86" y="184"/>
                  </a:lnTo>
                  <a:lnTo>
                    <a:pt x="86" y="179"/>
                  </a:lnTo>
                  <a:lnTo>
                    <a:pt x="86" y="175"/>
                  </a:lnTo>
                  <a:lnTo>
                    <a:pt x="86" y="165"/>
                  </a:lnTo>
                  <a:lnTo>
                    <a:pt x="86" y="156"/>
                  </a:lnTo>
                  <a:lnTo>
                    <a:pt x="77" y="156"/>
                  </a:lnTo>
                  <a:lnTo>
                    <a:pt x="67" y="156"/>
                  </a:lnTo>
                  <a:lnTo>
                    <a:pt x="58" y="156"/>
                  </a:lnTo>
                  <a:lnTo>
                    <a:pt x="48" y="156"/>
                  </a:lnTo>
                  <a:lnTo>
                    <a:pt x="48" y="140"/>
                  </a:lnTo>
                  <a:lnTo>
                    <a:pt x="48" y="127"/>
                  </a:lnTo>
                  <a:lnTo>
                    <a:pt x="48" y="112"/>
                  </a:lnTo>
                  <a:lnTo>
                    <a:pt x="48" y="98"/>
                  </a:lnTo>
                  <a:lnTo>
                    <a:pt x="48" y="87"/>
                  </a:lnTo>
                  <a:lnTo>
                    <a:pt x="50" y="75"/>
                  </a:lnTo>
                  <a:lnTo>
                    <a:pt x="35" y="67"/>
                  </a:lnTo>
                  <a:lnTo>
                    <a:pt x="19" y="58"/>
                  </a:lnTo>
                  <a:lnTo>
                    <a:pt x="13" y="54"/>
                  </a:lnTo>
                  <a:lnTo>
                    <a:pt x="10" y="48"/>
                  </a:lnTo>
                  <a:lnTo>
                    <a:pt x="4" y="44"/>
                  </a:lnTo>
                  <a:lnTo>
                    <a:pt x="0" y="41"/>
                  </a:lnTo>
                  <a:lnTo>
                    <a:pt x="0" y="29"/>
                  </a:lnTo>
                  <a:lnTo>
                    <a:pt x="0" y="19"/>
                  </a:lnTo>
                  <a:lnTo>
                    <a:pt x="0" y="16"/>
                  </a:lnTo>
                  <a:lnTo>
                    <a:pt x="0" y="10"/>
                  </a:lnTo>
                  <a:lnTo>
                    <a:pt x="4" y="6"/>
                  </a:lnTo>
                  <a:lnTo>
                    <a:pt x="10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5" y="6"/>
                  </a:lnTo>
                  <a:lnTo>
                    <a:pt x="33" y="10"/>
                  </a:lnTo>
                  <a:lnTo>
                    <a:pt x="36" y="14"/>
                  </a:lnTo>
                  <a:lnTo>
                    <a:pt x="38" y="16"/>
                  </a:lnTo>
                  <a:lnTo>
                    <a:pt x="40" y="18"/>
                  </a:lnTo>
                  <a:lnTo>
                    <a:pt x="42" y="19"/>
                  </a:lnTo>
                  <a:lnTo>
                    <a:pt x="46" y="21"/>
                  </a:lnTo>
                  <a:lnTo>
                    <a:pt x="48" y="25"/>
                  </a:lnTo>
                  <a:lnTo>
                    <a:pt x="56" y="27"/>
                  </a:lnTo>
                  <a:lnTo>
                    <a:pt x="63" y="29"/>
                  </a:lnTo>
                  <a:lnTo>
                    <a:pt x="65" y="31"/>
                  </a:lnTo>
                  <a:lnTo>
                    <a:pt x="67" y="35"/>
                  </a:lnTo>
                  <a:lnTo>
                    <a:pt x="69" y="37"/>
                  </a:lnTo>
                  <a:lnTo>
                    <a:pt x="71" y="41"/>
                  </a:lnTo>
                  <a:lnTo>
                    <a:pt x="75" y="42"/>
                  </a:lnTo>
                  <a:lnTo>
                    <a:pt x="77" y="44"/>
                  </a:lnTo>
                  <a:lnTo>
                    <a:pt x="88" y="46"/>
                  </a:lnTo>
                  <a:lnTo>
                    <a:pt x="102" y="48"/>
                  </a:lnTo>
                  <a:lnTo>
                    <a:pt x="104" y="52"/>
                  </a:lnTo>
                  <a:lnTo>
                    <a:pt x="106" y="54"/>
                  </a:lnTo>
                  <a:lnTo>
                    <a:pt x="113" y="56"/>
                  </a:lnTo>
                  <a:lnTo>
                    <a:pt x="121" y="58"/>
                  </a:lnTo>
                  <a:lnTo>
                    <a:pt x="123" y="62"/>
                  </a:lnTo>
                  <a:lnTo>
                    <a:pt x="125" y="64"/>
                  </a:lnTo>
                  <a:lnTo>
                    <a:pt x="127" y="66"/>
                  </a:lnTo>
                  <a:lnTo>
                    <a:pt x="131" y="69"/>
                  </a:lnTo>
                  <a:lnTo>
                    <a:pt x="132" y="71"/>
                  </a:lnTo>
                  <a:lnTo>
                    <a:pt x="134" y="73"/>
                  </a:lnTo>
                  <a:lnTo>
                    <a:pt x="134" y="83"/>
                  </a:lnTo>
                  <a:lnTo>
                    <a:pt x="134" y="92"/>
                  </a:lnTo>
                  <a:lnTo>
                    <a:pt x="132" y="94"/>
                  </a:lnTo>
                  <a:lnTo>
                    <a:pt x="131" y="98"/>
                  </a:lnTo>
                  <a:lnTo>
                    <a:pt x="131" y="102"/>
                  </a:lnTo>
                  <a:lnTo>
                    <a:pt x="131" y="108"/>
                  </a:lnTo>
                  <a:lnTo>
                    <a:pt x="132" y="110"/>
                  </a:lnTo>
                  <a:lnTo>
                    <a:pt x="134" y="112"/>
                  </a:lnTo>
                  <a:lnTo>
                    <a:pt x="134" y="117"/>
                  </a:lnTo>
                  <a:lnTo>
                    <a:pt x="134" y="121"/>
                  </a:lnTo>
                  <a:lnTo>
                    <a:pt x="132" y="123"/>
                  </a:lnTo>
                  <a:lnTo>
                    <a:pt x="131" y="127"/>
                  </a:lnTo>
                  <a:lnTo>
                    <a:pt x="131" y="131"/>
                  </a:lnTo>
                  <a:lnTo>
                    <a:pt x="131" y="137"/>
                  </a:lnTo>
                  <a:lnTo>
                    <a:pt x="132" y="138"/>
                  </a:lnTo>
                  <a:lnTo>
                    <a:pt x="134" y="140"/>
                  </a:lnTo>
                  <a:lnTo>
                    <a:pt x="134" y="146"/>
                  </a:lnTo>
                  <a:lnTo>
                    <a:pt x="134" y="150"/>
                  </a:lnTo>
                  <a:lnTo>
                    <a:pt x="132" y="154"/>
                  </a:lnTo>
                  <a:lnTo>
                    <a:pt x="131" y="156"/>
                  </a:lnTo>
                  <a:lnTo>
                    <a:pt x="127" y="161"/>
                  </a:lnTo>
                  <a:lnTo>
                    <a:pt x="125" y="169"/>
                  </a:lnTo>
                  <a:lnTo>
                    <a:pt x="123" y="173"/>
                  </a:lnTo>
                  <a:lnTo>
                    <a:pt x="121" y="175"/>
                  </a:lnTo>
                  <a:lnTo>
                    <a:pt x="117" y="177"/>
                  </a:lnTo>
                  <a:lnTo>
                    <a:pt x="115" y="179"/>
                  </a:lnTo>
                  <a:lnTo>
                    <a:pt x="113" y="183"/>
                  </a:lnTo>
                  <a:lnTo>
                    <a:pt x="111" y="184"/>
                  </a:lnTo>
                  <a:lnTo>
                    <a:pt x="107" y="186"/>
                  </a:lnTo>
                  <a:lnTo>
                    <a:pt x="106" y="190"/>
                  </a:lnTo>
                  <a:lnTo>
                    <a:pt x="104" y="192"/>
                  </a:lnTo>
                  <a:lnTo>
                    <a:pt x="102" y="194"/>
                  </a:lnTo>
                  <a:lnTo>
                    <a:pt x="98" y="198"/>
                  </a:lnTo>
                  <a:lnTo>
                    <a:pt x="96" y="204"/>
                  </a:lnTo>
                  <a:lnTo>
                    <a:pt x="90" y="204"/>
                  </a:lnTo>
                  <a:lnTo>
                    <a:pt x="86" y="204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8" name="Freeform 328">
              <a:extLst>
                <a:ext uri="{FF2B5EF4-FFF2-40B4-BE49-F238E27FC236}">
                  <a16:creationId xmlns:a16="http://schemas.microsoft.com/office/drawing/2014/main" xmlns="" id="{7278448A-4056-5D4E-BC79-5572AB32A9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1125" y="4216216"/>
              <a:ext cx="223838" cy="263525"/>
            </a:xfrm>
            <a:custGeom>
              <a:avLst/>
              <a:gdLst>
                <a:gd name="T0" fmla="*/ 2147483647 w 143"/>
                <a:gd name="T1" fmla="*/ 2147483647 h 175"/>
                <a:gd name="T2" fmla="*/ 2147483647 w 143"/>
                <a:gd name="T3" fmla="*/ 2147483647 h 175"/>
                <a:gd name="T4" fmla="*/ 2147483647 w 143"/>
                <a:gd name="T5" fmla="*/ 2147483647 h 175"/>
                <a:gd name="T6" fmla="*/ 2147483647 w 143"/>
                <a:gd name="T7" fmla="*/ 2147483647 h 175"/>
                <a:gd name="T8" fmla="*/ 2147483647 w 143"/>
                <a:gd name="T9" fmla="*/ 2147483647 h 175"/>
                <a:gd name="T10" fmla="*/ 2147483647 w 143"/>
                <a:gd name="T11" fmla="*/ 2147483647 h 175"/>
                <a:gd name="T12" fmla="*/ 2147483647 w 143"/>
                <a:gd name="T13" fmla="*/ 2147483647 h 175"/>
                <a:gd name="T14" fmla="*/ 2147483647 w 143"/>
                <a:gd name="T15" fmla="*/ 2147483647 h 175"/>
                <a:gd name="T16" fmla="*/ 2147483647 w 143"/>
                <a:gd name="T17" fmla="*/ 2147483647 h 175"/>
                <a:gd name="T18" fmla="*/ 2147483647 w 143"/>
                <a:gd name="T19" fmla="*/ 2147483647 h 175"/>
                <a:gd name="T20" fmla="*/ 2147483647 w 143"/>
                <a:gd name="T21" fmla="*/ 2147483647 h 175"/>
                <a:gd name="T22" fmla="*/ 2147483647 w 143"/>
                <a:gd name="T23" fmla="*/ 2147483647 h 175"/>
                <a:gd name="T24" fmla="*/ 2147483647 w 143"/>
                <a:gd name="T25" fmla="*/ 2147483647 h 175"/>
                <a:gd name="T26" fmla="*/ 2147483647 w 143"/>
                <a:gd name="T27" fmla="*/ 2147483647 h 175"/>
                <a:gd name="T28" fmla="*/ 2147483647 w 143"/>
                <a:gd name="T29" fmla="*/ 2147483647 h 175"/>
                <a:gd name="T30" fmla="*/ 2147483647 w 143"/>
                <a:gd name="T31" fmla="*/ 2147483647 h 175"/>
                <a:gd name="T32" fmla="*/ 2147483647 w 143"/>
                <a:gd name="T33" fmla="*/ 2147483647 h 175"/>
                <a:gd name="T34" fmla="*/ 2147483647 w 143"/>
                <a:gd name="T35" fmla="*/ 2147483647 h 175"/>
                <a:gd name="T36" fmla="*/ 2147483647 w 143"/>
                <a:gd name="T37" fmla="*/ 2147483647 h 175"/>
                <a:gd name="T38" fmla="*/ 2147483647 w 143"/>
                <a:gd name="T39" fmla="*/ 2147483647 h 175"/>
                <a:gd name="T40" fmla="*/ 2147483647 w 143"/>
                <a:gd name="T41" fmla="*/ 2147483647 h 175"/>
                <a:gd name="T42" fmla="*/ 2147483647 w 143"/>
                <a:gd name="T43" fmla="*/ 2147483647 h 175"/>
                <a:gd name="T44" fmla="*/ 2147483647 w 143"/>
                <a:gd name="T45" fmla="*/ 2147483647 h 175"/>
                <a:gd name="T46" fmla="*/ 2147483647 w 143"/>
                <a:gd name="T47" fmla="*/ 2147483647 h 175"/>
                <a:gd name="T48" fmla="*/ 2147483647 w 143"/>
                <a:gd name="T49" fmla="*/ 2147483647 h 175"/>
                <a:gd name="T50" fmla="*/ 2147483647 w 143"/>
                <a:gd name="T51" fmla="*/ 2147483647 h 175"/>
                <a:gd name="T52" fmla="*/ 2147483647 w 143"/>
                <a:gd name="T53" fmla="*/ 2147483647 h 175"/>
                <a:gd name="T54" fmla="*/ 2147483647 w 143"/>
                <a:gd name="T55" fmla="*/ 2147483647 h 175"/>
                <a:gd name="T56" fmla="*/ 2147483647 w 143"/>
                <a:gd name="T57" fmla="*/ 2147483647 h 175"/>
                <a:gd name="T58" fmla="*/ 2147483647 w 143"/>
                <a:gd name="T59" fmla="*/ 2147483647 h 175"/>
                <a:gd name="T60" fmla="*/ 2147483647 w 143"/>
                <a:gd name="T61" fmla="*/ 2147483647 h 175"/>
                <a:gd name="T62" fmla="*/ 2147483647 w 143"/>
                <a:gd name="T63" fmla="*/ 2147483647 h 175"/>
                <a:gd name="T64" fmla="*/ 2147483647 w 143"/>
                <a:gd name="T65" fmla="*/ 2147483647 h 175"/>
                <a:gd name="T66" fmla="*/ 2147483647 w 143"/>
                <a:gd name="T67" fmla="*/ 2147483647 h 175"/>
                <a:gd name="T68" fmla="*/ 2147483647 w 143"/>
                <a:gd name="T69" fmla="*/ 2147483647 h 175"/>
                <a:gd name="T70" fmla="*/ 2147483647 w 143"/>
                <a:gd name="T71" fmla="*/ 2147483647 h 175"/>
                <a:gd name="T72" fmla="*/ 2147483647 w 143"/>
                <a:gd name="T73" fmla="*/ 2147483647 h 175"/>
                <a:gd name="T74" fmla="*/ 2147483647 w 143"/>
                <a:gd name="T75" fmla="*/ 2147483647 h 17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43"/>
                <a:gd name="T115" fmla="*/ 0 h 175"/>
                <a:gd name="T116" fmla="*/ 143 w 143"/>
                <a:gd name="T117" fmla="*/ 175 h 17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43" h="175">
                  <a:moveTo>
                    <a:pt x="53" y="175"/>
                  </a:moveTo>
                  <a:lnTo>
                    <a:pt x="49" y="173"/>
                  </a:lnTo>
                  <a:lnTo>
                    <a:pt x="48" y="171"/>
                  </a:lnTo>
                  <a:lnTo>
                    <a:pt x="40" y="164"/>
                  </a:lnTo>
                  <a:lnTo>
                    <a:pt x="32" y="156"/>
                  </a:lnTo>
                  <a:lnTo>
                    <a:pt x="30" y="154"/>
                  </a:lnTo>
                  <a:lnTo>
                    <a:pt x="28" y="150"/>
                  </a:lnTo>
                  <a:lnTo>
                    <a:pt x="26" y="142"/>
                  </a:lnTo>
                  <a:lnTo>
                    <a:pt x="23" y="137"/>
                  </a:lnTo>
                  <a:lnTo>
                    <a:pt x="21" y="135"/>
                  </a:lnTo>
                  <a:lnTo>
                    <a:pt x="19" y="131"/>
                  </a:lnTo>
                  <a:lnTo>
                    <a:pt x="17" y="123"/>
                  </a:lnTo>
                  <a:lnTo>
                    <a:pt x="15" y="118"/>
                  </a:lnTo>
                  <a:lnTo>
                    <a:pt x="11" y="114"/>
                  </a:lnTo>
                  <a:lnTo>
                    <a:pt x="9" y="112"/>
                  </a:lnTo>
                  <a:lnTo>
                    <a:pt x="7" y="104"/>
                  </a:lnTo>
                  <a:lnTo>
                    <a:pt x="3" y="98"/>
                  </a:lnTo>
                  <a:lnTo>
                    <a:pt x="1" y="94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5"/>
                  </a:lnTo>
                  <a:lnTo>
                    <a:pt x="9" y="83"/>
                  </a:lnTo>
                  <a:lnTo>
                    <a:pt x="11" y="81"/>
                  </a:lnTo>
                  <a:lnTo>
                    <a:pt x="15" y="79"/>
                  </a:lnTo>
                  <a:lnTo>
                    <a:pt x="17" y="52"/>
                  </a:lnTo>
                  <a:lnTo>
                    <a:pt x="19" y="25"/>
                  </a:lnTo>
                  <a:lnTo>
                    <a:pt x="21" y="23"/>
                  </a:lnTo>
                  <a:lnTo>
                    <a:pt x="23" y="22"/>
                  </a:lnTo>
                  <a:lnTo>
                    <a:pt x="30" y="18"/>
                  </a:lnTo>
                  <a:lnTo>
                    <a:pt x="38" y="16"/>
                  </a:lnTo>
                  <a:lnTo>
                    <a:pt x="40" y="12"/>
                  </a:lnTo>
                  <a:lnTo>
                    <a:pt x="44" y="10"/>
                  </a:lnTo>
                  <a:lnTo>
                    <a:pt x="46" y="8"/>
                  </a:lnTo>
                  <a:lnTo>
                    <a:pt x="48" y="6"/>
                  </a:lnTo>
                  <a:lnTo>
                    <a:pt x="49" y="2"/>
                  </a:lnTo>
                  <a:lnTo>
                    <a:pt x="53" y="0"/>
                  </a:lnTo>
                  <a:lnTo>
                    <a:pt x="55" y="2"/>
                  </a:lnTo>
                  <a:lnTo>
                    <a:pt x="57" y="6"/>
                  </a:lnTo>
                  <a:lnTo>
                    <a:pt x="69" y="8"/>
                  </a:lnTo>
                  <a:lnTo>
                    <a:pt x="82" y="10"/>
                  </a:lnTo>
                  <a:lnTo>
                    <a:pt x="84" y="12"/>
                  </a:lnTo>
                  <a:lnTo>
                    <a:pt x="86" y="16"/>
                  </a:lnTo>
                  <a:lnTo>
                    <a:pt x="88" y="18"/>
                  </a:lnTo>
                  <a:lnTo>
                    <a:pt x="92" y="22"/>
                  </a:lnTo>
                  <a:lnTo>
                    <a:pt x="94" y="23"/>
                  </a:lnTo>
                  <a:lnTo>
                    <a:pt x="96" y="25"/>
                  </a:lnTo>
                  <a:lnTo>
                    <a:pt x="101" y="25"/>
                  </a:lnTo>
                  <a:lnTo>
                    <a:pt x="105" y="25"/>
                  </a:lnTo>
                  <a:lnTo>
                    <a:pt x="109" y="23"/>
                  </a:lnTo>
                  <a:lnTo>
                    <a:pt x="111" y="22"/>
                  </a:lnTo>
                  <a:lnTo>
                    <a:pt x="124" y="25"/>
                  </a:lnTo>
                  <a:lnTo>
                    <a:pt x="140" y="29"/>
                  </a:lnTo>
                  <a:lnTo>
                    <a:pt x="142" y="33"/>
                  </a:lnTo>
                  <a:lnTo>
                    <a:pt x="143" y="35"/>
                  </a:lnTo>
                  <a:lnTo>
                    <a:pt x="142" y="37"/>
                  </a:lnTo>
                  <a:lnTo>
                    <a:pt x="140" y="39"/>
                  </a:lnTo>
                  <a:lnTo>
                    <a:pt x="138" y="58"/>
                  </a:lnTo>
                  <a:lnTo>
                    <a:pt x="138" y="75"/>
                  </a:lnTo>
                  <a:lnTo>
                    <a:pt x="136" y="94"/>
                  </a:lnTo>
                  <a:lnTo>
                    <a:pt x="136" y="112"/>
                  </a:lnTo>
                  <a:lnTo>
                    <a:pt x="132" y="114"/>
                  </a:lnTo>
                  <a:lnTo>
                    <a:pt x="130" y="118"/>
                  </a:lnTo>
                  <a:lnTo>
                    <a:pt x="128" y="129"/>
                  </a:lnTo>
                  <a:lnTo>
                    <a:pt x="124" y="141"/>
                  </a:lnTo>
                  <a:lnTo>
                    <a:pt x="122" y="144"/>
                  </a:lnTo>
                  <a:lnTo>
                    <a:pt x="120" y="146"/>
                  </a:lnTo>
                  <a:lnTo>
                    <a:pt x="103" y="154"/>
                  </a:lnTo>
                  <a:lnTo>
                    <a:pt x="86" y="160"/>
                  </a:lnTo>
                  <a:lnTo>
                    <a:pt x="84" y="164"/>
                  </a:lnTo>
                  <a:lnTo>
                    <a:pt x="82" y="165"/>
                  </a:lnTo>
                  <a:lnTo>
                    <a:pt x="78" y="167"/>
                  </a:lnTo>
                  <a:lnTo>
                    <a:pt x="76" y="171"/>
                  </a:lnTo>
                  <a:lnTo>
                    <a:pt x="74" y="173"/>
                  </a:lnTo>
                  <a:lnTo>
                    <a:pt x="72" y="175"/>
                  </a:lnTo>
                  <a:lnTo>
                    <a:pt x="63" y="175"/>
                  </a:lnTo>
                  <a:lnTo>
                    <a:pt x="53" y="175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59" name="Freeform 329">
              <a:extLst>
                <a:ext uri="{FF2B5EF4-FFF2-40B4-BE49-F238E27FC236}">
                  <a16:creationId xmlns:a16="http://schemas.microsoft.com/office/drawing/2014/main" xmlns="" id="{FBBA7DE3-3849-FB40-BB56-23E79E1649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2850" y="4132078"/>
              <a:ext cx="242888" cy="219075"/>
            </a:xfrm>
            <a:custGeom>
              <a:avLst/>
              <a:gdLst>
                <a:gd name="T0" fmla="*/ 2147483647 w 156"/>
                <a:gd name="T1" fmla="*/ 2147483647 h 146"/>
                <a:gd name="T2" fmla="*/ 2147483647 w 156"/>
                <a:gd name="T3" fmla="*/ 2147483647 h 146"/>
                <a:gd name="T4" fmla="*/ 2147483647 w 156"/>
                <a:gd name="T5" fmla="*/ 2147483647 h 146"/>
                <a:gd name="T6" fmla="*/ 2147483647 w 156"/>
                <a:gd name="T7" fmla="*/ 2147483647 h 146"/>
                <a:gd name="T8" fmla="*/ 2147483647 w 156"/>
                <a:gd name="T9" fmla="*/ 2147483647 h 146"/>
                <a:gd name="T10" fmla="*/ 2147483647 w 156"/>
                <a:gd name="T11" fmla="*/ 2147483647 h 146"/>
                <a:gd name="T12" fmla="*/ 2147483647 w 156"/>
                <a:gd name="T13" fmla="*/ 2147483647 h 146"/>
                <a:gd name="T14" fmla="*/ 2147483647 w 156"/>
                <a:gd name="T15" fmla="*/ 2147483647 h 146"/>
                <a:gd name="T16" fmla="*/ 2147483647 w 156"/>
                <a:gd name="T17" fmla="*/ 2147483647 h 146"/>
                <a:gd name="T18" fmla="*/ 2147483647 w 156"/>
                <a:gd name="T19" fmla="*/ 2147483647 h 146"/>
                <a:gd name="T20" fmla="*/ 2147483647 w 156"/>
                <a:gd name="T21" fmla="*/ 2147483647 h 146"/>
                <a:gd name="T22" fmla="*/ 0 w 156"/>
                <a:gd name="T23" fmla="*/ 2147483647 h 146"/>
                <a:gd name="T24" fmla="*/ 2147483647 w 156"/>
                <a:gd name="T25" fmla="*/ 2147483647 h 146"/>
                <a:gd name="T26" fmla="*/ 2147483647 w 156"/>
                <a:gd name="T27" fmla="*/ 2147483647 h 146"/>
                <a:gd name="T28" fmla="*/ 2147483647 w 156"/>
                <a:gd name="T29" fmla="*/ 2147483647 h 146"/>
                <a:gd name="T30" fmla="*/ 2147483647 w 156"/>
                <a:gd name="T31" fmla="*/ 2147483647 h 146"/>
                <a:gd name="T32" fmla="*/ 2147483647 w 156"/>
                <a:gd name="T33" fmla="*/ 2147483647 h 146"/>
                <a:gd name="T34" fmla="*/ 2147483647 w 156"/>
                <a:gd name="T35" fmla="*/ 2147483647 h 146"/>
                <a:gd name="T36" fmla="*/ 2147483647 w 156"/>
                <a:gd name="T37" fmla="*/ 2147483647 h 146"/>
                <a:gd name="T38" fmla="*/ 2147483647 w 156"/>
                <a:gd name="T39" fmla="*/ 2147483647 h 146"/>
                <a:gd name="T40" fmla="*/ 2147483647 w 156"/>
                <a:gd name="T41" fmla="*/ 2147483647 h 146"/>
                <a:gd name="T42" fmla="*/ 2147483647 w 156"/>
                <a:gd name="T43" fmla="*/ 2147483647 h 146"/>
                <a:gd name="T44" fmla="*/ 2147483647 w 156"/>
                <a:gd name="T45" fmla="*/ 2147483647 h 146"/>
                <a:gd name="T46" fmla="*/ 2147483647 w 156"/>
                <a:gd name="T47" fmla="*/ 2147483647 h 146"/>
                <a:gd name="T48" fmla="*/ 2147483647 w 156"/>
                <a:gd name="T49" fmla="*/ 0 h 146"/>
                <a:gd name="T50" fmla="*/ 2147483647 w 156"/>
                <a:gd name="T51" fmla="*/ 2147483647 h 146"/>
                <a:gd name="T52" fmla="*/ 2147483647 w 156"/>
                <a:gd name="T53" fmla="*/ 2147483647 h 146"/>
                <a:gd name="T54" fmla="*/ 2147483647 w 156"/>
                <a:gd name="T55" fmla="*/ 2147483647 h 146"/>
                <a:gd name="T56" fmla="*/ 2147483647 w 156"/>
                <a:gd name="T57" fmla="*/ 2147483647 h 146"/>
                <a:gd name="T58" fmla="*/ 2147483647 w 156"/>
                <a:gd name="T59" fmla="*/ 2147483647 h 146"/>
                <a:gd name="T60" fmla="*/ 2147483647 w 156"/>
                <a:gd name="T61" fmla="*/ 2147483647 h 146"/>
                <a:gd name="T62" fmla="*/ 2147483647 w 156"/>
                <a:gd name="T63" fmla="*/ 2147483647 h 146"/>
                <a:gd name="T64" fmla="*/ 2147483647 w 156"/>
                <a:gd name="T65" fmla="*/ 2147483647 h 146"/>
                <a:gd name="T66" fmla="*/ 2147483647 w 156"/>
                <a:gd name="T67" fmla="*/ 2147483647 h 146"/>
                <a:gd name="T68" fmla="*/ 2147483647 w 156"/>
                <a:gd name="T69" fmla="*/ 2147483647 h 146"/>
                <a:gd name="T70" fmla="*/ 2147483647 w 156"/>
                <a:gd name="T71" fmla="*/ 2147483647 h 146"/>
                <a:gd name="T72" fmla="*/ 2147483647 w 156"/>
                <a:gd name="T73" fmla="*/ 2147483647 h 146"/>
                <a:gd name="T74" fmla="*/ 2147483647 w 156"/>
                <a:gd name="T75" fmla="*/ 2147483647 h 146"/>
                <a:gd name="T76" fmla="*/ 2147483647 w 156"/>
                <a:gd name="T77" fmla="*/ 2147483647 h 14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56"/>
                <a:gd name="T118" fmla="*/ 0 h 146"/>
                <a:gd name="T119" fmla="*/ 156 w 156"/>
                <a:gd name="T120" fmla="*/ 146 h 14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56" h="146">
                  <a:moveTo>
                    <a:pt x="92" y="146"/>
                  </a:moveTo>
                  <a:lnTo>
                    <a:pt x="90" y="142"/>
                  </a:lnTo>
                  <a:lnTo>
                    <a:pt x="88" y="140"/>
                  </a:lnTo>
                  <a:lnTo>
                    <a:pt x="81" y="132"/>
                  </a:lnTo>
                  <a:lnTo>
                    <a:pt x="73" y="127"/>
                  </a:lnTo>
                  <a:lnTo>
                    <a:pt x="71" y="123"/>
                  </a:lnTo>
                  <a:lnTo>
                    <a:pt x="69" y="121"/>
                  </a:lnTo>
                  <a:lnTo>
                    <a:pt x="65" y="113"/>
                  </a:lnTo>
                  <a:lnTo>
                    <a:pt x="63" y="107"/>
                  </a:lnTo>
                  <a:lnTo>
                    <a:pt x="62" y="104"/>
                  </a:lnTo>
                  <a:lnTo>
                    <a:pt x="60" y="102"/>
                  </a:lnTo>
                  <a:lnTo>
                    <a:pt x="56" y="100"/>
                  </a:lnTo>
                  <a:lnTo>
                    <a:pt x="54" y="96"/>
                  </a:lnTo>
                  <a:lnTo>
                    <a:pt x="52" y="94"/>
                  </a:lnTo>
                  <a:lnTo>
                    <a:pt x="50" y="92"/>
                  </a:lnTo>
                  <a:lnTo>
                    <a:pt x="42" y="90"/>
                  </a:lnTo>
                  <a:lnTo>
                    <a:pt x="35" y="86"/>
                  </a:lnTo>
                  <a:lnTo>
                    <a:pt x="33" y="84"/>
                  </a:lnTo>
                  <a:lnTo>
                    <a:pt x="31" y="82"/>
                  </a:lnTo>
                  <a:lnTo>
                    <a:pt x="17" y="75"/>
                  </a:lnTo>
                  <a:lnTo>
                    <a:pt x="6" y="67"/>
                  </a:lnTo>
                  <a:lnTo>
                    <a:pt x="4" y="65"/>
                  </a:lnTo>
                  <a:lnTo>
                    <a:pt x="0" y="63"/>
                  </a:lnTo>
                  <a:lnTo>
                    <a:pt x="0" y="57"/>
                  </a:lnTo>
                  <a:lnTo>
                    <a:pt x="0" y="54"/>
                  </a:lnTo>
                  <a:lnTo>
                    <a:pt x="4" y="52"/>
                  </a:lnTo>
                  <a:lnTo>
                    <a:pt x="6" y="48"/>
                  </a:lnTo>
                  <a:lnTo>
                    <a:pt x="17" y="46"/>
                  </a:lnTo>
                  <a:lnTo>
                    <a:pt x="31" y="44"/>
                  </a:lnTo>
                  <a:lnTo>
                    <a:pt x="33" y="40"/>
                  </a:lnTo>
                  <a:lnTo>
                    <a:pt x="35" y="38"/>
                  </a:lnTo>
                  <a:lnTo>
                    <a:pt x="37" y="31"/>
                  </a:lnTo>
                  <a:lnTo>
                    <a:pt x="40" y="25"/>
                  </a:lnTo>
                  <a:lnTo>
                    <a:pt x="42" y="21"/>
                  </a:lnTo>
                  <a:lnTo>
                    <a:pt x="44" y="19"/>
                  </a:lnTo>
                  <a:lnTo>
                    <a:pt x="46" y="11"/>
                  </a:lnTo>
                  <a:lnTo>
                    <a:pt x="50" y="6"/>
                  </a:lnTo>
                  <a:lnTo>
                    <a:pt x="52" y="2"/>
                  </a:lnTo>
                  <a:lnTo>
                    <a:pt x="54" y="0"/>
                  </a:lnTo>
                  <a:lnTo>
                    <a:pt x="56" y="2"/>
                  </a:lnTo>
                  <a:lnTo>
                    <a:pt x="60" y="6"/>
                  </a:lnTo>
                  <a:lnTo>
                    <a:pt x="79" y="9"/>
                  </a:lnTo>
                  <a:lnTo>
                    <a:pt x="98" y="13"/>
                  </a:lnTo>
                  <a:lnTo>
                    <a:pt x="100" y="11"/>
                  </a:lnTo>
                  <a:lnTo>
                    <a:pt x="102" y="9"/>
                  </a:lnTo>
                  <a:lnTo>
                    <a:pt x="106" y="8"/>
                  </a:lnTo>
                  <a:lnTo>
                    <a:pt x="108" y="6"/>
                  </a:lnTo>
                  <a:lnTo>
                    <a:pt x="109" y="2"/>
                  </a:lnTo>
                  <a:lnTo>
                    <a:pt x="111" y="0"/>
                  </a:lnTo>
                  <a:lnTo>
                    <a:pt x="119" y="0"/>
                  </a:lnTo>
                  <a:lnTo>
                    <a:pt x="127" y="0"/>
                  </a:lnTo>
                  <a:lnTo>
                    <a:pt x="129" y="15"/>
                  </a:lnTo>
                  <a:lnTo>
                    <a:pt x="131" y="29"/>
                  </a:lnTo>
                  <a:lnTo>
                    <a:pt x="134" y="31"/>
                  </a:lnTo>
                  <a:lnTo>
                    <a:pt x="136" y="34"/>
                  </a:lnTo>
                  <a:lnTo>
                    <a:pt x="146" y="36"/>
                  </a:lnTo>
                  <a:lnTo>
                    <a:pt x="156" y="38"/>
                  </a:lnTo>
                  <a:lnTo>
                    <a:pt x="156" y="46"/>
                  </a:lnTo>
                  <a:lnTo>
                    <a:pt x="156" y="54"/>
                  </a:lnTo>
                  <a:lnTo>
                    <a:pt x="154" y="56"/>
                  </a:lnTo>
                  <a:lnTo>
                    <a:pt x="152" y="57"/>
                  </a:lnTo>
                  <a:lnTo>
                    <a:pt x="148" y="59"/>
                  </a:lnTo>
                  <a:lnTo>
                    <a:pt x="146" y="63"/>
                  </a:lnTo>
                  <a:lnTo>
                    <a:pt x="144" y="65"/>
                  </a:lnTo>
                  <a:lnTo>
                    <a:pt x="140" y="67"/>
                  </a:lnTo>
                  <a:lnTo>
                    <a:pt x="134" y="69"/>
                  </a:lnTo>
                  <a:lnTo>
                    <a:pt x="127" y="73"/>
                  </a:lnTo>
                  <a:lnTo>
                    <a:pt x="125" y="75"/>
                  </a:lnTo>
                  <a:lnTo>
                    <a:pt x="123" y="79"/>
                  </a:lnTo>
                  <a:lnTo>
                    <a:pt x="119" y="104"/>
                  </a:lnTo>
                  <a:lnTo>
                    <a:pt x="117" y="130"/>
                  </a:lnTo>
                  <a:lnTo>
                    <a:pt x="115" y="132"/>
                  </a:lnTo>
                  <a:lnTo>
                    <a:pt x="111" y="136"/>
                  </a:lnTo>
                  <a:lnTo>
                    <a:pt x="109" y="138"/>
                  </a:lnTo>
                  <a:lnTo>
                    <a:pt x="108" y="140"/>
                  </a:lnTo>
                  <a:lnTo>
                    <a:pt x="106" y="142"/>
                  </a:lnTo>
                  <a:lnTo>
                    <a:pt x="102" y="146"/>
                  </a:lnTo>
                  <a:lnTo>
                    <a:pt x="98" y="146"/>
                  </a:lnTo>
                  <a:lnTo>
                    <a:pt x="92" y="146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0" name="Freeform 330">
              <a:extLst>
                <a:ext uri="{FF2B5EF4-FFF2-40B4-BE49-F238E27FC236}">
                  <a16:creationId xmlns:a16="http://schemas.microsoft.com/office/drawing/2014/main" xmlns="" id="{391A6CF7-1FFC-9040-ADAA-8F4B19F9B3D9}"/>
                </a:ext>
              </a:extLst>
            </p:cNvPr>
            <p:cNvSpPr>
              <a:spLocks/>
            </p:cNvSpPr>
            <p:nvPr/>
          </p:nvSpPr>
          <p:spPr bwMode="auto">
            <a:xfrm>
              <a:off x="942975" y="4044766"/>
              <a:ext cx="269875" cy="247650"/>
            </a:xfrm>
            <a:custGeom>
              <a:avLst/>
              <a:gdLst>
                <a:gd name="T0" fmla="*/ 2147483647 w 173"/>
                <a:gd name="T1" fmla="*/ 2147483647 h 165"/>
                <a:gd name="T2" fmla="*/ 2147483647 w 173"/>
                <a:gd name="T3" fmla="*/ 2147483647 h 165"/>
                <a:gd name="T4" fmla="*/ 2147483647 w 173"/>
                <a:gd name="T5" fmla="*/ 2147483647 h 165"/>
                <a:gd name="T6" fmla="*/ 2147483647 w 173"/>
                <a:gd name="T7" fmla="*/ 2147483647 h 165"/>
                <a:gd name="T8" fmla="*/ 2147483647 w 173"/>
                <a:gd name="T9" fmla="*/ 2147483647 h 165"/>
                <a:gd name="T10" fmla="*/ 2147483647 w 173"/>
                <a:gd name="T11" fmla="*/ 2147483647 h 165"/>
                <a:gd name="T12" fmla="*/ 2147483647 w 173"/>
                <a:gd name="T13" fmla="*/ 2147483647 h 165"/>
                <a:gd name="T14" fmla="*/ 2147483647 w 173"/>
                <a:gd name="T15" fmla="*/ 2147483647 h 165"/>
                <a:gd name="T16" fmla="*/ 2147483647 w 173"/>
                <a:gd name="T17" fmla="*/ 2147483647 h 165"/>
                <a:gd name="T18" fmla="*/ 2147483647 w 173"/>
                <a:gd name="T19" fmla="*/ 2147483647 h 165"/>
                <a:gd name="T20" fmla="*/ 2147483647 w 173"/>
                <a:gd name="T21" fmla="*/ 2147483647 h 165"/>
                <a:gd name="T22" fmla="*/ 2147483647 w 173"/>
                <a:gd name="T23" fmla="*/ 2147483647 h 165"/>
                <a:gd name="T24" fmla="*/ 2147483647 w 173"/>
                <a:gd name="T25" fmla="*/ 2147483647 h 165"/>
                <a:gd name="T26" fmla="*/ 2147483647 w 173"/>
                <a:gd name="T27" fmla="*/ 2147483647 h 165"/>
                <a:gd name="T28" fmla="*/ 2147483647 w 173"/>
                <a:gd name="T29" fmla="*/ 2147483647 h 165"/>
                <a:gd name="T30" fmla="*/ 2147483647 w 173"/>
                <a:gd name="T31" fmla="*/ 2147483647 h 165"/>
                <a:gd name="T32" fmla="*/ 2147483647 w 173"/>
                <a:gd name="T33" fmla="*/ 2147483647 h 165"/>
                <a:gd name="T34" fmla="*/ 2147483647 w 173"/>
                <a:gd name="T35" fmla="*/ 2147483647 h 165"/>
                <a:gd name="T36" fmla="*/ 2147483647 w 173"/>
                <a:gd name="T37" fmla="*/ 2147483647 h 165"/>
                <a:gd name="T38" fmla="*/ 2147483647 w 173"/>
                <a:gd name="T39" fmla="*/ 2147483647 h 165"/>
                <a:gd name="T40" fmla="*/ 2147483647 w 173"/>
                <a:gd name="T41" fmla="*/ 2147483647 h 165"/>
                <a:gd name="T42" fmla="*/ 2147483647 w 173"/>
                <a:gd name="T43" fmla="*/ 2147483647 h 165"/>
                <a:gd name="T44" fmla="*/ 2147483647 w 173"/>
                <a:gd name="T45" fmla="*/ 2147483647 h 165"/>
                <a:gd name="T46" fmla="*/ 2147483647 w 173"/>
                <a:gd name="T47" fmla="*/ 0 h 165"/>
                <a:gd name="T48" fmla="*/ 2147483647 w 173"/>
                <a:gd name="T49" fmla="*/ 0 h 165"/>
                <a:gd name="T50" fmla="*/ 2147483647 w 173"/>
                <a:gd name="T51" fmla="*/ 2147483647 h 165"/>
                <a:gd name="T52" fmla="*/ 2147483647 w 173"/>
                <a:gd name="T53" fmla="*/ 2147483647 h 165"/>
                <a:gd name="T54" fmla="*/ 2147483647 w 173"/>
                <a:gd name="T55" fmla="*/ 2147483647 h 165"/>
                <a:gd name="T56" fmla="*/ 2147483647 w 173"/>
                <a:gd name="T57" fmla="*/ 2147483647 h 165"/>
                <a:gd name="T58" fmla="*/ 2147483647 w 173"/>
                <a:gd name="T59" fmla="*/ 2147483647 h 165"/>
                <a:gd name="T60" fmla="*/ 2147483647 w 173"/>
                <a:gd name="T61" fmla="*/ 2147483647 h 165"/>
                <a:gd name="T62" fmla="*/ 2147483647 w 173"/>
                <a:gd name="T63" fmla="*/ 2147483647 h 165"/>
                <a:gd name="T64" fmla="*/ 2147483647 w 173"/>
                <a:gd name="T65" fmla="*/ 2147483647 h 165"/>
                <a:gd name="T66" fmla="*/ 2147483647 w 173"/>
                <a:gd name="T67" fmla="*/ 2147483647 h 165"/>
                <a:gd name="T68" fmla="*/ 2147483647 w 173"/>
                <a:gd name="T69" fmla="*/ 2147483647 h 165"/>
                <a:gd name="T70" fmla="*/ 2147483647 w 173"/>
                <a:gd name="T71" fmla="*/ 2147483647 h 165"/>
                <a:gd name="T72" fmla="*/ 2147483647 w 173"/>
                <a:gd name="T73" fmla="*/ 2147483647 h 165"/>
                <a:gd name="T74" fmla="*/ 2147483647 w 173"/>
                <a:gd name="T75" fmla="*/ 2147483647 h 165"/>
                <a:gd name="T76" fmla="*/ 2147483647 w 173"/>
                <a:gd name="T77" fmla="*/ 2147483647 h 165"/>
                <a:gd name="T78" fmla="*/ 2147483647 w 173"/>
                <a:gd name="T79" fmla="*/ 2147483647 h 165"/>
                <a:gd name="T80" fmla="*/ 2147483647 w 173"/>
                <a:gd name="T81" fmla="*/ 2147483647 h 165"/>
                <a:gd name="T82" fmla="*/ 2147483647 w 173"/>
                <a:gd name="T83" fmla="*/ 2147483647 h 16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73"/>
                <a:gd name="T127" fmla="*/ 0 h 165"/>
                <a:gd name="T128" fmla="*/ 173 w 173"/>
                <a:gd name="T129" fmla="*/ 165 h 16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73" h="165">
                  <a:moveTo>
                    <a:pt x="150" y="165"/>
                  </a:moveTo>
                  <a:lnTo>
                    <a:pt x="148" y="162"/>
                  </a:lnTo>
                  <a:lnTo>
                    <a:pt x="144" y="160"/>
                  </a:lnTo>
                  <a:lnTo>
                    <a:pt x="142" y="158"/>
                  </a:lnTo>
                  <a:lnTo>
                    <a:pt x="141" y="154"/>
                  </a:lnTo>
                  <a:lnTo>
                    <a:pt x="137" y="152"/>
                  </a:lnTo>
                  <a:lnTo>
                    <a:pt x="135" y="150"/>
                  </a:lnTo>
                  <a:lnTo>
                    <a:pt x="127" y="148"/>
                  </a:lnTo>
                  <a:lnTo>
                    <a:pt x="121" y="144"/>
                  </a:lnTo>
                  <a:lnTo>
                    <a:pt x="117" y="142"/>
                  </a:lnTo>
                  <a:lnTo>
                    <a:pt x="116" y="140"/>
                  </a:lnTo>
                  <a:lnTo>
                    <a:pt x="104" y="138"/>
                  </a:lnTo>
                  <a:lnTo>
                    <a:pt x="93" y="137"/>
                  </a:lnTo>
                  <a:lnTo>
                    <a:pt x="89" y="133"/>
                  </a:lnTo>
                  <a:lnTo>
                    <a:pt x="87" y="131"/>
                  </a:lnTo>
                  <a:lnTo>
                    <a:pt x="85" y="127"/>
                  </a:lnTo>
                  <a:lnTo>
                    <a:pt x="81" y="125"/>
                  </a:lnTo>
                  <a:lnTo>
                    <a:pt x="79" y="123"/>
                  </a:lnTo>
                  <a:lnTo>
                    <a:pt x="77" y="121"/>
                  </a:lnTo>
                  <a:lnTo>
                    <a:pt x="70" y="117"/>
                  </a:lnTo>
                  <a:lnTo>
                    <a:pt x="64" y="115"/>
                  </a:lnTo>
                  <a:lnTo>
                    <a:pt x="60" y="114"/>
                  </a:lnTo>
                  <a:lnTo>
                    <a:pt x="58" y="112"/>
                  </a:lnTo>
                  <a:lnTo>
                    <a:pt x="56" y="110"/>
                  </a:lnTo>
                  <a:lnTo>
                    <a:pt x="52" y="106"/>
                  </a:lnTo>
                  <a:lnTo>
                    <a:pt x="50" y="104"/>
                  </a:lnTo>
                  <a:lnTo>
                    <a:pt x="48" y="102"/>
                  </a:lnTo>
                  <a:lnTo>
                    <a:pt x="39" y="98"/>
                  </a:lnTo>
                  <a:lnTo>
                    <a:pt x="29" y="96"/>
                  </a:lnTo>
                  <a:lnTo>
                    <a:pt x="29" y="92"/>
                  </a:lnTo>
                  <a:lnTo>
                    <a:pt x="29" y="87"/>
                  </a:lnTo>
                  <a:lnTo>
                    <a:pt x="22" y="73"/>
                  </a:lnTo>
                  <a:lnTo>
                    <a:pt x="14" y="58"/>
                  </a:lnTo>
                  <a:lnTo>
                    <a:pt x="6" y="43"/>
                  </a:lnTo>
                  <a:lnTo>
                    <a:pt x="0" y="29"/>
                  </a:lnTo>
                  <a:lnTo>
                    <a:pt x="4" y="29"/>
                  </a:lnTo>
                  <a:lnTo>
                    <a:pt x="10" y="29"/>
                  </a:lnTo>
                  <a:lnTo>
                    <a:pt x="10" y="23"/>
                  </a:lnTo>
                  <a:lnTo>
                    <a:pt x="10" y="20"/>
                  </a:lnTo>
                  <a:lnTo>
                    <a:pt x="10" y="14"/>
                  </a:lnTo>
                  <a:lnTo>
                    <a:pt x="10" y="10"/>
                  </a:lnTo>
                  <a:lnTo>
                    <a:pt x="14" y="10"/>
                  </a:lnTo>
                  <a:lnTo>
                    <a:pt x="20" y="10"/>
                  </a:lnTo>
                  <a:lnTo>
                    <a:pt x="23" y="10"/>
                  </a:lnTo>
                  <a:lnTo>
                    <a:pt x="29" y="10"/>
                  </a:lnTo>
                  <a:lnTo>
                    <a:pt x="33" y="4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75" y="0"/>
                  </a:lnTo>
                  <a:lnTo>
                    <a:pt x="102" y="0"/>
                  </a:lnTo>
                  <a:lnTo>
                    <a:pt x="104" y="2"/>
                  </a:lnTo>
                  <a:lnTo>
                    <a:pt x="106" y="4"/>
                  </a:lnTo>
                  <a:lnTo>
                    <a:pt x="108" y="18"/>
                  </a:lnTo>
                  <a:lnTo>
                    <a:pt x="112" y="29"/>
                  </a:lnTo>
                  <a:lnTo>
                    <a:pt x="114" y="31"/>
                  </a:lnTo>
                  <a:lnTo>
                    <a:pt x="116" y="33"/>
                  </a:lnTo>
                  <a:lnTo>
                    <a:pt x="123" y="37"/>
                  </a:lnTo>
                  <a:lnTo>
                    <a:pt x="131" y="39"/>
                  </a:lnTo>
                  <a:lnTo>
                    <a:pt x="133" y="41"/>
                  </a:lnTo>
                  <a:lnTo>
                    <a:pt x="135" y="43"/>
                  </a:lnTo>
                  <a:lnTo>
                    <a:pt x="137" y="50"/>
                  </a:lnTo>
                  <a:lnTo>
                    <a:pt x="141" y="58"/>
                  </a:lnTo>
                  <a:lnTo>
                    <a:pt x="142" y="60"/>
                  </a:lnTo>
                  <a:lnTo>
                    <a:pt x="144" y="64"/>
                  </a:lnTo>
                  <a:lnTo>
                    <a:pt x="148" y="79"/>
                  </a:lnTo>
                  <a:lnTo>
                    <a:pt x="150" y="96"/>
                  </a:lnTo>
                  <a:lnTo>
                    <a:pt x="152" y="98"/>
                  </a:lnTo>
                  <a:lnTo>
                    <a:pt x="154" y="102"/>
                  </a:lnTo>
                  <a:lnTo>
                    <a:pt x="158" y="104"/>
                  </a:lnTo>
                  <a:lnTo>
                    <a:pt x="160" y="106"/>
                  </a:lnTo>
                  <a:lnTo>
                    <a:pt x="162" y="110"/>
                  </a:lnTo>
                  <a:lnTo>
                    <a:pt x="164" y="112"/>
                  </a:lnTo>
                  <a:lnTo>
                    <a:pt x="165" y="119"/>
                  </a:lnTo>
                  <a:lnTo>
                    <a:pt x="169" y="125"/>
                  </a:lnTo>
                  <a:lnTo>
                    <a:pt x="171" y="127"/>
                  </a:lnTo>
                  <a:lnTo>
                    <a:pt x="173" y="131"/>
                  </a:lnTo>
                  <a:lnTo>
                    <a:pt x="173" y="135"/>
                  </a:lnTo>
                  <a:lnTo>
                    <a:pt x="173" y="140"/>
                  </a:lnTo>
                  <a:lnTo>
                    <a:pt x="171" y="142"/>
                  </a:lnTo>
                  <a:lnTo>
                    <a:pt x="169" y="144"/>
                  </a:lnTo>
                  <a:lnTo>
                    <a:pt x="162" y="152"/>
                  </a:lnTo>
                  <a:lnTo>
                    <a:pt x="154" y="160"/>
                  </a:lnTo>
                  <a:lnTo>
                    <a:pt x="152" y="162"/>
                  </a:lnTo>
                  <a:lnTo>
                    <a:pt x="150" y="165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1" name="Freeform 331">
              <a:extLst>
                <a:ext uri="{FF2B5EF4-FFF2-40B4-BE49-F238E27FC236}">
                  <a16:creationId xmlns:a16="http://schemas.microsoft.com/office/drawing/2014/main" xmlns="" id="{EB91FF2E-01AB-C342-AF5E-BF95F44D9F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5575" y="4030478"/>
              <a:ext cx="285750" cy="230188"/>
            </a:xfrm>
            <a:custGeom>
              <a:avLst/>
              <a:gdLst>
                <a:gd name="T0" fmla="*/ 2147483647 w 185"/>
                <a:gd name="T1" fmla="*/ 2147483647 h 153"/>
                <a:gd name="T2" fmla="*/ 2147483647 w 185"/>
                <a:gd name="T3" fmla="*/ 2147483647 h 153"/>
                <a:gd name="T4" fmla="*/ 2147483647 w 185"/>
                <a:gd name="T5" fmla="*/ 2147483647 h 153"/>
                <a:gd name="T6" fmla="*/ 2147483647 w 185"/>
                <a:gd name="T7" fmla="*/ 2147483647 h 153"/>
                <a:gd name="T8" fmla="*/ 2147483647 w 185"/>
                <a:gd name="T9" fmla="*/ 2147483647 h 153"/>
                <a:gd name="T10" fmla="*/ 2147483647 w 185"/>
                <a:gd name="T11" fmla="*/ 2147483647 h 153"/>
                <a:gd name="T12" fmla="*/ 2147483647 w 185"/>
                <a:gd name="T13" fmla="*/ 2147483647 h 153"/>
                <a:gd name="T14" fmla="*/ 2147483647 w 185"/>
                <a:gd name="T15" fmla="*/ 2147483647 h 153"/>
                <a:gd name="T16" fmla="*/ 2147483647 w 185"/>
                <a:gd name="T17" fmla="*/ 2147483647 h 153"/>
                <a:gd name="T18" fmla="*/ 2147483647 w 185"/>
                <a:gd name="T19" fmla="*/ 2147483647 h 153"/>
                <a:gd name="T20" fmla="*/ 2147483647 w 185"/>
                <a:gd name="T21" fmla="*/ 2147483647 h 153"/>
                <a:gd name="T22" fmla="*/ 2147483647 w 185"/>
                <a:gd name="T23" fmla="*/ 2147483647 h 153"/>
                <a:gd name="T24" fmla="*/ 0 w 185"/>
                <a:gd name="T25" fmla="*/ 2147483647 h 153"/>
                <a:gd name="T26" fmla="*/ 2147483647 w 185"/>
                <a:gd name="T27" fmla="*/ 2147483647 h 153"/>
                <a:gd name="T28" fmla="*/ 2147483647 w 185"/>
                <a:gd name="T29" fmla="*/ 2147483647 h 153"/>
                <a:gd name="T30" fmla="*/ 2147483647 w 185"/>
                <a:gd name="T31" fmla="*/ 2147483647 h 153"/>
                <a:gd name="T32" fmla="*/ 2147483647 w 185"/>
                <a:gd name="T33" fmla="*/ 2147483647 h 153"/>
                <a:gd name="T34" fmla="*/ 2147483647 w 185"/>
                <a:gd name="T35" fmla="*/ 2147483647 h 153"/>
                <a:gd name="T36" fmla="*/ 2147483647 w 185"/>
                <a:gd name="T37" fmla="*/ 2147483647 h 153"/>
                <a:gd name="T38" fmla="*/ 2147483647 w 185"/>
                <a:gd name="T39" fmla="*/ 0 h 153"/>
                <a:gd name="T40" fmla="*/ 2147483647 w 185"/>
                <a:gd name="T41" fmla="*/ 2147483647 h 153"/>
                <a:gd name="T42" fmla="*/ 2147483647 w 185"/>
                <a:gd name="T43" fmla="*/ 2147483647 h 153"/>
                <a:gd name="T44" fmla="*/ 2147483647 w 185"/>
                <a:gd name="T45" fmla="*/ 2147483647 h 153"/>
                <a:gd name="T46" fmla="*/ 2147483647 w 185"/>
                <a:gd name="T47" fmla="*/ 2147483647 h 153"/>
                <a:gd name="T48" fmla="*/ 2147483647 w 185"/>
                <a:gd name="T49" fmla="*/ 2147483647 h 153"/>
                <a:gd name="T50" fmla="*/ 2147483647 w 185"/>
                <a:gd name="T51" fmla="*/ 2147483647 h 153"/>
                <a:gd name="T52" fmla="*/ 2147483647 w 185"/>
                <a:gd name="T53" fmla="*/ 2147483647 h 153"/>
                <a:gd name="T54" fmla="*/ 2147483647 w 185"/>
                <a:gd name="T55" fmla="*/ 2147483647 h 153"/>
                <a:gd name="T56" fmla="*/ 2147483647 w 185"/>
                <a:gd name="T57" fmla="*/ 2147483647 h 153"/>
                <a:gd name="T58" fmla="*/ 2147483647 w 185"/>
                <a:gd name="T59" fmla="*/ 2147483647 h 153"/>
                <a:gd name="T60" fmla="*/ 2147483647 w 185"/>
                <a:gd name="T61" fmla="*/ 2147483647 h 153"/>
                <a:gd name="T62" fmla="*/ 2147483647 w 185"/>
                <a:gd name="T63" fmla="*/ 2147483647 h 153"/>
                <a:gd name="T64" fmla="*/ 2147483647 w 185"/>
                <a:gd name="T65" fmla="*/ 2147483647 h 153"/>
                <a:gd name="T66" fmla="*/ 2147483647 w 185"/>
                <a:gd name="T67" fmla="*/ 2147483647 h 153"/>
                <a:gd name="T68" fmla="*/ 2147483647 w 185"/>
                <a:gd name="T69" fmla="*/ 2147483647 h 153"/>
                <a:gd name="T70" fmla="*/ 2147483647 w 185"/>
                <a:gd name="T71" fmla="*/ 2147483647 h 153"/>
                <a:gd name="T72" fmla="*/ 2147483647 w 185"/>
                <a:gd name="T73" fmla="*/ 2147483647 h 153"/>
                <a:gd name="T74" fmla="*/ 2147483647 w 185"/>
                <a:gd name="T75" fmla="*/ 2147483647 h 153"/>
                <a:gd name="T76" fmla="*/ 2147483647 w 185"/>
                <a:gd name="T77" fmla="*/ 2147483647 h 153"/>
                <a:gd name="T78" fmla="*/ 2147483647 w 185"/>
                <a:gd name="T79" fmla="*/ 2147483647 h 153"/>
                <a:gd name="T80" fmla="*/ 2147483647 w 185"/>
                <a:gd name="T81" fmla="*/ 2147483647 h 153"/>
                <a:gd name="T82" fmla="*/ 2147483647 w 185"/>
                <a:gd name="T83" fmla="*/ 2147483647 h 153"/>
                <a:gd name="T84" fmla="*/ 2147483647 w 185"/>
                <a:gd name="T85" fmla="*/ 2147483647 h 153"/>
                <a:gd name="T86" fmla="*/ 2147483647 w 185"/>
                <a:gd name="T87" fmla="*/ 2147483647 h 153"/>
                <a:gd name="T88" fmla="*/ 2147483647 w 185"/>
                <a:gd name="T89" fmla="*/ 2147483647 h 15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85"/>
                <a:gd name="T136" fmla="*/ 0 h 153"/>
                <a:gd name="T137" fmla="*/ 185 w 185"/>
                <a:gd name="T138" fmla="*/ 153 h 15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85" h="153">
                  <a:moveTo>
                    <a:pt x="121" y="153"/>
                  </a:moveTo>
                  <a:lnTo>
                    <a:pt x="119" y="151"/>
                  </a:lnTo>
                  <a:lnTo>
                    <a:pt x="115" y="149"/>
                  </a:lnTo>
                  <a:lnTo>
                    <a:pt x="115" y="142"/>
                  </a:lnTo>
                  <a:lnTo>
                    <a:pt x="115" y="134"/>
                  </a:lnTo>
                  <a:lnTo>
                    <a:pt x="96" y="136"/>
                  </a:lnTo>
                  <a:lnTo>
                    <a:pt x="77" y="140"/>
                  </a:lnTo>
                  <a:lnTo>
                    <a:pt x="75" y="142"/>
                  </a:lnTo>
                  <a:lnTo>
                    <a:pt x="73" y="146"/>
                  </a:lnTo>
                  <a:lnTo>
                    <a:pt x="71" y="142"/>
                  </a:lnTo>
                  <a:lnTo>
                    <a:pt x="68" y="140"/>
                  </a:lnTo>
                  <a:lnTo>
                    <a:pt x="66" y="136"/>
                  </a:lnTo>
                  <a:lnTo>
                    <a:pt x="64" y="134"/>
                  </a:lnTo>
                  <a:lnTo>
                    <a:pt x="60" y="132"/>
                  </a:lnTo>
                  <a:lnTo>
                    <a:pt x="58" y="130"/>
                  </a:lnTo>
                  <a:lnTo>
                    <a:pt x="46" y="126"/>
                  </a:lnTo>
                  <a:lnTo>
                    <a:pt x="35" y="124"/>
                  </a:lnTo>
                  <a:lnTo>
                    <a:pt x="31" y="123"/>
                  </a:lnTo>
                  <a:lnTo>
                    <a:pt x="29" y="121"/>
                  </a:lnTo>
                  <a:lnTo>
                    <a:pt x="29" y="109"/>
                  </a:lnTo>
                  <a:lnTo>
                    <a:pt x="29" y="96"/>
                  </a:lnTo>
                  <a:lnTo>
                    <a:pt x="18" y="96"/>
                  </a:lnTo>
                  <a:lnTo>
                    <a:pt x="4" y="96"/>
                  </a:lnTo>
                  <a:lnTo>
                    <a:pt x="2" y="94"/>
                  </a:lnTo>
                  <a:lnTo>
                    <a:pt x="0" y="92"/>
                  </a:lnTo>
                  <a:lnTo>
                    <a:pt x="0" y="67"/>
                  </a:lnTo>
                  <a:lnTo>
                    <a:pt x="0" y="42"/>
                  </a:lnTo>
                  <a:lnTo>
                    <a:pt x="2" y="40"/>
                  </a:lnTo>
                  <a:lnTo>
                    <a:pt x="4" y="38"/>
                  </a:lnTo>
                  <a:lnTo>
                    <a:pt x="8" y="30"/>
                  </a:lnTo>
                  <a:lnTo>
                    <a:pt x="10" y="23"/>
                  </a:lnTo>
                  <a:lnTo>
                    <a:pt x="12" y="21"/>
                  </a:lnTo>
                  <a:lnTo>
                    <a:pt x="16" y="19"/>
                  </a:lnTo>
                  <a:lnTo>
                    <a:pt x="20" y="13"/>
                  </a:lnTo>
                  <a:lnTo>
                    <a:pt x="25" y="7"/>
                  </a:lnTo>
                  <a:lnTo>
                    <a:pt x="52" y="5"/>
                  </a:lnTo>
                  <a:lnTo>
                    <a:pt x="77" y="4"/>
                  </a:lnTo>
                  <a:lnTo>
                    <a:pt x="81" y="2"/>
                  </a:lnTo>
                  <a:lnTo>
                    <a:pt x="83" y="0"/>
                  </a:lnTo>
                  <a:lnTo>
                    <a:pt x="87" y="0"/>
                  </a:lnTo>
                  <a:lnTo>
                    <a:pt x="92" y="0"/>
                  </a:lnTo>
                  <a:lnTo>
                    <a:pt x="94" y="2"/>
                  </a:lnTo>
                  <a:lnTo>
                    <a:pt x="96" y="4"/>
                  </a:lnTo>
                  <a:lnTo>
                    <a:pt x="100" y="7"/>
                  </a:lnTo>
                  <a:lnTo>
                    <a:pt x="106" y="7"/>
                  </a:lnTo>
                  <a:lnTo>
                    <a:pt x="114" y="7"/>
                  </a:lnTo>
                  <a:lnTo>
                    <a:pt x="115" y="4"/>
                  </a:lnTo>
                  <a:lnTo>
                    <a:pt x="119" y="2"/>
                  </a:lnTo>
                  <a:lnTo>
                    <a:pt x="121" y="0"/>
                  </a:lnTo>
                  <a:lnTo>
                    <a:pt x="131" y="4"/>
                  </a:lnTo>
                  <a:lnTo>
                    <a:pt x="140" y="9"/>
                  </a:lnTo>
                  <a:lnTo>
                    <a:pt x="142" y="11"/>
                  </a:lnTo>
                  <a:lnTo>
                    <a:pt x="146" y="13"/>
                  </a:lnTo>
                  <a:lnTo>
                    <a:pt x="148" y="15"/>
                  </a:lnTo>
                  <a:lnTo>
                    <a:pt x="150" y="19"/>
                  </a:lnTo>
                  <a:lnTo>
                    <a:pt x="152" y="21"/>
                  </a:lnTo>
                  <a:lnTo>
                    <a:pt x="156" y="23"/>
                  </a:lnTo>
                  <a:lnTo>
                    <a:pt x="158" y="27"/>
                  </a:lnTo>
                  <a:lnTo>
                    <a:pt x="160" y="29"/>
                  </a:lnTo>
                  <a:lnTo>
                    <a:pt x="162" y="30"/>
                  </a:lnTo>
                  <a:lnTo>
                    <a:pt x="165" y="32"/>
                  </a:lnTo>
                  <a:lnTo>
                    <a:pt x="167" y="40"/>
                  </a:lnTo>
                  <a:lnTo>
                    <a:pt x="169" y="48"/>
                  </a:lnTo>
                  <a:lnTo>
                    <a:pt x="171" y="50"/>
                  </a:lnTo>
                  <a:lnTo>
                    <a:pt x="175" y="52"/>
                  </a:lnTo>
                  <a:lnTo>
                    <a:pt x="177" y="65"/>
                  </a:lnTo>
                  <a:lnTo>
                    <a:pt x="179" y="76"/>
                  </a:lnTo>
                  <a:lnTo>
                    <a:pt x="181" y="78"/>
                  </a:lnTo>
                  <a:lnTo>
                    <a:pt x="185" y="80"/>
                  </a:lnTo>
                  <a:lnTo>
                    <a:pt x="185" y="96"/>
                  </a:lnTo>
                  <a:lnTo>
                    <a:pt x="185" y="111"/>
                  </a:lnTo>
                  <a:lnTo>
                    <a:pt x="181" y="113"/>
                  </a:lnTo>
                  <a:lnTo>
                    <a:pt x="179" y="115"/>
                  </a:lnTo>
                  <a:lnTo>
                    <a:pt x="177" y="119"/>
                  </a:lnTo>
                  <a:lnTo>
                    <a:pt x="175" y="121"/>
                  </a:lnTo>
                  <a:lnTo>
                    <a:pt x="171" y="123"/>
                  </a:lnTo>
                  <a:lnTo>
                    <a:pt x="169" y="124"/>
                  </a:lnTo>
                  <a:lnTo>
                    <a:pt x="167" y="126"/>
                  </a:lnTo>
                  <a:lnTo>
                    <a:pt x="165" y="130"/>
                  </a:lnTo>
                  <a:lnTo>
                    <a:pt x="162" y="132"/>
                  </a:lnTo>
                  <a:lnTo>
                    <a:pt x="160" y="134"/>
                  </a:lnTo>
                  <a:lnTo>
                    <a:pt x="158" y="136"/>
                  </a:lnTo>
                  <a:lnTo>
                    <a:pt x="156" y="140"/>
                  </a:lnTo>
                  <a:lnTo>
                    <a:pt x="152" y="142"/>
                  </a:lnTo>
                  <a:lnTo>
                    <a:pt x="150" y="146"/>
                  </a:lnTo>
                  <a:lnTo>
                    <a:pt x="142" y="147"/>
                  </a:lnTo>
                  <a:lnTo>
                    <a:pt x="137" y="149"/>
                  </a:lnTo>
                  <a:lnTo>
                    <a:pt x="133" y="151"/>
                  </a:lnTo>
                  <a:lnTo>
                    <a:pt x="131" y="153"/>
                  </a:lnTo>
                  <a:lnTo>
                    <a:pt x="127" y="153"/>
                  </a:lnTo>
                  <a:lnTo>
                    <a:pt x="121" y="153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2" name="Freeform 332">
              <a:extLst>
                <a:ext uri="{FF2B5EF4-FFF2-40B4-BE49-F238E27FC236}">
                  <a16:creationId xmlns:a16="http://schemas.microsoft.com/office/drawing/2014/main" xmlns="" id="{196DA671-E97D-CF40-9B10-BC6B20513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2063" y="3947928"/>
              <a:ext cx="193675" cy="196850"/>
            </a:xfrm>
            <a:custGeom>
              <a:avLst/>
              <a:gdLst>
                <a:gd name="T0" fmla="*/ 2147483647 w 126"/>
                <a:gd name="T1" fmla="*/ 2147483647 h 134"/>
                <a:gd name="T2" fmla="*/ 2147483647 w 126"/>
                <a:gd name="T3" fmla="*/ 2147483647 h 134"/>
                <a:gd name="T4" fmla="*/ 2147483647 w 126"/>
                <a:gd name="T5" fmla="*/ 2147483647 h 134"/>
                <a:gd name="T6" fmla="*/ 2147483647 w 126"/>
                <a:gd name="T7" fmla="*/ 2147483647 h 134"/>
                <a:gd name="T8" fmla="*/ 2147483647 w 126"/>
                <a:gd name="T9" fmla="*/ 2147483647 h 134"/>
                <a:gd name="T10" fmla="*/ 2147483647 w 126"/>
                <a:gd name="T11" fmla="*/ 2147483647 h 134"/>
                <a:gd name="T12" fmla="*/ 2147483647 w 126"/>
                <a:gd name="T13" fmla="*/ 2147483647 h 134"/>
                <a:gd name="T14" fmla="*/ 2147483647 w 126"/>
                <a:gd name="T15" fmla="*/ 2147483647 h 134"/>
                <a:gd name="T16" fmla="*/ 2147483647 w 126"/>
                <a:gd name="T17" fmla="*/ 2147483647 h 134"/>
                <a:gd name="T18" fmla="*/ 2147483647 w 126"/>
                <a:gd name="T19" fmla="*/ 2147483647 h 134"/>
                <a:gd name="T20" fmla="*/ 2147483647 w 126"/>
                <a:gd name="T21" fmla="*/ 2147483647 h 134"/>
                <a:gd name="T22" fmla="*/ 2147483647 w 126"/>
                <a:gd name="T23" fmla="*/ 2147483647 h 134"/>
                <a:gd name="T24" fmla="*/ 2147483647 w 126"/>
                <a:gd name="T25" fmla="*/ 2147483647 h 134"/>
                <a:gd name="T26" fmla="*/ 2147483647 w 126"/>
                <a:gd name="T27" fmla="*/ 2147483647 h 134"/>
                <a:gd name="T28" fmla="*/ 0 w 126"/>
                <a:gd name="T29" fmla="*/ 2147483647 h 134"/>
                <a:gd name="T30" fmla="*/ 2147483647 w 126"/>
                <a:gd name="T31" fmla="*/ 2147483647 h 134"/>
                <a:gd name="T32" fmla="*/ 2147483647 w 126"/>
                <a:gd name="T33" fmla="*/ 2147483647 h 134"/>
                <a:gd name="T34" fmla="*/ 2147483647 w 126"/>
                <a:gd name="T35" fmla="*/ 2147483647 h 134"/>
                <a:gd name="T36" fmla="*/ 2147483647 w 126"/>
                <a:gd name="T37" fmla="*/ 2147483647 h 134"/>
                <a:gd name="T38" fmla="*/ 2147483647 w 126"/>
                <a:gd name="T39" fmla="*/ 2147483647 h 134"/>
                <a:gd name="T40" fmla="*/ 2147483647 w 126"/>
                <a:gd name="T41" fmla="*/ 2147483647 h 134"/>
                <a:gd name="T42" fmla="*/ 2147483647 w 126"/>
                <a:gd name="T43" fmla="*/ 2147483647 h 134"/>
                <a:gd name="T44" fmla="*/ 2147483647 w 126"/>
                <a:gd name="T45" fmla="*/ 0 h 134"/>
                <a:gd name="T46" fmla="*/ 2147483647 w 126"/>
                <a:gd name="T47" fmla="*/ 0 h 134"/>
                <a:gd name="T48" fmla="*/ 2147483647 w 126"/>
                <a:gd name="T49" fmla="*/ 0 h 134"/>
                <a:gd name="T50" fmla="*/ 2147483647 w 126"/>
                <a:gd name="T51" fmla="*/ 0 h 134"/>
                <a:gd name="T52" fmla="*/ 2147483647 w 126"/>
                <a:gd name="T53" fmla="*/ 0 h 134"/>
                <a:gd name="T54" fmla="*/ 2147483647 w 126"/>
                <a:gd name="T55" fmla="*/ 2147483647 h 134"/>
                <a:gd name="T56" fmla="*/ 2147483647 w 126"/>
                <a:gd name="T57" fmla="*/ 2147483647 h 134"/>
                <a:gd name="T58" fmla="*/ 2147483647 w 126"/>
                <a:gd name="T59" fmla="*/ 2147483647 h 134"/>
                <a:gd name="T60" fmla="*/ 2147483647 w 126"/>
                <a:gd name="T61" fmla="*/ 2147483647 h 134"/>
                <a:gd name="T62" fmla="*/ 2147483647 w 126"/>
                <a:gd name="T63" fmla="*/ 2147483647 h 134"/>
                <a:gd name="T64" fmla="*/ 2147483647 w 126"/>
                <a:gd name="T65" fmla="*/ 2147483647 h 134"/>
                <a:gd name="T66" fmla="*/ 2147483647 w 126"/>
                <a:gd name="T67" fmla="*/ 2147483647 h 134"/>
                <a:gd name="T68" fmla="*/ 2147483647 w 126"/>
                <a:gd name="T69" fmla="*/ 2147483647 h 134"/>
                <a:gd name="T70" fmla="*/ 2147483647 w 126"/>
                <a:gd name="T71" fmla="*/ 2147483647 h 134"/>
                <a:gd name="T72" fmla="*/ 2147483647 w 126"/>
                <a:gd name="T73" fmla="*/ 2147483647 h 134"/>
                <a:gd name="T74" fmla="*/ 2147483647 w 126"/>
                <a:gd name="T75" fmla="*/ 2147483647 h 134"/>
                <a:gd name="T76" fmla="*/ 2147483647 w 126"/>
                <a:gd name="T77" fmla="*/ 2147483647 h 134"/>
                <a:gd name="T78" fmla="*/ 2147483647 w 126"/>
                <a:gd name="T79" fmla="*/ 2147483647 h 134"/>
                <a:gd name="T80" fmla="*/ 2147483647 w 126"/>
                <a:gd name="T81" fmla="*/ 2147483647 h 134"/>
                <a:gd name="T82" fmla="*/ 2147483647 w 126"/>
                <a:gd name="T83" fmla="*/ 2147483647 h 134"/>
                <a:gd name="T84" fmla="*/ 2147483647 w 126"/>
                <a:gd name="T85" fmla="*/ 2147483647 h 134"/>
                <a:gd name="T86" fmla="*/ 2147483647 w 126"/>
                <a:gd name="T87" fmla="*/ 2147483647 h 134"/>
                <a:gd name="T88" fmla="*/ 2147483647 w 126"/>
                <a:gd name="T89" fmla="*/ 2147483647 h 134"/>
                <a:gd name="T90" fmla="*/ 2147483647 w 126"/>
                <a:gd name="T91" fmla="*/ 2147483647 h 134"/>
                <a:gd name="T92" fmla="*/ 2147483647 w 126"/>
                <a:gd name="T93" fmla="*/ 2147483647 h 134"/>
                <a:gd name="T94" fmla="*/ 2147483647 w 126"/>
                <a:gd name="T95" fmla="*/ 2147483647 h 134"/>
                <a:gd name="T96" fmla="*/ 2147483647 w 126"/>
                <a:gd name="T97" fmla="*/ 2147483647 h 134"/>
                <a:gd name="T98" fmla="*/ 2147483647 w 126"/>
                <a:gd name="T99" fmla="*/ 2147483647 h 134"/>
                <a:gd name="T100" fmla="*/ 2147483647 w 126"/>
                <a:gd name="T101" fmla="*/ 2147483647 h 134"/>
                <a:gd name="T102" fmla="*/ 2147483647 w 126"/>
                <a:gd name="T103" fmla="*/ 2147483647 h 134"/>
                <a:gd name="T104" fmla="*/ 2147483647 w 126"/>
                <a:gd name="T105" fmla="*/ 2147483647 h 134"/>
                <a:gd name="T106" fmla="*/ 2147483647 w 126"/>
                <a:gd name="T107" fmla="*/ 2147483647 h 134"/>
                <a:gd name="T108" fmla="*/ 2147483647 w 126"/>
                <a:gd name="T109" fmla="*/ 2147483647 h 134"/>
                <a:gd name="T110" fmla="*/ 2147483647 w 126"/>
                <a:gd name="T111" fmla="*/ 2147483647 h 134"/>
                <a:gd name="T112" fmla="*/ 2147483647 w 126"/>
                <a:gd name="T113" fmla="*/ 2147483647 h 134"/>
                <a:gd name="T114" fmla="*/ 2147483647 w 126"/>
                <a:gd name="T115" fmla="*/ 2147483647 h 134"/>
                <a:gd name="T116" fmla="*/ 2147483647 w 126"/>
                <a:gd name="T117" fmla="*/ 2147483647 h 134"/>
                <a:gd name="T118" fmla="*/ 2147483647 w 126"/>
                <a:gd name="T119" fmla="*/ 2147483647 h 134"/>
                <a:gd name="T120" fmla="*/ 2147483647 w 126"/>
                <a:gd name="T121" fmla="*/ 2147483647 h 13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6"/>
                <a:gd name="T184" fmla="*/ 0 h 134"/>
                <a:gd name="T185" fmla="*/ 126 w 126"/>
                <a:gd name="T186" fmla="*/ 134 h 13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6" h="134">
                  <a:moveTo>
                    <a:pt x="32" y="125"/>
                  </a:moveTo>
                  <a:lnTo>
                    <a:pt x="31" y="123"/>
                  </a:lnTo>
                  <a:lnTo>
                    <a:pt x="29" y="121"/>
                  </a:lnTo>
                  <a:lnTo>
                    <a:pt x="25" y="104"/>
                  </a:lnTo>
                  <a:lnTo>
                    <a:pt x="23" y="87"/>
                  </a:lnTo>
                  <a:lnTo>
                    <a:pt x="21" y="85"/>
                  </a:lnTo>
                  <a:lnTo>
                    <a:pt x="19" y="81"/>
                  </a:lnTo>
                  <a:lnTo>
                    <a:pt x="15" y="69"/>
                  </a:lnTo>
                  <a:lnTo>
                    <a:pt x="13" y="58"/>
                  </a:lnTo>
                  <a:lnTo>
                    <a:pt x="11" y="54"/>
                  </a:lnTo>
                  <a:lnTo>
                    <a:pt x="9" y="52"/>
                  </a:lnTo>
                  <a:lnTo>
                    <a:pt x="6" y="44"/>
                  </a:lnTo>
                  <a:lnTo>
                    <a:pt x="4" y="39"/>
                  </a:lnTo>
                  <a:lnTo>
                    <a:pt x="2" y="35"/>
                  </a:lnTo>
                  <a:lnTo>
                    <a:pt x="0" y="33"/>
                  </a:lnTo>
                  <a:lnTo>
                    <a:pt x="4" y="23"/>
                  </a:lnTo>
                  <a:lnTo>
                    <a:pt x="9" y="14"/>
                  </a:lnTo>
                  <a:lnTo>
                    <a:pt x="11" y="12"/>
                  </a:lnTo>
                  <a:lnTo>
                    <a:pt x="13" y="10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1" y="2"/>
                  </a:lnTo>
                  <a:lnTo>
                    <a:pt x="23" y="0"/>
                  </a:lnTo>
                  <a:lnTo>
                    <a:pt x="42" y="0"/>
                  </a:lnTo>
                  <a:lnTo>
                    <a:pt x="61" y="0"/>
                  </a:lnTo>
                  <a:lnTo>
                    <a:pt x="80" y="0"/>
                  </a:lnTo>
                  <a:lnTo>
                    <a:pt x="100" y="0"/>
                  </a:lnTo>
                  <a:lnTo>
                    <a:pt x="103" y="2"/>
                  </a:lnTo>
                  <a:lnTo>
                    <a:pt x="105" y="4"/>
                  </a:lnTo>
                  <a:lnTo>
                    <a:pt x="107" y="6"/>
                  </a:lnTo>
                  <a:lnTo>
                    <a:pt x="109" y="10"/>
                  </a:lnTo>
                  <a:lnTo>
                    <a:pt x="113" y="12"/>
                  </a:lnTo>
                  <a:lnTo>
                    <a:pt x="115" y="14"/>
                  </a:lnTo>
                  <a:lnTo>
                    <a:pt x="117" y="16"/>
                  </a:lnTo>
                  <a:lnTo>
                    <a:pt x="121" y="19"/>
                  </a:lnTo>
                  <a:lnTo>
                    <a:pt x="123" y="21"/>
                  </a:lnTo>
                  <a:lnTo>
                    <a:pt x="125" y="23"/>
                  </a:lnTo>
                  <a:lnTo>
                    <a:pt x="125" y="40"/>
                  </a:lnTo>
                  <a:lnTo>
                    <a:pt x="126" y="58"/>
                  </a:lnTo>
                  <a:lnTo>
                    <a:pt x="121" y="65"/>
                  </a:lnTo>
                  <a:lnTo>
                    <a:pt x="115" y="71"/>
                  </a:lnTo>
                  <a:lnTo>
                    <a:pt x="113" y="73"/>
                  </a:lnTo>
                  <a:lnTo>
                    <a:pt x="109" y="77"/>
                  </a:lnTo>
                  <a:lnTo>
                    <a:pt x="107" y="83"/>
                  </a:lnTo>
                  <a:lnTo>
                    <a:pt x="105" y="90"/>
                  </a:lnTo>
                  <a:lnTo>
                    <a:pt x="103" y="94"/>
                  </a:lnTo>
                  <a:lnTo>
                    <a:pt x="100" y="96"/>
                  </a:lnTo>
                  <a:lnTo>
                    <a:pt x="98" y="106"/>
                  </a:lnTo>
                  <a:lnTo>
                    <a:pt x="96" y="115"/>
                  </a:lnTo>
                  <a:lnTo>
                    <a:pt x="84" y="115"/>
                  </a:lnTo>
                  <a:lnTo>
                    <a:pt x="78" y="115"/>
                  </a:lnTo>
                  <a:lnTo>
                    <a:pt x="77" y="117"/>
                  </a:lnTo>
                  <a:lnTo>
                    <a:pt x="77" y="121"/>
                  </a:lnTo>
                  <a:lnTo>
                    <a:pt x="75" y="123"/>
                  </a:lnTo>
                  <a:lnTo>
                    <a:pt x="71" y="125"/>
                  </a:lnTo>
                  <a:lnTo>
                    <a:pt x="69" y="127"/>
                  </a:lnTo>
                  <a:lnTo>
                    <a:pt x="67" y="131"/>
                  </a:lnTo>
                  <a:lnTo>
                    <a:pt x="65" y="133"/>
                  </a:lnTo>
                  <a:lnTo>
                    <a:pt x="61" y="134"/>
                  </a:lnTo>
                  <a:lnTo>
                    <a:pt x="48" y="129"/>
                  </a:lnTo>
                  <a:lnTo>
                    <a:pt x="32" y="125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3" name="Freeform 333">
              <a:extLst>
                <a:ext uri="{FF2B5EF4-FFF2-40B4-BE49-F238E27FC236}">
                  <a16:creationId xmlns:a16="http://schemas.microsoft.com/office/drawing/2014/main" xmlns="" id="{3CF30CDE-B17D-7F46-B11D-D43E94755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4963" y="3827278"/>
              <a:ext cx="238125" cy="274638"/>
            </a:xfrm>
            <a:custGeom>
              <a:avLst/>
              <a:gdLst>
                <a:gd name="T0" fmla="*/ 2147483647 w 156"/>
                <a:gd name="T1" fmla="*/ 2147483647 h 184"/>
                <a:gd name="T2" fmla="*/ 2147483647 w 156"/>
                <a:gd name="T3" fmla="*/ 2147483647 h 184"/>
                <a:gd name="T4" fmla="*/ 2147483647 w 156"/>
                <a:gd name="T5" fmla="*/ 2147483647 h 184"/>
                <a:gd name="T6" fmla="*/ 2147483647 w 156"/>
                <a:gd name="T7" fmla="*/ 2147483647 h 184"/>
                <a:gd name="T8" fmla="*/ 2147483647 w 156"/>
                <a:gd name="T9" fmla="*/ 2147483647 h 184"/>
                <a:gd name="T10" fmla="*/ 2147483647 w 156"/>
                <a:gd name="T11" fmla="*/ 2147483647 h 184"/>
                <a:gd name="T12" fmla="*/ 2147483647 w 156"/>
                <a:gd name="T13" fmla="*/ 2147483647 h 184"/>
                <a:gd name="T14" fmla="*/ 2147483647 w 156"/>
                <a:gd name="T15" fmla="*/ 2147483647 h 184"/>
                <a:gd name="T16" fmla="*/ 2147483647 w 156"/>
                <a:gd name="T17" fmla="*/ 2147483647 h 184"/>
                <a:gd name="T18" fmla="*/ 2147483647 w 156"/>
                <a:gd name="T19" fmla="*/ 2147483647 h 184"/>
                <a:gd name="T20" fmla="*/ 2147483647 w 156"/>
                <a:gd name="T21" fmla="*/ 2147483647 h 184"/>
                <a:gd name="T22" fmla="*/ 2147483647 w 156"/>
                <a:gd name="T23" fmla="*/ 2147483647 h 184"/>
                <a:gd name="T24" fmla="*/ 2147483647 w 156"/>
                <a:gd name="T25" fmla="*/ 2147483647 h 184"/>
                <a:gd name="T26" fmla="*/ 2147483647 w 156"/>
                <a:gd name="T27" fmla="*/ 2147483647 h 184"/>
                <a:gd name="T28" fmla="*/ 2147483647 w 156"/>
                <a:gd name="T29" fmla="*/ 2147483647 h 184"/>
                <a:gd name="T30" fmla="*/ 2147483647 w 156"/>
                <a:gd name="T31" fmla="*/ 2147483647 h 184"/>
                <a:gd name="T32" fmla="*/ 0 w 156"/>
                <a:gd name="T33" fmla="*/ 2147483647 h 184"/>
                <a:gd name="T34" fmla="*/ 2147483647 w 156"/>
                <a:gd name="T35" fmla="*/ 2147483647 h 184"/>
                <a:gd name="T36" fmla="*/ 2147483647 w 156"/>
                <a:gd name="T37" fmla="*/ 2147483647 h 184"/>
                <a:gd name="T38" fmla="*/ 2147483647 w 156"/>
                <a:gd name="T39" fmla="*/ 0 h 184"/>
                <a:gd name="T40" fmla="*/ 2147483647 w 156"/>
                <a:gd name="T41" fmla="*/ 2147483647 h 184"/>
                <a:gd name="T42" fmla="*/ 2147483647 w 156"/>
                <a:gd name="T43" fmla="*/ 2147483647 h 184"/>
                <a:gd name="T44" fmla="*/ 2147483647 w 156"/>
                <a:gd name="T45" fmla="*/ 2147483647 h 184"/>
                <a:gd name="T46" fmla="*/ 2147483647 w 156"/>
                <a:gd name="T47" fmla="*/ 2147483647 h 184"/>
                <a:gd name="T48" fmla="*/ 2147483647 w 156"/>
                <a:gd name="T49" fmla="*/ 2147483647 h 184"/>
                <a:gd name="T50" fmla="*/ 2147483647 w 156"/>
                <a:gd name="T51" fmla="*/ 2147483647 h 184"/>
                <a:gd name="T52" fmla="*/ 2147483647 w 156"/>
                <a:gd name="T53" fmla="*/ 2147483647 h 184"/>
                <a:gd name="T54" fmla="*/ 2147483647 w 156"/>
                <a:gd name="T55" fmla="*/ 2147483647 h 184"/>
                <a:gd name="T56" fmla="*/ 2147483647 w 156"/>
                <a:gd name="T57" fmla="*/ 2147483647 h 184"/>
                <a:gd name="T58" fmla="*/ 2147483647 w 156"/>
                <a:gd name="T59" fmla="*/ 2147483647 h 184"/>
                <a:gd name="T60" fmla="*/ 2147483647 w 156"/>
                <a:gd name="T61" fmla="*/ 2147483647 h 184"/>
                <a:gd name="T62" fmla="*/ 2147483647 w 156"/>
                <a:gd name="T63" fmla="*/ 2147483647 h 184"/>
                <a:gd name="T64" fmla="*/ 2147483647 w 156"/>
                <a:gd name="T65" fmla="*/ 2147483647 h 184"/>
                <a:gd name="T66" fmla="*/ 2147483647 w 156"/>
                <a:gd name="T67" fmla="*/ 2147483647 h 184"/>
                <a:gd name="T68" fmla="*/ 2147483647 w 156"/>
                <a:gd name="T69" fmla="*/ 2147483647 h 184"/>
                <a:gd name="T70" fmla="*/ 2147483647 w 156"/>
                <a:gd name="T71" fmla="*/ 2147483647 h 184"/>
                <a:gd name="T72" fmla="*/ 2147483647 w 156"/>
                <a:gd name="T73" fmla="*/ 2147483647 h 184"/>
                <a:gd name="T74" fmla="*/ 2147483647 w 156"/>
                <a:gd name="T75" fmla="*/ 2147483647 h 184"/>
                <a:gd name="T76" fmla="*/ 2147483647 w 156"/>
                <a:gd name="T77" fmla="*/ 2147483647 h 184"/>
                <a:gd name="T78" fmla="*/ 2147483647 w 156"/>
                <a:gd name="T79" fmla="*/ 2147483647 h 184"/>
                <a:gd name="T80" fmla="*/ 2147483647 w 156"/>
                <a:gd name="T81" fmla="*/ 2147483647 h 184"/>
                <a:gd name="T82" fmla="*/ 2147483647 w 156"/>
                <a:gd name="T83" fmla="*/ 2147483647 h 184"/>
                <a:gd name="T84" fmla="*/ 2147483647 w 156"/>
                <a:gd name="T85" fmla="*/ 2147483647 h 184"/>
                <a:gd name="T86" fmla="*/ 2147483647 w 156"/>
                <a:gd name="T87" fmla="*/ 2147483647 h 184"/>
                <a:gd name="T88" fmla="*/ 2147483647 w 156"/>
                <a:gd name="T89" fmla="*/ 2147483647 h 184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56"/>
                <a:gd name="T136" fmla="*/ 0 h 184"/>
                <a:gd name="T137" fmla="*/ 156 w 156"/>
                <a:gd name="T138" fmla="*/ 184 h 184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56" h="184">
                  <a:moveTo>
                    <a:pt x="64" y="184"/>
                  </a:moveTo>
                  <a:lnTo>
                    <a:pt x="62" y="182"/>
                  </a:lnTo>
                  <a:lnTo>
                    <a:pt x="60" y="178"/>
                  </a:lnTo>
                  <a:lnTo>
                    <a:pt x="56" y="172"/>
                  </a:lnTo>
                  <a:lnTo>
                    <a:pt x="54" y="165"/>
                  </a:lnTo>
                  <a:lnTo>
                    <a:pt x="52" y="163"/>
                  </a:lnTo>
                  <a:lnTo>
                    <a:pt x="50" y="159"/>
                  </a:lnTo>
                  <a:lnTo>
                    <a:pt x="47" y="157"/>
                  </a:lnTo>
                  <a:lnTo>
                    <a:pt x="45" y="155"/>
                  </a:lnTo>
                  <a:lnTo>
                    <a:pt x="43" y="151"/>
                  </a:lnTo>
                  <a:lnTo>
                    <a:pt x="41" y="149"/>
                  </a:lnTo>
                  <a:lnTo>
                    <a:pt x="37" y="147"/>
                  </a:lnTo>
                  <a:lnTo>
                    <a:pt x="35" y="145"/>
                  </a:lnTo>
                  <a:lnTo>
                    <a:pt x="33" y="143"/>
                  </a:lnTo>
                  <a:lnTo>
                    <a:pt x="31" y="140"/>
                  </a:lnTo>
                  <a:lnTo>
                    <a:pt x="25" y="130"/>
                  </a:lnTo>
                  <a:lnTo>
                    <a:pt x="22" y="120"/>
                  </a:lnTo>
                  <a:lnTo>
                    <a:pt x="23" y="118"/>
                  </a:lnTo>
                  <a:lnTo>
                    <a:pt x="25" y="117"/>
                  </a:lnTo>
                  <a:lnTo>
                    <a:pt x="29" y="111"/>
                  </a:lnTo>
                  <a:lnTo>
                    <a:pt x="29" y="97"/>
                  </a:lnTo>
                  <a:lnTo>
                    <a:pt x="29" y="84"/>
                  </a:lnTo>
                  <a:lnTo>
                    <a:pt x="25" y="78"/>
                  </a:lnTo>
                  <a:lnTo>
                    <a:pt x="23" y="74"/>
                  </a:lnTo>
                  <a:lnTo>
                    <a:pt x="22" y="72"/>
                  </a:lnTo>
                  <a:lnTo>
                    <a:pt x="18" y="65"/>
                  </a:lnTo>
                  <a:lnTo>
                    <a:pt x="16" y="57"/>
                  </a:lnTo>
                  <a:lnTo>
                    <a:pt x="14" y="55"/>
                  </a:lnTo>
                  <a:lnTo>
                    <a:pt x="10" y="53"/>
                  </a:lnTo>
                  <a:lnTo>
                    <a:pt x="8" y="46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0" y="34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3"/>
                  </a:lnTo>
                  <a:lnTo>
                    <a:pt x="6" y="19"/>
                  </a:lnTo>
                  <a:lnTo>
                    <a:pt x="8" y="9"/>
                  </a:lnTo>
                  <a:lnTo>
                    <a:pt x="10" y="0"/>
                  </a:lnTo>
                  <a:lnTo>
                    <a:pt x="20" y="0"/>
                  </a:lnTo>
                  <a:lnTo>
                    <a:pt x="31" y="0"/>
                  </a:lnTo>
                  <a:lnTo>
                    <a:pt x="33" y="9"/>
                  </a:lnTo>
                  <a:lnTo>
                    <a:pt x="35" y="19"/>
                  </a:lnTo>
                  <a:lnTo>
                    <a:pt x="37" y="23"/>
                  </a:lnTo>
                  <a:lnTo>
                    <a:pt x="41" y="24"/>
                  </a:lnTo>
                  <a:lnTo>
                    <a:pt x="50" y="24"/>
                  </a:lnTo>
                  <a:lnTo>
                    <a:pt x="60" y="24"/>
                  </a:lnTo>
                  <a:lnTo>
                    <a:pt x="62" y="23"/>
                  </a:lnTo>
                  <a:lnTo>
                    <a:pt x="64" y="19"/>
                  </a:lnTo>
                  <a:lnTo>
                    <a:pt x="70" y="38"/>
                  </a:lnTo>
                  <a:lnTo>
                    <a:pt x="73" y="57"/>
                  </a:lnTo>
                  <a:lnTo>
                    <a:pt x="77" y="61"/>
                  </a:lnTo>
                  <a:lnTo>
                    <a:pt x="79" y="63"/>
                  </a:lnTo>
                  <a:lnTo>
                    <a:pt x="91" y="65"/>
                  </a:lnTo>
                  <a:lnTo>
                    <a:pt x="104" y="67"/>
                  </a:lnTo>
                  <a:lnTo>
                    <a:pt x="106" y="71"/>
                  </a:lnTo>
                  <a:lnTo>
                    <a:pt x="108" y="72"/>
                  </a:lnTo>
                  <a:lnTo>
                    <a:pt x="110" y="80"/>
                  </a:lnTo>
                  <a:lnTo>
                    <a:pt x="112" y="88"/>
                  </a:lnTo>
                  <a:lnTo>
                    <a:pt x="116" y="90"/>
                  </a:lnTo>
                  <a:lnTo>
                    <a:pt x="118" y="92"/>
                  </a:lnTo>
                  <a:lnTo>
                    <a:pt x="119" y="99"/>
                  </a:lnTo>
                  <a:lnTo>
                    <a:pt x="121" y="107"/>
                  </a:lnTo>
                  <a:lnTo>
                    <a:pt x="125" y="109"/>
                  </a:lnTo>
                  <a:lnTo>
                    <a:pt x="127" y="111"/>
                  </a:lnTo>
                  <a:lnTo>
                    <a:pt x="129" y="113"/>
                  </a:lnTo>
                  <a:lnTo>
                    <a:pt x="133" y="117"/>
                  </a:lnTo>
                  <a:lnTo>
                    <a:pt x="135" y="118"/>
                  </a:lnTo>
                  <a:lnTo>
                    <a:pt x="137" y="120"/>
                  </a:lnTo>
                  <a:lnTo>
                    <a:pt x="139" y="122"/>
                  </a:lnTo>
                  <a:lnTo>
                    <a:pt x="142" y="126"/>
                  </a:lnTo>
                  <a:lnTo>
                    <a:pt x="144" y="128"/>
                  </a:lnTo>
                  <a:lnTo>
                    <a:pt x="146" y="130"/>
                  </a:lnTo>
                  <a:lnTo>
                    <a:pt x="150" y="140"/>
                  </a:lnTo>
                  <a:lnTo>
                    <a:pt x="156" y="149"/>
                  </a:lnTo>
                  <a:lnTo>
                    <a:pt x="154" y="151"/>
                  </a:lnTo>
                  <a:lnTo>
                    <a:pt x="152" y="155"/>
                  </a:lnTo>
                  <a:lnTo>
                    <a:pt x="139" y="157"/>
                  </a:lnTo>
                  <a:lnTo>
                    <a:pt x="127" y="159"/>
                  </a:lnTo>
                  <a:lnTo>
                    <a:pt x="125" y="163"/>
                  </a:lnTo>
                  <a:lnTo>
                    <a:pt x="121" y="165"/>
                  </a:lnTo>
                  <a:lnTo>
                    <a:pt x="110" y="166"/>
                  </a:lnTo>
                  <a:lnTo>
                    <a:pt x="98" y="168"/>
                  </a:lnTo>
                  <a:lnTo>
                    <a:pt x="94" y="172"/>
                  </a:lnTo>
                  <a:lnTo>
                    <a:pt x="93" y="174"/>
                  </a:lnTo>
                  <a:lnTo>
                    <a:pt x="87" y="176"/>
                  </a:lnTo>
                  <a:lnTo>
                    <a:pt x="79" y="178"/>
                  </a:lnTo>
                  <a:lnTo>
                    <a:pt x="77" y="182"/>
                  </a:lnTo>
                  <a:lnTo>
                    <a:pt x="73" y="184"/>
                  </a:lnTo>
                  <a:lnTo>
                    <a:pt x="70" y="184"/>
                  </a:lnTo>
                  <a:lnTo>
                    <a:pt x="64" y="184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4" name="Freeform 334">
              <a:extLst>
                <a:ext uri="{FF2B5EF4-FFF2-40B4-BE49-F238E27FC236}">
                  <a16:creationId xmlns:a16="http://schemas.microsoft.com/office/drawing/2014/main" xmlns="" id="{6564F030-150F-AC47-A168-FB96B53C6B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2913" y="3798703"/>
              <a:ext cx="265112" cy="238125"/>
            </a:xfrm>
            <a:custGeom>
              <a:avLst/>
              <a:gdLst>
                <a:gd name="T0" fmla="*/ 2147483647 w 171"/>
                <a:gd name="T1" fmla="*/ 2147483647 h 160"/>
                <a:gd name="T2" fmla="*/ 2147483647 w 171"/>
                <a:gd name="T3" fmla="*/ 2147483647 h 160"/>
                <a:gd name="T4" fmla="*/ 2147483647 w 171"/>
                <a:gd name="T5" fmla="*/ 2147483647 h 160"/>
                <a:gd name="T6" fmla="*/ 2147483647 w 171"/>
                <a:gd name="T7" fmla="*/ 2147483647 h 160"/>
                <a:gd name="T8" fmla="*/ 2147483647 w 171"/>
                <a:gd name="T9" fmla="*/ 2147483647 h 160"/>
                <a:gd name="T10" fmla="*/ 2147483647 w 171"/>
                <a:gd name="T11" fmla="*/ 2147483647 h 160"/>
                <a:gd name="T12" fmla="*/ 2147483647 w 171"/>
                <a:gd name="T13" fmla="*/ 2147483647 h 160"/>
                <a:gd name="T14" fmla="*/ 2147483647 w 171"/>
                <a:gd name="T15" fmla="*/ 2147483647 h 160"/>
                <a:gd name="T16" fmla="*/ 2147483647 w 171"/>
                <a:gd name="T17" fmla="*/ 2147483647 h 160"/>
                <a:gd name="T18" fmla="*/ 2147483647 w 171"/>
                <a:gd name="T19" fmla="*/ 2147483647 h 160"/>
                <a:gd name="T20" fmla="*/ 2147483647 w 171"/>
                <a:gd name="T21" fmla="*/ 2147483647 h 160"/>
                <a:gd name="T22" fmla="*/ 2147483647 w 171"/>
                <a:gd name="T23" fmla="*/ 2147483647 h 160"/>
                <a:gd name="T24" fmla="*/ 2147483647 w 171"/>
                <a:gd name="T25" fmla="*/ 2147483647 h 160"/>
                <a:gd name="T26" fmla="*/ 2147483647 w 171"/>
                <a:gd name="T27" fmla="*/ 2147483647 h 160"/>
                <a:gd name="T28" fmla="*/ 2147483647 w 171"/>
                <a:gd name="T29" fmla="*/ 2147483647 h 160"/>
                <a:gd name="T30" fmla="*/ 2147483647 w 171"/>
                <a:gd name="T31" fmla="*/ 2147483647 h 160"/>
                <a:gd name="T32" fmla="*/ 2147483647 w 171"/>
                <a:gd name="T33" fmla="*/ 2147483647 h 160"/>
                <a:gd name="T34" fmla="*/ 2147483647 w 171"/>
                <a:gd name="T35" fmla="*/ 2147483647 h 160"/>
                <a:gd name="T36" fmla="*/ 2147483647 w 171"/>
                <a:gd name="T37" fmla="*/ 2147483647 h 160"/>
                <a:gd name="T38" fmla="*/ 2147483647 w 171"/>
                <a:gd name="T39" fmla="*/ 2147483647 h 160"/>
                <a:gd name="T40" fmla="*/ 2147483647 w 171"/>
                <a:gd name="T41" fmla="*/ 2147483647 h 160"/>
                <a:gd name="T42" fmla="*/ 2147483647 w 171"/>
                <a:gd name="T43" fmla="*/ 2147483647 h 160"/>
                <a:gd name="T44" fmla="*/ 2147483647 w 171"/>
                <a:gd name="T45" fmla="*/ 0 h 160"/>
                <a:gd name="T46" fmla="*/ 2147483647 w 171"/>
                <a:gd name="T47" fmla="*/ 2147483647 h 160"/>
                <a:gd name="T48" fmla="*/ 2147483647 w 171"/>
                <a:gd name="T49" fmla="*/ 2147483647 h 160"/>
                <a:gd name="T50" fmla="*/ 2147483647 w 171"/>
                <a:gd name="T51" fmla="*/ 2147483647 h 160"/>
                <a:gd name="T52" fmla="*/ 2147483647 w 171"/>
                <a:gd name="T53" fmla="*/ 2147483647 h 160"/>
                <a:gd name="T54" fmla="*/ 2147483647 w 171"/>
                <a:gd name="T55" fmla="*/ 2147483647 h 160"/>
                <a:gd name="T56" fmla="*/ 2147483647 w 171"/>
                <a:gd name="T57" fmla="*/ 2147483647 h 160"/>
                <a:gd name="T58" fmla="*/ 2147483647 w 171"/>
                <a:gd name="T59" fmla="*/ 2147483647 h 160"/>
                <a:gd name="T60" fmla="*/ 2147483647 w 171"/>
                <a:gd name="T61" fmla="*/ 2147483647 h 160"/>
                <a:gd name="T62" fmla="*/ 2147483647 w 171"/>
                <a:gd name="T63" fmla="*/ 2147483647 h 160"/>
                <a:gd name="T64" fmla="*/ 2147483647 w 171"/>
                <a:gd name="T65" fmla="*/ 2147483647 h 160"/>
                <a:gd name="T66" fmla="*/ 2147483647 w 171"/>
                <a:gd name="T67" fmla="*/ 2147483647 h 160"/>
                <a:gd name="T68" fmla="*/ 2147483647 w 171"/>
                <a:gd name="T69" fmla="*/ 2147483647 h 160"/>
                <a:gd name="T70" fmla="*/ 2147483647 w 171"/>
                <a:gd name="T71" fmla="*/ 2147483647 h 160"/>
                <a:gd name="T72" fmla="*/ 2147483647 w 171"/>
                <a:gd name="T73" fmla="*/ 2147483647 h 160"/>
                <a:gd name="T74" fmla="*/ 2147483647 w 171"/>
                <a:gd name="T75" fmla="*/ 2147483647 h 160"/>
                <a:gd name="T76" fmla="*/ 2147483647 w 171"/>
                <a:gd name="T77" fmla="*/ 2147483647 h 160"/>
                <a:gd name="T78" fmla="*/ 2147483647 w 171"/>
                <a:gd name="T79" fmla="*/ 2147483647 h 160"/>
                <a:gd name="T80" fmla="*/ 2147483647 w 171"/>
                <a:gd name="T81" fmla="*/ 2147483647 h 160"/>
                <a:gd name="T82" fmla="*/ 2147483647 w 171"/>
                <a:gd name="T83" fmla="*/ 2147483647 h 160"/>
                <a:gd name="T84" fmla="*/ 2147483647 w 171"/>
                <a:gd name="T85" fmla="*/ 2147483647 h 160"/>
                <a:gd name="T86" fmla="*/ 2147483647 w 171"/>
                <a:gd name="T87" fmla="*/ 2147483647 h 160"/>
                <a:gd name="T88" fmla="*/ 2147483647 w 171"/>
                <a:gd name="T89" fmla="*/ 2147483647 h 160"/>
                <a:gd name="T90" fmla="*/ 2147483647 w 171"/>
                <a:gd name="T91" fmla="*/ 2147483647 h 160"/>
                <a:gd name="T92" fmla="*/ 2147483647 w 171"/>
                <a:gd name="T93" fmla="*/ 2147483647 h 160"/>
                <a:gd name="T94" fmla="*/ 2147483647 w 171"/>
                <a:gd name="T95" fmla="*/ 2147483647 h 160"/>
                <a:gd name="T96" fmla="*/ 2147483647 w 171"/>
                <a:gd name="T97" fmla="*/ 2147483647 h 160"/>
                <a:gd name="T98" fmla="*/ 2147483647 w 171"/>
                <a:gd name="T99" fmla="*/ 2147483647 h 160"/>
                <a:gd name="T100" fmla="*/ 2147483647 w 171"/>
                <a:gd name="T101" fmla="*/ 2147483647 h 16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71"/>
                <a:gd name="T154" fmla="*/ 0 h 160"/>
                <a:gd name="T155" fmla="*/ 171 w 171"/>
                <a:gd name="T156" fmla="*/ 160 h 16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71" h="160">
                  <a:moveTo>
                    <a:pt x="81" y="146"/>
                  </a:moveTo>
                  <a:lnTo>
                    <a:pt x="77" y="142"/>
                  </a:lnTo>
                  <a:lnTo>
                    <a:pt x="75" y="140"/>
                  </a:lnTo>
                  <a:lnTo>
                    <a:pt x="73" y="138"/>
                  </a:lnTo>
                  <a:lnTo>
                    <a:pt x="71" y="137"/>
                  </a:lnTo>
                  <a:lnTo>
                    <a:pt x="68" y="133"/>
                  </a:lnTo>
                  <a:lnTo>
                    <a:pt x="66" y="131"/>
                  </a:lnTo>
                  <a:lnTo>
                    <a:pt x="64" y="129"/>
                  </a:lnTo>
                  <a:lnTo>
                    <a:pt x="62" y="127"/>
                  </a:lnTo>
                  <a:lnTo>
                    <a:pt x="58" y="123"/>
                  </a:lnTo>
                  <a:lnTo>
                    <a:pt x="56" y="121"/>
                  </a:lnTo>
                  <a:lnTo>
                    <a:pt x="54" y="114"/>
                  </a:lnTo>
                  <a:lnTo>
                    <a:pt x="50" y="108"/>
                  </a:lnTo>
                  <a:lnTo>
                    <a:pt x="48" y="104"/>
                  </a:lnTo>
                  <a:lnTo>
                    <a:pt x="47" y="102"/>
                  </a:lnTo>
                  <a:lnTo>
                    <a:pt x="45" y="94"/>
                  </a:lnTo>
                  <a:lnTo>
                    <a:pt x="41" y="87"/>
                  </a:lnTo>
                  <a:lnTo>
                    <a:pt x="39" y="85"/>
                  </a:lnTo>
                  <a:lnTo>
                    <a:pt x="37" y="83"/>
                  </a:lnTo>
                  <a:lnTo>
                    <a:pt x="25" y="81"/>
                  </a:lnTo>
                  <a:lnTo>
                    <a:pt x="12" y="77"/>
                  </a:lnTo>
                  <a:lnTo>
                    <a:pt x="10" y="75"/>
                  </a:lnTo>
                  <a:lnTo>
                    <a:pt x="8" y="73"/>
                  </a:lnTo>
                  <a:lnTo>
                    <a:pt x="4" y="56"/>
                  </a:lnTo>
                  <a:lnTo>
                    <a:pt x="0" y="39"/>
                  </a:lnTo>
                  <a:lnTo>
                    <a:pt x="4" y="37"/>
                  </a:lnTo>
                  <a:lnTo>
                    <a:pt x="8" y="35"/>
                  </a:lnTo>
                  <a:lnTo>
                    <a:pt x="10" y="31"/>
                  </a:lnTo>
                  <a:lnTo>
                    <a:pt x="12" y="29"/>
                  </a:lnTo>
                  <a:lnTo>
                    <a:pt x="22" y="29"/>
                  </a:lnTo>
                  <a:lnTo>
                    <a:pt x="33" y="29"/>
                  </a:lnTo>
                  <a:lnTo>
                    <a:pt x="35" y="31"/>
                  </a:lnTo>
                  <a:lnTo>
                    <a:pt x="37" y="35"/>
                  </a:lnTo>
                  <a:lnTo>
                    <a:pt x="41" y="35"/>
                  </a:lnTo>
                  <a:lnTo>
                    <a:pt x="47" y="35"/>
                  </a:lnTo>
                  <a:lnTo>
                    <a:pt x="48" y="31"/>
                  </a:lnTo>
                  <a:lnTo>
                    <a:pt x="50" y="29"/>
                  </a:lnTo>
                  <a:lnTo>
                    <a:pt x="56" y="29"/>
                  </a:lnTo>
                  <a:lnTo>
                    <a:pt x="66" y="25"/>
                  </a:lnTo>
                  <a:lnTo>
                    <a:pt x="75" y="20"/>
                  </a:lnTo>
                  <a:lnTo>
                    <a:pt x="85" y="16"/>
                  </a:lnTo>
                  <a:lnTo>
                    <a:pt x="87" y="12"/>
                  </a:lnTo>
                  <a:lnTo>
                    <a:pt x="91" y="10"/>
                  </a:lnTo>
                  <a:lnTo>
                    <a:pt x="96" y="6"/>
                  </a:lnTo>
                  <a:lnTo>
                    <a:pt x="104" y="0"/>
                  </a:lnTo>
                  <a:lnTo>
                    <a:pt x="117" y="0"/>
                  </a:lnTo>
                  <a:lnTo>
                    <a:pt x="129" y="0"/>
                  </a:lnTo>
                  <a:lnTo>
                    <a:pt x="131" y="2"/>
                  </a:lnTo>
                  <a:lnTo>
                    <a:pt x="133" y="4"/>
                  </a:lnTo>
                  <a:lnTo>
                    <a:pt x="133" y="14"/>
                  </a:lnTo>
                  <a:lnTo>
                    <a:pt x="133" y="25"/>
                  </a:lnTo>
                  <a:lnTo>
                    <a:pt x="131" y="27"/>
                  </a:lnTo>
                  <a:lnTo>
                    <a:pt x="129" y="29"/>
                  </a:lnTo>
                  <a:lnTo>
                    <a:pt x="127" y="35"/>
                  </a:lnTo>
                  <a:lnTo>
                    <a:pt x="123" y="39"/>
                  </a:lnTo>
                  <a:lnTo>
                    <a:pt x="127" y="48"/>
                  </a:lnTo>
                  <a:lnTo>
                    <a:pt x="129" y="58"/>
                  </a:lnTo>
                  <a:lnTo>
                    <a:pt x="131" y="62"/>
                  </a:lnTo>
                  <a:lnTo>
                    <a:pt x="133" y="64"/>
                  </a:lnTo>
                  <a:lnTo>
                    <a:pt x="135" y="66"/>
                  </a:lnTo>
                  <a:lnTo>
                    <a:pt x="139" y="69"/>
                  </a:lnTo>
                  <a:lnTo>
                    <a:pt x="141" y="71"/>
                  </a:lnTo>
                  <a:lnTo>
                    <a:pt x="142" y="73"/>
                  </a:lnTo>
                  <a:lnTo>
                    <a:pt x="146" y="75"/>
                  </a:lnTo>
                  <a:lnTo>
                    <a:pt x="148" y="77"/>
                  </a:lnTo>
                  <a:lnTo>
                    <a:pt x="150" y="81"/>
                  </a:lnTo>
                  <a:lnTo>
                    <a:pt x="154" y="83"/>
                  </a:lnTo>
                  <a:lnTo>
                    <a:pt x="158" y="89"/>
                  </a:lnTo>
                  <a:lnTo>
                    <a:pt x="164" y="94"/>
                  </a:lnTo>
                  <a:lnTo>
                    <a:pt x="165" y="102"/>
                  </a:lnTo>
                  <a:lnTo>
                    <a:pt x="167" y="108"/>
                  </a:lnTo>
                  <a:lnTo>
                    <a:pt x="169" y="110"/>
                  </a:lnTo>
                  <a:lnTo>
                    <a:pt x="171" y="112"/>
                  </a:lnTo>
                  <a:lnTo>
                    <a:pt x="169" y="114"/>
                  </a:lnTo>
                  <a:lnTo>
                    <a:pt x="167" y="117"/>
                  </a:lnTo>
                  <a:lnTo>
                    <a:pt x="165" y="119"/>
                  </a:lnTo>
                  <a:lnTo>
                    <a:pt x="162" y="121"/>
                  </a:lnTo>
                  <a:lnTo>
                    <a:pt x="160" y="123"/>
                  </a:lnTo>
                  <a:lnTo>
                    <a:pt x="158" y="127"/>
                  </a:lnTo>
                  <a:lnTo>
                    <a:pt x="156" y="133"/>
                  </a:lnTo>
                  <a:lnTo>
                    <a:pt x="154" y="140"/>
                  </a:lnTo>
                  <a:lnTo>
                    <a:pt x="150" y="142"/>
                  </a:lnTo>
                  <a:lnTo>
                    <a:pt x="148" y="146"/>
                  </a:lnTo>
                  <a:lnTo>
                    <a:pt x="142" y="146"/>
                  </a:lnTo>
                  <a:lnTo>
                    <a:pt x="139" y="146"/>
                  </a:lnTo>
                  <a:lnTo>
                    <a:pt x="135" y="142"/>
                  </a:lnTo>
                  <a:lnTo>
                    <a:pt x="133" y="140"/>
                  </a:lnTo>
                  <a:lnTo>
                    <a:pt x="129" y="138"/>
                  </a:lnTo>
                  <a:lnTo>
                    <a:pt x="119" y="137"/>
                  </a:lnTo>
                  <a:lnTo>
                    <a:pt x="110" y="138"/>
                  </a:lnTo>
                  <a:lnTo>
                    <a:pt x="104" y="140"/>
                  </a:lnTo>
                  <a:lnTo>
                    <a:pt x="102" y="142"/>
                  </a:lnTo>
                  <a:lnTo>
                    <a:pt x="100" y="146"/>
                  </a:lnTo>
                  <a:lnTo>
                    <a:pt x="98" y="148"/>
                  </a:lnTo>
                  <a:lnTo>
                    <a:pt x="98" y="154"/>
                  </a:lnTo>
                  <a:lnTo>
                    <a:pt x="96" y="156"/>
                  </a:lnTo>
                  <a:lnTo>
                    <a:pt x="96" y="158"/>
                  </a:lnTo>
                  <a:lnTo>
                    <a:pt x="94" y="160"/>
                  </a:lnTo>
                  <a:lnTo>
                    <a:pt x="91" y="160"/>
                  </a:lnTo>
                  <a:lnTo>
                    <a:pt x="85" y="156"/>
                  </a:lnTo>
                  <a:lnTo>
                    <a:pt x="83" y="152"/>
                  </a:lnTo>
                  <a:lnTo>
                    <a:pt x="81" y="148"/>
                  </a:lnTo>
                  <a:lnTo>
                    <a:pt x="81" y="146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5" name="Freeform 335">
              <a:extLst>
                <a:ext uri="{FF2B5EF4-FFF2-40B4-BE49-F238E27FC236}">
                  <a16:creationId xmlns:a16="http://schemas.microsoft.com/office/drawing/2014/main" xmlns="" id="{09D4C5A5-F4BB-A241-AA97-42B36C8076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19288" y="3741553"/>
              <a:ext cx="419100" cy="263525"/>
            </a:xfrm>
            <a:custGeom>
              <a:avLst/>
              <a:gdLst>
                <a:gd name="T0" fmla="*/ 2147483647 w 270"/>
                <a:gd name="T1" fmla="*/ 2147483647 h 175"/>
                <a:gd name="T2" fmla="*/ 2147483647 w 270"/>
                <a:gd name="T3" fmla="*/ 2147483647 h 175"/>
                <a:gd name="T4" fmla="*/ 2147483647 w 270"/>
                <a:gd name="T5" fmla="*/ 2147483647 h 175"/>
                <a:gd name="T6" fmla="*/ 2147483647 w 270"/>
                <a:gd name="T7" fmla="*/ 2147483647 h 175"/>
                <a:gd name="T8" fmla="*/ 2147483647 w 270"/>
                <a:gd name="T9" fmla="*/ 2147483647 h 175"/>
                <a:gd name="T10" fmla="*/ 2147483647 w 270"/>
                <a:gd name="T11" fmla="*/ 2147483647 h 175"/>
                <a:gd name="T12" fmla="*/ 2147483647 w 270"/>
                <a:gd name="T13" fmla="*/ 2147483647 h 175"/>
                <a:gd name="T14" fmla="*/ 2147483647 w 270"/>
                <a:gd name="T15" fmla="*/ 2147483647 h 175"/>
                <a:gd name="T16" fmla="*/ 2147483647 w 270"/>
                <a:gd name="T17" fmla="*/ 2147483647 h 175"/>
                <a:gd name="T18" fmla="*/ 2147483647 w 270"/>
                <a:gd name="T19" fmla="*/ 2147483647 h 175"/>
                <a:gd name="T20" fmla="*/ 2147483647 w 270"/>
                <a:gd name="T21" fmla="*/ 2147483647 h 175"/>
                <a:gd name="T22" fmla="*/ 0 w 270"/>
                <a:gd name="T23" fmla="*/ 2147483647 h 175"/>
                <a:gd name="T24" fmla="*/ 0 w 270"/>
                <a:gd name="T25" fmla="*/ 2147483647 h 175"/>
                <a:gd name="T26" fmla="*/ 2147483647 w 270"/>
                <a:gd name="T27" fmla="*/ 2147483647 h 175"/>
                <a:gd name="T28" fmla="*/ 2147483647 w 270"/>
                <a:gd name="T29" fmla="*/ 2147483647 h 175"/>
                <a:gd name="T30" fmla="*/ 0 w 270"/>
                <a:gd name="T31" fmla="*/ 2147483647 h 175"/>
                <a:gd name="T32" fmla="*/ 0 w 270"/>
                <a:gd name="T33" fmla="*/ 2147483647 h 175"/>
                <a:gd name="T34" fmla="*/ 2147483647 w 270"/>
                <a:gd name="T35" fmla="*/ 2147483647 h 175"/>
                <a:gd name="T36" fmla="*/ 2147483647 w 270"/>
                <a:gd name="T37" fmla="*/ 0 h 175"/>
                <a:gd name="T38" fmla="*/ 2147483647 w 270"/>
                <a:gd name="T39" fmla="*/ 0 h 175"/>
                <a:gd name="T40" fmla="*/ 2147483647 w 270"/>
                <a:gd name="T41" fmla="*/ 2147483647 h 175"/>
                <a:gd name="T42" fmla="*/ 2147483647 w 270"/>
                <a:gd name="T43" fmla="*/ 2147483647 h 175"/>
                <a:gd name="T44" fmla="*/ 2147483647 w 270"/>
                <a:gd name="T45" fmla="*/ 0 h 175"/>
                <a:gd name="T46" fmla="*/ 2147483647 w 270"/>
                <a:gd name="T47" fmla="*/ 2147483647 h 175"/>
                <a:gd name="T48" fmla="*/ 2147483647 w 270"/>
                <a:gd name="T49" fmla="*/ 2147483647 h 175"/>
                <a:gd name="T50" fmla="*/ 2147483647 w 270"/>
                <a:gd name="T51" fmla="*/ 2147483647 h 175"/>
                <a:gd name="T52" fmla="*/ 2147483647 w 270"/>
                <a:gd name="T53" fmla="*/ 2147483647 h 175"/>
                <a:gd name="T54" fmla="*/ 2147483647 w 270"/>
                <a:gd name="T55" fmla="*/ 2147483647 h 175"/>
                <a:gd name="T56" fmla="*/ 2147483647 w 270"/>
                <a:gd name="T57" fmla="*/ 2147483647 h 175"/>
                <a:gd name="T58" fmla="*/ 2147483647 w 270"/>
                <a:gd name="T59" fmla="*/ 2147483647 h 175"/>
                <a:gd name="T60" fmla="*/ 2147483647 w 270"/>
                <a:gd name="T61" fmla="*/ 2147483647 h 175"/>
                <a:gd name="T62" fmla="*/ 2147483647 w 270"/>
                <a:gd name="T63" fmla="*/ 2147483647 h 175"/>
                <a:gd name="T64" fmla="*/ 2147483647 w 270"/>
                <a:gd name="T65" fmla="*/ 2147483647 h 175"/>
                <a:gd name="T66" fmla="*/ 2147483647 w 270"/>
                <a:gd name="T67" fmla="*/ 2147483647 h 175"/>
                <a:gd name="T68" fmla="*/ 2147483647 w 270"/>
                <a:gd name="T69" fmla="*/ 2147483647 h 175"/>
                <a:gd name="T70" fmla="*/ 2147483647 w 270"/>
                <a:gd name="T71" fmla="*/ 2147483647 h 175"/>
                <a:gd name="T72" fmla="*/ 2147483647 w 270"/>
                <a:gd name="T73" fmla="*/ 2147483647 h 175"/>
                <a:gd name="T74" fmla="*/ 2147483647 w 270"/>
                <a:gd name="T75" fmla="*/ 2147483647 h 175"/>
                <a:gd name="T76" fmla="*/ 2147483647 w 270"/>
                <a:gd name="T77" fmla="*/ 2147483647 h 175"/>
                <a:gd name="T78" fmla="*/ 2147483647 w 270"/>
                <a:gd name="T79" fmla="*/ 2147483647 h 175"/>
                <a:gd name="T80" fmla="*/ 2147483647 w 270"/>
                <a:gd name="T81" fmla="*/ 2147483647 h 175"/>
                <a:gd name="T82" fmla="*/ 2147483647 w 270"/>
                <a:gd name="T83" fmla="*/ 2147483647 h 175"/>
                <a:gd name="T84" fmla="*/ 2147483647 w 270"/>
                <a:gd name="T85" fmla="*/ 2147483647 h 175"/>
                <a:gd name="T86" fmla="*/ 2147483647 w 270"/>
                <a:gd name="T87" fmla="*/ 2147483647 h 175"/>
                <a:gd name="T88" fmla="*/ 2147483647 w 270"/>
                <a:gd name="T89" fmla="*/ 2147483647 h 17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175"/>
                <a:gd name="T137" fmla="*/ 270 w 270"/>
                <a:gd name="T138" fmla="*/ 175 h 17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175">
                  <a:moveTo>
                    <a:pt x="149" y="175"/>
                  </a:moveTo>
                  <a:lnTo>
                    <a:pt x="148" y="171"/>
                  </a:lnTo>
                  <a:lnTo>
                    <a:pt x="146" y="169"/>
                  </a:lnTo>
                  <a:lnTo>
                    <a:pt x="144" y="167"/>
                  </a:lnTo>
                  <a:lnTo>
                    <a:pt x="140" y="165"/>
                  </a:lnTo>
                  <a:lnTo>
                    <a:pt x="138" y="161"/>
                  </a:lnTo>
                  <a:lnTo>
                    <a:pt x="136" y="159"/>
                  </a:lnTo>
                  <a:lnTo>
                    <a:pt x="134" y="157"/>
                  </a:lnTo>
                  <a:lnTo>
                    <a:pt x="130" y="155"/>
                  </a:lnTo>
                  <a:lnTo>
                    <a:pt x="128" y="152"/>
                  </a:lnTo>
                  <a:lnTo>
                    <a:pt x="126" y="150"/>
                  </a:lnTo>
                  <a:lnTo>
                    <a:pt x="117" y="150"/>
                  </a:lnTo>
                  <a:lnTo>
                    <a:pt x="107" y="150"/>
                  </a:lnTo>
                  <a:lnTo>
                    <a:pt x="105" y="152"/>
                  </a:lnTo>
                  <a:lnTo>
                    <a:pt x="102" y="155"/>
                  </a:lnTo>
                  <a:lnTo>
                    <a:pt x="88" y="152"/>
                  </a:lnTo>
                  <a:lnTo>
                    <a:pt x="73" y="150"/>
                  </a:lnTo>
                  <a:lnTo>
                    <a:pt x="59" y="148"/>
                  </a:lnTo>
                  <a:lnTo>
                    <a:pt x="44" y="146"/>
                  </a:lnTo>
                  <a:lnTo>
                    <a:pt x="42" y="142"/>
                  </a:lnTo>
                  <a:lnTo>
                    <a:pt x="38" y="140"/>
                  </a:lnTo>
                  <a:lnTo>
                    <a:pt x="36" y="130"/>
                  </a:lnTo>
                  <a:lnTo>
                    <a:pt x="34" y="125"/>
                  </a:lnTo>
                  <a:lnTo>
                    <a:pt x="31" y="121"/>
                  </a:lnTo>
                  <a:lnTo>
                    <a:pt x="25" y="115"/>
                  </a:lnTo>
                  <a:lnTo>
                    <a:pt x="23" y="113"/>
                  </a:lnTo>
                  <a:lnTo>
                    <a:pt x="21" y="111"/>
                  </a:lnTo>
                  <a:lnTo>
                    <a:pt x="17" y="109"/>
                  </a:lnTo>
                  <a:lnTo>
                    <a:pt x="15" y="107"/>
                  </a:lnTo>
                  <a:lnTo>
                    <a:pt x="13" y="104"/>
                  </a:lnTo>
                  <a:lnTo>
                    <a:pt x="9" y="102"/>
                  </a:lnTo>
                  <a:lnTo>
                    <a:pt x="8" y="100"/>
                  </a:lnTo>
                  <a:lnTo>
                    <a:pt x="6" y="96"/>
                  </a:lnTo>
                  <a:lnTo>
                    <a:pt x="2" y="94"/>
                  </a:lnTo>
                  <a:lnTo>
                    <a:pt x="0" y="92"/>
                  </a:lnTo>
                  <a:lnTo>
                    <a:pt x="0" y="84"/>
                  </a:lnTo>
                  <a:lnTo>
                    <a:pt x="0" y="77"/>
                  </a:lnTo>
                  <a:lnTo>
                    <a:pt x="0" y="75"/>
                  </a:lnTo>
                  <a:lnTo>
                    <a:pt x="0" y="73"/>
                  </a:lnTo>
                  <a:lnTo>
                    <a:pt x="2" y="69"/>
                  </a:lnTo>
                  <a:lnTo>
                    <a:pt x="6" y="67"/>
                  </a:lnTo>
                  <a:lnTo>
                    <a:pt x="8" y="63"/>
                  </a:lnTo>
                  <a:lnTo>
                    <a:pt x="9" y="54"/>
                  </a:lnTo>
                  <a:lnTo>
                    <a:pt x="8" y="42"/>
                  </a:lnTo>
                  <a:lnTo>
                    <a:pt x="6" y="38"/>
                  </a:lnTo>
                  <a:lnTo>
                    <a:pt x="2" y="36"/>
                  </a:lnTo>
                  <a:lnTo>
                    <a:pt x="0" y="34"/>
                  </a:lnTo>
                  <a:lnTo>
                    <a:pt x="0" y="31"/>
                  </a:lnTo>
                  <a:lnTo>
                    <a:pt x="0" y="29"/>
                  </a:lnTo>
                  <a:lnTo>
                    <a:pt x="0" y="27"/>
                  </a:lnTo>
                  <a:lnTo>
                    <a:pt x="0" y="25"/>
                  </a:lnTo>
                  <a:lnTo>
                    <a:pt x="2" y="21"/>
                  </a:lnTo>
                  <a:lnTo>
                    <a:pt x="6" y="19"/>
                  </a:lnTo>
                  <a:lnTo>
                    <a:pt x="8" y="10"/>
                  </a:lnTo>
                  <a:lnTo>
                    <a:pt x="9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44" y="0"/>
                  </a:lnTo>
                  <a:lnTo>
                    <a:pt x="50" y="0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59" y="4"/>
                  </a:lnTo>
                  <a:lnTo>
                    <a:pt x="59" y="10"/>
                  </a:lnTo>
                  <a:lnTo>
                    <a:pt x="73" y="10"/>
                  </a:lnTo>
                  <a:lnTo>
                    <a:pt x="88" y="10"/>
                  </a:lnTo>
                  <a:lnTo>
                    <a:pt x="88" y="4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8" y="0"/>
                  </a:lnTo>
                  <a:lnTo>
                    <a:pt x="100" y="4"/>
                  </a:lnTo>
                  <a:lnTo>
                    <a:pt x="102" y="10"/>
                  </a:lnTo>
                  <a:lnTo>
                    <a:pt x="105" y="11"/>
                  </a:lnTo>
                  <a:lnTo>
                    <a:pt x="107" y="13"/>
                  </a:lnTo>
                  <a:lnTo>
                    <a:pt x="109" y="17"/>
                  </a:lnTo>
                  <a:lnTo>
                    <a:pt x="111" y="19"/>
                  </a:lnTo>
                  <a:lnTo>
                    <a:pt x="113" y="21"/>
                  </a:lnTo>
                  <a:lnTo>
                    <a:pt x="117" y="25"/>
                  </a:lnTo>
                  <a:lnTo>
                    <a:pt x="119" y="27"/>
                  </a:lnTo>
                  <a:lnTo>
                    <a:pt x="121" y="29"/>
                  </a:lnTo>
                  <a:lnTo>
                    <a:pt x="123" y="31"/>
                  </a:lnTo>
                  <a:lnTo>
                    <a:pt x="126" y="34"/>
                  </a:lnTo>
                  <a:lnTo>
                    <a:pt x="128" y="36"/>
                  </a:lnTo>
                  <a:lnTo>
                    <a:pt x="130" y="38"/>
                  </a:lnTo>
                  <a:lnTo>
                    <a:pt x="134" y="40"/>
                  </a:lnTo>
                  <a:lnTo>
                    <a:pt x="136" y="42"/>
                  </a:lnTo>
                  <a:lnTo>
                    <a:pt x="138" y="46"/>
                  </a:lnTo>
                  <a:lnTo>
                    <a:pt x="140" y="48"/>
                  </a:lnTo>
                  <a:lnTo>
                    <a:pt x="144" y="50"/>
                  </a:lnTo>
                  <a:lnTo>
                    <a:pt x="146" y="54"/>
                  </a:lnTo>
                  <a:lnTo>
                    <a:pt x="148" y="56"/>
                  </a:lnTo>
                  <a:lnTo>
                    <a:pt x="149" y="58"/>
                  </a:lnTo>
                  <a:lnTo>
                    <a:pt x="153" y="59"/>
                  </a:lnTo>
                  <a:lnTo>
                    <a:pt x="155" y="63"/>
                  </a:lnTo>
                  <a:lnTo>
                    <a:pt x="157" y="65"/>
                  </a:lnTo>
                  <a:lnTo>
                    <a:pt x="161" y="67"/>
                  </a:lnTo>
                  <a:lnTo>
                    <a:pt x="163" y="69"/>
                  </a:lnTo>
                  <a:lnTo>
                    <a:pt x="165" y="73"/>
                  </a:lnTo>
                  <a:lnTo>
                    <a:pt x="173" y="75"/>
                  </a:lnTo>
                  <a:lnTo>
                    <a:pt x="180" y="77"/>
                  </a:lnTo>
                  <a:lnTo>
                    <a:pt x="182" y="81"/>
                  </a:lnTo>
                  <a:lnTo>
                    <a:pt x="184" y="82"/>
                  </a:lnTo>
                  <a:lnTo>
                    <a:pt x="192" y="84"/>
                  </a:lnTo>
                  <a:lnTo>
                    <a:pt x="199" y="86"/>
                  </a:lnTo>
                  <a:lnTo>
                    <a:pt x="201" y="88"/>
                  </a:lnTo>
                  <a:lnTo>
                    <a:pt x="203" y="92"/>
                  </a:lnTo>
                  <a:lnTo>
                    <a:pt x="211" y="94"/>
                  </a:lnTo>
                  <a:lnTo>
                    <a:pt x="228" y="96"/>
                  </a:lnTo>
                  <a:lnTo>
                    <a:pt x="245" y="94"/>
                  </a:lnTo>
                  <a:lnTo>
                    <a:pt x="253" y="92"/>
                  </a:lnTo>
                  <a:lnTo>
                    <a:pt x="255" y="88"/>
                  </a:lnTo>
                  <a:lnTo>
                    <a:pt x="257" y="86"/>
                  </a:lnTo>
                  <a:lnTo>
                    <a:pt x="259" y="79"/>
                  </a:lnTo>
                  <a:lnTo>
                    <a:pt x="261" y="73"/>
                  </a:lnTo>
                  <a:lnTo>
                    <a:pt x="265" y="69"/>
                  </a:lnTo>
                  <a:lnTo>
                    <a:pt x="267" y="67"/>
                  </a:lnTo>
                  <a:lnTo>
                    <a:pt x="268" y="88"/>
                  </a:lnTo>
                  <a:lnTo>
                    <a:pt x="270" y="111"/>
                  </a:lnTo>
                  <a:lnTo>
                    <a:pt x="268" y="113"/>
                  </a:lnTo>
                  <a:lnTo>
                    <a:pt x="267" y="115"/>
                  </a:lnTo>
                  <a:lnTo>
                    <a:pt x="265" y="129"/>
                  </a:lnTo>
                  <a:lnTo>
                    <a:pt x="261" y="140"/>
                  </a:lnTo>
                  <a:lnTo>
                    <a:pt x="259" y="142"/>
                  </a:lnTo>
                  <a:lnTo>
                    <a:pt x="257" y="146"/>
                  </a:lnTo>
                  <a:lnTo>
                    <a:pt x="255" y="148"/>
                  </a:lnTo>
                  <a:lnTo>
                    <a:pt x="253" y="150"/>
                  </a:lnTo>
                  <a:lnTo>
                    <a:pt x="249" y="152"/>
                  </a:lnTo>
                  <a:lnTo>
                    <a:pt x="247" y="155"/>
                  </a:lnTo>
                  <a:lnTo>
                    <a:pt x="220" y="157"/>
                  </a:lnTo>
                  <a:lnTo>
                    <a:pt x="194" y="159"/>
                  </a:lnTo>
                  <a:lnTo>
                    <a:pt x="192" y="161"/>
                  </a:lnTo>
                  <a:lnTo>
                    <a:pt x="190" y="165"/>
                  </a:lnTo>
                  <a:lnTo>
                    <a:pt x="186" y="167"/>
                  </a:lnTo>
                  <a:lnTo>
                    <a:pt x="184" y="169"/>
                  </a:lnTo>
                  <a:lnTo>
                    <a:pt x="182" y="171"/>
                  </a:lnTo>
                  <a:lnTo>
                    <a:pt x="180" y="175"/>
                  </a:lnTo>
                  <a:lnTo>
                    <a:pt x="165" y="175"/>
                  </a:lnTo>
                  <a:lnTo>
                    <a:pt x="149" y="175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6" name="Freeform 336">
              <a:extLst>
                <a:ext uri="{FF2B5EF4-FFF2-40B4-BE49-F238E27FC236}">
                  <a16:creationId xmlns:a16="http://schemas.microsoft.com/office/drawing/2014/main" xmlns="" id="{C153E647-5B37-1244-B569-003C2AEC0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9575" y="3276416"/>
              <a:ext cx="766763" cy="593725"/>
            </a:xfrm>
            <a:custGeom>
              <a:avLst/>
              <a:gdLst>
                <a:gd name="T0" fmla="*/ 2147483647 w 493"/>
                <a:gd name="T1" fmla="*/ 2147483647 h 395"/>
                <a:gd name="T2" fmla="*/ 2147483647 w 493"/>
                <a:gd name="T3" fmla="*/ 2147483647 h 395"/>
                <a:gd name="T4" fmla="*/ 2147483647 w 493"/>
                <a:gd name="T5" fmla="*/ 2147483647 h 395"/>
                <a:gd name="T6" fmla="*/ 2147483647 w 493"/>
                <a:gd name="T7" fmla="*/ 2147483647 h 395"/>
                <a:gd name="T8" fmla="*/ 2147483647 w 493"/>
                <a:gd name="T9" fmla="*/ 2147483647 h 395"/>
                <a:gd name="T10" fmla="*/ 2147483647 w 493"/>
                <a:gd name="T11" fmla="*/ 2147483647 h 395"/>
                <a:gd name="T12" fmla="*/ 2147483647 w 493"/>
                <a:gd name="T13" fmla="*/ 2147483647 h 395"/>
                <a:gd name="T14" fmla="*/ 2147483647 w 493"/>
                <a:gd name="T15" fmla="*/ 2147483647 h 395"/>
                <a:gd name="T16" fmla="*/ 2147483647 w 493"/>
                <a:gd name="T17" fmla="*/ 2147483647 h 395"/>
                <a:gd name="T18" fmla="*/ 2147483647 w 493"/>
                <a:gd name="T19" fmla="*/ 2147483647 h 395"/>
                <a:gd name="T20" fmla="*/ 2147483647 w 493"/>
                <a:gd name="T21" fmla="*/ 2147483647 h 395"/>
                <a:gd name="T22" fmla="*/ 2147483647 w 493"/>
                <a:gd name="T23" fmla="*/ 2147483647 h 395"/>
                <a:gd name="T24" fmla="*/ 2147483647 w 493"/>
                <a:gd name="T25" fmla="*/ 2147483647 h 395"/>
                <a:gd name="T26" fmla="*/ 2147483647 w 493"/>
                <a:gd name="T27" fmla="*/ 2147483647 h 395"/>
                <a:gd name="T28" fmla="*/ 2147483647 w 493"/>
                <a:gd name="T29" fmla="*/ 2147483647 h 395"/>
                <a:gd name="T30" fmla="*/ 2147483647 w 493"/>
                <a:gd name="T31" fmla="*/ 2147483647 h 395"/>
                <a:gd name="T32" fmla="*/ 2147483647 w 493"/>
                <a:gd name="T33" fmla="*/ 2147483647 h 395"/>
                <a:gd name="T34" fmla="*/ 2147483647 w 493"/>
                <a:gd name="T35" fmla="*/ 2147483647 h 395"/>
                <a:gd name="T36" fmla="*/ 2147483647 w 493"/>
                <a:gd name="T37" fmla="*/ 2147483647 h 395"/>
                <a:gd name="T38" fmla="*/ 2147483647 w 493"/>
                <a:gd name="T39" fmla="*/ 2147483647 h 395"/>
                <a:gd name="T40" fmla="*/ 2147483647 w 493"/>
                <a:gd name="T41" fmla="*/ 2147483647 h 395"/>
                <a:gd name="T42" fmla="*/ 2147483647 w 493"/>
                <a:gd name="T43" fmla="*/ 2147483647 h 395"/>
                <a:gd name="T44" fmla="*/ 2147483647 w 493"/>
                <a:gd name="T45" fmla="*/ 2147483647 h 395"/>
                <a:gd name="T46" fmla="*/ 2147483647 w 493"/>
                <a:gd name="T47" fmla="*/ 2147483647 h 395"/>
                <a:gd name="T48" fmla="*/ 2147483647 w 493"/>
                <a:gd name="T49" fmla="*/ 2147483647 h 395"/>
                <a:gd name="T50" fmla="*/ 2147483647 w 493"/>
                <a:gd name="T51" fmla="*/ 2147483647 h 395"/>
                <a:gd name="T52" fmla="*/ 2147483647 w 493"/>
                <a:gd name="T53" fmla="*/ 2147483647 h 395"/>
                <a:gd name="T54" fmla="*/ 2147483647 w 493"/>
                <a:gd name="T55" fmla="*/ 2147483647 h 395"/>
                <a:gd name="T56" fmla="*/ 2147483647 w 493"/>
                <a:gd name="T57" fmla="*/ 2147483647 h 395"/>
                <a:gd name="T58" fmla="*/ 2147483647 w 493"/>
                <a:gd name="T59" fmla="*/ 2147483647 h 395"/>
                <a:gd name="T60" fmla="*/ 2147483647 w 493"/>
                <a:gd name="T61" fmla="*/ 2147483647 h 395"/>
                <a:gd name="T62" fmla="*/ 2147483647 w 493"/>
                <a:gd name="T63" fmla="*/ 2147483647 h 395"/>
                <a:gd name="T64" fmla="*/ 2147483647 w 493"/>
                <a:gd name="T65" fmla="*/ 2147483647 h 395"/>
                <a:gd name="T66" fmla="*/ 2147483647 w 493"/>
                <a:gd name="T67" fmla="*/ 2147483647 h 395"/>
                <a:gd name="T68" fmla="*/ 2147483647 w 493"/>
                <a:gd name="T69" fmla="*/ 2147483647 h 395"/>
                <a:gd name="T70" fmla="*/ 0 w 493"/>
                <a:gd name="T71" fmla="*/ 2147483647 h 395"/>
                <a:gd name="T72" fmla="*/ 2147483647 w 493"/>
                <a:gd name="T73" fmla="*/ 2147483647 h 395"/>
                <a:gd name="T74" fmla="*/ 2147483647 w 493"/>
                <a:gd name="T75" fmla="*/ 2147483647 h 395"/>
                <a:gd name="T76" fmla="*/ 2147483647 w 493"/>
                <a:gd name="T77" fmla="*/ 2147483647 h 395"/>
                <a:gd name="T78" fmla="*/ 2147483647 w 493"/>
                <a:gd name="T79" fmla="*/ 2147483647 h 395"/>
                <a:gd name="T80" fmla="*/ 2147483647 w 493"/>
                <a:gd name="T81" fmla="*/ 2147483647 h 395"/>
                <a:gd name="T82" fmla="*/ 2147483647 w 493"/>
                <a:gd name="T83" fmla="*/ 2147483647 h 395"/>
                <a:gd name="T84" fmla="*/ 2147483647 w 493"/>
                <a:gd name="T85" fmla="*/ 2147483647 h 395"/>
                <a:gd name="T86" fmla="*/ 2147483647 w 493"/>
                <a:gd name="T87" fmla="*/ 2147483647 h 395"/>
                <a:gd name="T88" fmla="*/ 2147483647 w 493"/>
                <a:gd name="T89" fmla="*/ 2147483647 h 395"/>
                <a:gd name="T90" fmla="*/ 2147483647 w 493"/>
                <a:gd name="T91" fmla="*/ 2147483647 h 395"/>
                <a:gd name="T92" fmla="*/ 2147483647 w 493"/>
                <a:gd name="T93" fmla="*/ 2147483647 h 395"/>
                <a:gd name="T94" fmla="*/ 2147483647 w 493"/>
                <a:gd name="T95" fmla="*/ 2147483647 h 395"/>
                <a:gd name="T96" fmla="*/ 2147483647 w 493"/>
                <a:gd name="T97" fmla="*/ 2147483647 h 395"/>
                <a:gd name="T98" fmla="*/ 2147483647 w 493"/>
                <a:gd name="T99" fmla="*/ 2147483647 h 395"/>
                <a:gd name="T100" fmla="*/ 2147483647 w 493"/>
                <a:gd name="T101" fmla="*/ 2147483647 h 395"/>
                <a:gd name="T102" fmla="*/ 2147483647 w 493"/>
                <a:gd name="T103" fmla="*/ 2147483647 h 395"/>
                <a:gd name="T104" fmla="*/ 2147483647 w 493"/>
                <a:gd name="T105" fmla="*/ 2147483647 h 395"/>
                <a:gd name="T106" fmla="*/ 2147483647 w 493"/>
                <a:gd name="T107" fmla="*/ 2147483647 h 395"/>
                <a:gd name="T108" fmla="*/ 2147483647 w 493"/>
                <a:gd name="T109" fmla="*/ 2147483647 h 395"/>
                <a:gd name="T110" fmla="*/ 2147483647 w 493"/>
                <a:gd name="T111" fmla="*/ 2147483647 h 395"/>
                <a:gd name="T112" fmla="*/ 2147483647 w 493"/>
                <a:gd name="T113" fmla="*/ 2147483647 h 395"/>
                <a:gd name="T114" fmla="*/ 2147483647 w 493"/>
                <a:gd name="T115" fmla="*/ 2147483647 h 395"/>
                <a:gd name="T116" fmla="*/ 2147483647 w 493"/>
                <a:gd name="T117" fmla="*/ 2147483647 h 395"/>
                <a:gd name="T118" fmla="*/ 2147483647 w 493"/>
                <a:gd name="T119" fmla="*/ 2147483647 h 3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93"/>
                <a:gd name="T181" fmla="*/ 0 h 395"/>
                <a:gd name="T182" fmla="*/ 493 w 493"/>
                <a:gd name="T183" fmla="*/ 395 h 39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93" h="395">
                  <a:moveTo>
                    <a:pt x="355" y="223"/>
                  </a:moveTo>
                  <a:lnTo>
                    <a:pt x="365" y="225"/>
                  </a:lnTo>
                  <a:lnTo>
                    <a:pt x="374" y="228"/>
                  </a:lnTo>
                  <a:lnTo>
                    <a:pt x="386" y="228"/>
                  </a:lnTo>
                  <a:lnTo>
                    <a:pt x="398" y="228"/>
                  </a:lnTo>
                  <a:lnTo>
                    <a:pt x="409" y="228"/>
                  </a:lnTo>
                  <a:lnTo>
                    <a:pt x="424" y="228"/>
                  </a:lnTo>
                  <a:lnTo>
                    <a:pt x="426" y="232"/>
                  </a:lnTo>
                  <a:lnTo>
                    <a:pt x="430" y="238"/>
                  </a:lnTo>
                  <a:lnTo>
                    <a:pt x="434" y="246"/>
                  </a:lnTo>
                  <a:lnTo>
                    <a:pt x="438" y="251"/>
                  </a:lnTo>
                  <a:lnTo>
                    <a:pt x="438" y="257"/>
                  </a:lnTo>
                  <a:lnTo>
                    <a:pt x="438" y="263"/>
                  </a:lnTo>
                  <a:lnTo>
                    <a:pt x="442" y="267"/>
                  </a:lnTo>
                  <a:lnTo>
                    <a:pt x="445" y="271"/>
                  </a:lnTo>
                  <a:lnTo>
                    <a:pt x="449" y="271"/>
                  </a:lnTo>
                  <a:lnTo>
                    <a:pt x="455" y="271"/>
                  </a:lnTo>
                  <a:lnTo>
                    <a:pt x="465" y="269"/>
                  </a:lnTo>
                  <a:lnTo>
                    <a:pt x="490" y="274"/>
                  </a:lnTo>
                  <a:lnTo>
                    <a:pt x="493" y="282"/>
                  </a:lnTo>
                  <a:lnTo>
                    <a:pt x="493" y="286"/>
                  </a:lnTo>
                  <a:lnTo>
                    <a:pt x="492" y="294"/>
                  </a:lnTo>
                  <a:lnTo>
                    <a:pt x="492" y="297"/>
                  </a:lnTo>
                  <a:lnTo>
                    <a:pt x="482" y="303"/>
                  </a:lnTo>
                  <a:lnTo>
                    <a:pt x="474" y="309"/>
                  </a:lnTo>
                  <a:lnTo>
                    <a:pt x="474" y="311"/>
                  </a:lnTo>
                  <a:lnTo>
                    <a:pt x="474" y="313"/>
                  </a:lnTo>
                  <a:lnTo>
                    <a:pt x="470" y="317"/>
                  </a:lnTo>
                  <a:lnTo>
                    <a:pt x="469" y="319"/>
                  </a:lnTo>
                  <a:lnTo>
                    <a:pt x="467" y="320"/>
                  </a:lnTo>
                  <a:lnTo>
                    <a:pt x="465" y="322"/>
                  </a:lnTo>
                  <a:lnTo>
                    <a:pt x="461" y="326"/>
                  </a:lnTo>
                  <a:lnTo>
                    <a:pt x="459" y="328"/>
                  </a:lnTo>
                  <a:lnTo>
                    <a:pt x="457" y="330"/>
                  </a:lnTo>
                  <a:lnTo>
                    <a:pt x="455" y="334"/>
                  </a:lnTo>
                  <a:lnTo>
                    <a:pt x="451" y="336"/>
                  </a:lnTo>
                  <a:lnTo>
                    <a:pt x="449" y="338"/>
                  </a:lnTo>
                  <a:lnTo>
                    <a:pt x="447" y="340"/>
                  </a:lnTo>
                  <a:lnTo>
                    <a:pt x="445" y="343"/>
                  </a:lnTo>
                  <a:lnTo>
                    <a:pt x="442" y="345"/>
                  </a:lnTo>
                  <a:lnTo>
                    <a:pt x="440" y="347"/>
                  </a:lnTo>
                  <a:lnTo>
                    <a:pt x="428" y="359"/>
                  </a:lnTo>
                  <a:lnTo>
                    <a:pt x="415" y="372"/>
                  </a:lnTo>
                  <a:lnTo>
                    <a:pt x="413" y="374"/>
                  </a:lnTo>
                  <a:lnTo>
                    <a:pt x="411" y="376"/>
                  </a:lnTo>
                  <a:lnTo>
                    <a:pt x="409" y="384"/>
                  </a:lnTo>
                  <a:lnTo>
                    <a:pt x="407" y="391"/>
                  </a:lnTo>
                  <a:lnTo>
                    <a:pt x="403" y="393"/>
                  </a:lnTo>
                  <a:lnTo>
                    <a:pt x="401" y="395"/>
                  </a:lnTo>
                  <a:lnTo>
                    <a:pt x="382" y="395"/>
                  </a:lnTo>
                  <a:lnTo>
                    <a:pt x="363" y="395"/>
                  </a:lnTo>
                  <a:lnTo>
                    <a:pt x="359" y="393"/>
                  </a:lnTo>
                  <a:lnTo>
                    <a:pt x="357" y="391"/>
                  </a:lnTo>
                  <a:lnTo>
                    <a:pt x="350" y="390"/>
                  </a:lnTo>
                  <a:lnTo>
                    <a:pt x="344" y="386"/>
                  </a:lnTo>
                  <a:lnTo>
                    <a:pt x="340" y="384"/>
                  </a:lnTo>
                  <a:lnTo>
                    <a:pt x="338" y="382"/>
                  </a:lnTo>
                  <a:lnTo>
                    <a:pt x="330" y="378"/>
                  </a:lnTo>
                  <a:lnTo>
                    <a:pt x="325" y="376"/>
                  </a:lnTo>
                  <a:lnTo>
                    <a:pt x="321" y="374"/>
                  </a:lnTo>
                  <a:lnTo>
                    <a:pt x="319" y="372"/>
                  </a:lnTo>
                  <a:lnTo>
                    <a:pt x="317" y="368"/>
                  </a:lnTo>
                  <a:lnTo>
                    <a:pt x="315" y="367"/>
                  </a:lnTo>
                  <a:lnTo>
                    <a:pt x="311" y="365"/>
                  </a:lnTo>
                  <a:lnTo>
                    <a:pt x="309" y="363"/>
                  </a:lnTo>
                  <a:lnTo>
                    <a:pt x="307" y="359"/>
                  </a:lnTo>
                  <a:lnTo>
                    <a:pt x="303" y="357"/>
                  </a:lnTo>
                  <a:lnTo>
                    <a:pt x="302" y="355"/>
                  </a:lnTo>
                  <a:lnTo>
                    <a:pt x="300" y="351"/>
                  </a:lnTo>
                  <a:lnTo>
                    <a:pt x="298" y="349"/>
                  </a:lnTo>
                  <a:lnTo>
                    <a:pt x="294" y="347"/>
                  </a:lnTo>
                  <a:lnTo>
                    <a:pt x="292" y="345"/>
                  </a:lnTo>
                  <a:lnTo>
                    <a:pt x="290" y="343"/>
                  </a:lnTo>
                  <a:lnTo>
                    <a:pt x="288" y="340"/>
                  </a:lnTo>
                  <a:lnTo>
                    <a:pt x="284" y="338"/>
                  </a:lnTo>
                  <a:lnTo>
                    <a:pt x="282" y="336"/>
                  </a:lnTo>
                  <a:lnTo>
                    <a:pt x="280" y="334"/>
                  </a:lnTo>
                  <a:lnTo>
                    <a:pt x="277" y="330"/>
                  </a:lnTo>
                  <a:lnTo>
                    <a:pt x="275" y="328"/>
                  </a:lnTo>
                  <a:lnTo>
                    <a:pt x="273" y="326"/>
                  </a:lnTo>
                  <a:lnTo>
                    <a:pt x="271" y="322"/>
                  </a:lnTo>
                  <a:lnTo>
                    <a:pt x="267" y="320"/>
                  </a:lnTo>
                  <a:lnTo>
                    <a:pt x="265" y="319"/>
                  </a:lnTo>
                  <a:lnTo>
                    <a:pt x="261" y="309"/>
                  </a:lnTo>
                  <a:lnTo>
                    <a:pt x="257" y="299"/>
                  </a:lnTo>
                  <a:lnTo>
                    <a:pt x="248" y="299"/>
                  </a:lnTo>
                  <a:lnTo>
                    <a:pt x="240" y="301"/>
                  </a:lnTo>
                  <a:lnTo>
                    <a:pt x="234" y="305"/>
                  </a:lnTo>
                  <a:lnTo>
                    <a:pt x="231" y="311"/>
                  </a:lnTo>
                  <a:lnTo>
                    <a:pt x="227" y="309"/>
                  </a:lnTo>
                  <a:lnTo>
                    <a:pt x="221" y="307"/>
                  </a:lnTo>
                  <a:lnTo>
                    <a:pt x="211" y="301"/>
                  </a:lnTo>
                  <a:lnTo>
                    <a:pt x="202" y="299"/>
                  </a:lnTo>
                  <a:lnTo>
                    <a:pt x="196" y="299"/>
                  </a:lnTo>
                  <a:lnTo>
                    <a:pt x="190" y="301"/>
                  </a:lnTo>
                  <a:lnTo>
                    <a:pt x="186" y="299"/>
                  </a:lnTo>
                  <a:lnTo>
                    <a:pt x="183" y="299"/>
                  </a:lnTo>
                  <a:lnTo>
                    <a:pt x="173" y="299"/>
                  </a:lnTo>
                  <a:lnTo>
                    <a:pt x="163" y="299"/>
                  </a:lnTo>
                  <a:lnTo>
                    <a:pt x="165" y="278"/>
                  </a:lnTo>
                  <a:lnTo>
                    <a:pt x="167" y="278"/>
                  </a:lnTo>
                  <a:lnTo>
                    <a:pt x="167" y="280"/>
                  </a:lnTo>
                  <a:lnTo>
                    <a:pt x="165" y="282"/>
                  </a:lnTo>
                  <a:lnTo>
                    <a:pt x="162" y="282"/>
                  </a:lnTo>
                  <a:lnTo>
                    <a:pt x="154" y="276"/>
                  </a:lnTo>
                  <a:lnTo>
                    <a:pt x="148" y="271"/>
                  </a:lnTo>
                  <a:lnTo>
                    <a:pt x="142" y="265"/>
                  </a:lnTo>
                  <a:lnTo>
                    <a:pt x="135" y="257"/>
                  </a:lnTo>
                  <a:lnTo>
                    <a:pt x="129" y="251"/>
                  </a:lnTo>
                  <a:lnTo>
                    <a:pt x="119" y="244"/>
                  </a:lnTo>
                  <a:lnTo>
                    <a:pt x="108" y="236"/>
                  </a:lnTo>
                  <a:lnTo>
                    <a:pt x="102" y="232"/>
                  </a:lnTo>
                  <a:lnTo>
                    <a:pt x="96" y="228"/>
                  </a:lnTo>
                  <a:lnTo>
                    <a:pt x="89" y="225"/>
                  </a:lnTo>
                  <a:lnTo>
                    <a:pt x="83" y="223"/>
                  </a:lnTo>
                  <a:lnTo>
                    <a:pt x="79" y="219"/>
                  </a:lnTo>
                  <a:lnTo>
                    <a:pt x="77" y="217"/>
                  </a:lnTo>
                  <a:lnTo>
                    <a:pt x="75" y="215"/>
                  </a:lnTo>
                  <a:lnTo>
                    <a:pt x="71" y="213"/>
                  </a:lnTo>
                  <a:lnTo>
                    <a:pt x="69" y="209"/>
                  </a:lnTo>
                  <a:lnTo>
                    <a:pt x="68" y="207"/>
                  </a:lnTo>
                  <a:lnTo>
                    <a:pt x="62" y="205"/>
                  </a:lnTo>
                  <a:lnTo>
                    <a:pt x="58" y="201"/>
                  </a:lnTo>
                  <a:lnTo>
                    <a:pt x="58" y="198"/>
                  </a:lnTo>
                  <a:lnTo>
                    <a:pt x="58" y="192"/>
                  </a:lnTo>
                  <a:lnTo>
                    <a:pt x="56" y="182"/>
                  </a:lnTo>
                  <a:lnTo>
                    <a:pt x="54" y="173"/>
                  </a:lnTo>
                  <a:lnTo>
                    <a:pt x="50" y="171"/>
                  </a:lnTo>
                  <a:lnTo>
                    <a:pt x="48" y="169"/>
                  </a:lnTo>
                  <a:lnTo>
                    <a:pt x="43" y="169"/>
                  </a:lnTo>
                  <a:lnTo>
                    <a:pt x="39" y="169"/>
                  </a:lnTo>
                  <a:lnTo>
                    <a:pt x="35" y="171"/>
                  </a:lnTo>
                  <a:lnTo>
                    <a:pt x="33" y="173"/>
                  </a:lnTo>
                  <a:lnTo>
                    <a:pt x="29" y="173"/>
                  </a:lnTo>
                  <a:lnTo>
                    <a:pt x="23" y="173"/>
                  </a:lnTo>
                  <a:lnTo>
                    <a:pt x="21" y="171"/>
                  </a:lnTo>
                  <a:lnTo>
                    <a:pt x="20" y="169"/>
                  </a:lnTo>
                  <a:lnTo>
                    <a:pt x="20" y="146"/>
                  </a:lnTo>
                  <a:lnTo>
                    <a:pt x="20" y="125"/>
                  </a:lnTo>
                  <a:lnTo>
                    <a:pt x="12" y="125"/>
                  </a:lnTo>
                  <a:lnTo>
                    <a:pt x="4" y="125"/>
                  </a:lnTo>
                  <a:lnTo>
                    <a:pt x="2" y="123"/>
                  </a:lnTo>
                  <a:lnTo>
                    <a:pt x="0" y="121"/>
                  </a:lnTo>
                  <a:lnTo>
                    <a:pt x="0" y="115"/>
                  </a:lnTo>
                  <a:lnTo>
                    <a:pt x="0" y="111"/>
                  </a:lnTo>
                  <a:lnTo>
                    <a:pt x="2" y="107"/>
                  </a:lnTo>
                  <a:lnTo>
                    <a:pt x="4" y="106"/>
                  </a:lnTo>
                  <a:lnTo>
                    <a:pt x="21" y="98"/>
                  </a:lnTo>
                  <a:lnTo>
                    <a:pt x="39" y="92"/>
                  </a:lnTo>
                  <a:lnTo>
                    <a:pt x="41" y="88"/>
                  </a:lnTo>
                  <a:lnTo>
                    <a:pt x="43" y="86"/>
                  </a:lnTo>
                  <a:lnTo>
                    <a:pt x="56" y="86"/>
                  </a:lnTo>
                  <a:lnTo>
                    <a:pt x="68" y="86"/>
                  </a:lnTo>
                  <a:lnTo>
                    <a:pt x="68" y="69"/>
                  </a:lnTo>
                  <a:lnTo>
                    <a:pt x="68" y="52"/>
                  </a:lnTo>
                  <a:lnTo>
                    <a:pt x="69" y="50"/>
                  </a:lnTo>
                  <a:lnTo>
                    <a:pt x="71" y="48"/>
                  </a:lnTo>
                  <a:lnTo>
                    <a:pt x="75" y="46"/>
                  </a:lnTo>
                  <a:lnTo>
                    <a:pt x="77" y="42"/>
                  </a:lnTo>
                  <a:lnTo>
                    <a:pt x="79" y="40"/>
                  </a:lnTo>
                  <a:lnTo>
                    <a:pt x="83" y="38"/>
                  </a:lnTo>
                  <a:lnTo>
                    <a:pt x="85" y="36"/>
                  </a:lnTo>
                  <a:lnTo>
                    <a:pt x="87" y="33"/>
                  </a:lnTo>
                  <a:lnTo>
                    <a:pt x="89" y="31"/>
                  </a:lnTo>
                  <a:lnTo>
                    <a:pt x="92" y="29"/>
                  </a:lnTo>
                  <a:lnTo>
                    <a:pt x="94" y="25"/>
                  </a:lnTo>
                  <a:lnTo>
                    <a:pt x="96" y="23"/>
                  </a:lnTo>
                  <a:lnTo>
                    <a:pt x="98" y="21"/>
                  </a:lnTo>
                  <a:lnTo>
                    <a:pt x="102" y="19"/>
                  </a:lnTo>
                  <a:lnTo>
                    <a:pt x="108" y="13"/>
                  </a:lnTo>
                  <a:lnTo>
                    <a:pt x="115" y="10"/>
                  </a:lnTo>
                  <a:lnTo>
                    <a:pt x="121" y="10"/>
                  </a:lnTo>
                  <a:lnTo>
                    <a:pt x="125" y="10"/>
                  </a:lnTo>
                  <a:lnTo>
                    <a:pt x="125" y="13"/>
                  </a:lnTo>
                  <a:lnTo>
                    <a:pt x="125" y="19"/>
                  </a:lnTo>
                  <a:lnTo>
                    <a:pt x="144" y="19"/>
                  </a:lnTo>
                  <a:lnTo>
                    <a:pt x="163" y="19"/>
                  </a:lnTo>
                  <a:lnTo>
                    <a:pt x="163" y="13"/>
                  </a:lnTo>
                  <a:lnTo>
                    <a:pt x="163" y="10"/>
                  </a:lnTo>
                  <a:lnTo>
                    <a:pt x="169" y="4"/>
                  </a:lnTo>
                  <a:lnTo>
                    <a:pt x="175" y="0"/>
                  </a:lnTo>
                  <a:lnTo>
                    <a:pt x="186" y="0"/>
                  </a:lnTo>
                  <a:lnTo>
                    <a:pt x="198" y="0"/>
                  </a:lnTo>
                  <a:lnTo>
                    <a:pt x="200" y="2"/>
                  </a:lnTo>
                  <a:lnTo>
                    <a:pt x="204" y="4"/>
                  </a:lnTo>
                  <a:lnTo>
                    <a:pt x="206" y="6"/>
                  </a:lnTo>
                  <a:lnTo>
                    <a:pt x="208" y="10"/>
                  </a:lnTo>
                  <a:lnTo>
                    <a:pt x="209" y="12"/>
                  </a:lnTo>
                  <a:lnTo>
                    <a:pt x="213" y="13"/>
                  </a:lnTo>
                  <a:lnTo>
                    <a:pt x="217" y="29"/>
                  </a:lnTo>
                  <a:lnTo>
                    <a:pt x="223" y="42"/>
                  </a:lnTo>
                  <a:lnTo>
                    <a:pt x="219" y="46"/>
                  </a:lnTo>
                  <a:lnTo>
                    <a:pt x="217" y="48"/>
                  </a:lnTo>
                  <a:lnTo>
                    <a:pt x="215" y="56"/>
                  </a:lnTo>
                  <a:lnTo>
                    <a:pt x="213" y="61"/>
                  </a:lnTo>
                  <a:lnTo>
                    <a:pt x="209" y="65"/>
                  </a:lnTo>
                  <a:lnTo>
                    <a:pt x="208" y="67"/>
                  </a:lnTo>
                  <a:lnTo>
                    <a:pt x="208" y="86"/>
                  </a:lnTo>
                  <a:lnTo>
                    <a:pt x="208" y="106"/>
                  </a:lnTo>
                  <a:lnTo>
                    <a:pt x="209" y="107"/>
                  </a:lnTo>
                  <a:lnTo>
                    <a:pt x="213" y="111"/>
                  </a:lnTo>
                  <a:lnTo>
                    <a:pt x="215" y="113"/>
                  </a:lnTo>
                  <a:lnTo>
                    <a:pt x="217" y="115"/>
                  </a:lnTo>
                  <a:lnTo>
                    <a:pt x="219" y="117"/>
                  </a:lnTo>
                  <a:lnTo>
                    <a:pt x="223" y="121"/>
                  </a:lnTo>
                  <a:lnTo>
                    <a:pt x="225" y="123"/>
                  </a:lnTo>
                  <a:lnTo>
                    <a:pt x="227" y="125"/>
                  </a:lnTo>
                  <a:lnTo>
                    <a:pt x="229" y="127"/>
                  </a:lnTo>
                  <a:lnTo>
                    <a:pt x="233" y="131"/>
                  </a:lnTo>
                  <a:lnTo>
                    <a:pt x="234" y="132"/>
                  </a:lnTo>
                  <a:lnTo>
                    <a:pt x="236" y="134"/>
                  </a:lnTo>
                  <a:lnTo>
                    <a:pt x="238" y="136"/>
                  </a:lnTo>
                  <a:lnTo>
                    <a:pt x="242" y="140"/>
                  </a:lnTo>
                  <a:lnTo>
                    <a:pt x="242" y="146"/>
                  </a:lnTo>
                  <a:lnTo>
                    <a:pt x="242" y="154"/>
                  </a:lnTo>
                  <a:lnTo>
                    <a:pt x="254" y="159"/>
                  </a:lnTo>
                  <a:lnTo>
                    <a:pt x="265" y="163"/>
                  </a:lnTo>
                  <a:lnTo>
                    <a:pt x="267" y="165"/>
                  </a:lnTo>
                  <a:lnTo>
                    <a:pt x="271" y="169"/>
                  </a:lnTo>
                  <a:lnTo>
                    <a:pt x="273" y="171"/>
                  </a:lnTo>
                  <a:lnTo>
                    <a:pt x="275" y="173"/>
                  </a:lnTo>
                  <a:lnTo>
                    <a:pt x="277" y="177"/>
                  </a:lnTo>
                  <a:lnTo>
                    <a:pt x="280" y="178"/>
                  </a:lnTo>
                  <a:lnTo>
                    <a:pt x="292" y="180"/>
                  </a:lnTo>
                  <a:lnTo>
                    <a:pt x="303" y="184"/>
                  </a:lnTo>
                  <a:lnTo>
                    <a:pt x="307" y="186"/>
                  </a:lnTo>
                  <a:lnTo>
                    <a:pt x="309" y="188"/>
                  </a:lnTo>
                  <a:lnTo>
                    <a:pt x="311" y="190"/>
                  </a:lnTo>
                  <a:lnTo>
                    <a:pt x="315" y="192"/>
                  </a:lnTo>
                  <a:lnTo>
                    <a:pt x="317" y="196"/>
                  </a:lnTo>
                  <a:lnTo>
                    <a:pt x="319" y="198"/>
                  </a:lnTo>
                  <a:lnTo>
                    <a:pt x="327" y="200"/>
                  </a:lnTo>
                  <a:lnTo>
                    <a:pt x="334" y="201"/>
                  </a:lnTo>
                  <a:lnTo>
                    <a:pt x="336" y="205"/>
                  </a:lnTo>
                  <a:lnTo>
                    <a:pt x="338" y="207"/>
                  </a:lnTo>
                  <a:lnTo>
                    <a:pt x="340" y="209"/>
                  </a:lnTo>
                  <a:lnTo>
                    <a:pt x="344" y="213"/>
                  </a:lnTo>
                  <a:lnTo>
                    <a:pt x="346" y="215"/>
                  </a:lnTo>
                  <a:lnTo>
                    <a:pt x="348" y="217"/>
                  </a:lnTo>
                  <a:lnTo>
                    <a:pt x="351" y="221"/>
                  </a:lnTo>
                  <a:lnTo>
                    <a:pt x="355" y="223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8" name="Freeform 338">
              <a:extLst>
                <a:ext uri="{FF2B5EF4-FFF2-40B4-BE49-F238E27FC236}">
                  <a16:creationId xmlns:a16="http://schemas.microsoft.com/office/drawing/2014/main" xmlns="" id="{E6CB9341-8485-A64C-AA2D-142663CBF0B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9663" y="3959041"/>
              <a:ext cx="182562" cy="246062"/>
            </a:xfrm>
            <a:custGeom>
              <a:avLst/>
              <a:gdLst>
                <a:gd name="T0" fmla="*/ 2147483647 w 117"/>
                <a:gd name="T1" fmla="*/ 2147483647 h 163"/>
                <a:gd name="T2" fmla="*/ 2147483647 w 117"/>
                <a:gd name="T3" fmla="*/ 2147483647 h 163"/>
                <a:gd name="T4" fmla="*/ 2147483647 w 117"/>
                <a:gd name="T5" fmla="*/ 2147483647 h 163"/>
                <a:gd name="T6" fmla="*/ 2147483647 w 117"/>
                <a:gd name="T7" fmla="*/ 2147483647 h 163"/>
                <a:gd name="T8" fmla="*/ 2147483647 w 117"/>
                <a:gd name="T9" fmla="*/ 2147483647 h 163"/>
                <a:gd name="T10" fmla="*/ 2147483647 w 117"/>
                <a:gd name="T11" fmla="*/ 2147483647 h 163"/>
                <a:gd name="T12" fmla="*/ 2147483647 w 117"/>
                <a:gd name="T13" fmla="*/ 2147483647 h 163"/>
                <a:gd name="T14" fmla="*/ 2147483647 w 117"/>
                <a:gd name="T15" fmla="*/ 2147483647 h 163"/>
                <a:gd name="T16" fmla="*/ 2147483647 w 117"/>
                <a:gd name="T17" fmla="*/ 2147483647 h 163"/>
                <a:gd name="T18" fmla="*/ 2147483647 w 117"/>
                <a:gd name="T19" fmla="*/ 2147483647 h 163"/>
                <a:gd name="T20" fmla="*/ 2147483647 w 117"/>
                <a:gd name="T21" fmla="*/ 2147483647 h 163"/>
                <a:gd name="T22" fmla="*/ 0 w 117"/>
                <a:gd name="T23" fmla="*/ 2147483647 h 163"/>
                <a:gd name="T24" fmla="*/ 2147483647 w 117"/>
                <a:gd name="T25" fmla="*/ 2147483647 h 163"/>
                <a:gd name="T26" fmla="*/ 2147483647 w 117"/>
                <a:gd name="T27" fmla="*/ 2147483647 h 163"/>
                <a:gd name="T28" fmla="*/ 2147483647 w 117"/>
                <a:gd name="T29" fmla="*/ 2147483647 h 163"/>
                <a:gd name="T30" fmla="*/ 2147483647 w 117"/>
                <a:gd name="T31" fmla="*/ 2147483647 h 163"/>
                <a:gd name="T32" fmla="*/ 2147483647 w 117"/>
                <a:gd name="T33" fmla="*/ 2147483647 h 163"/>
                <a:gd name="T34" fmla="*/ 2147483647 w 117"/>
                <a:gd name="T35" fmla="*/ 2147483647 h 163"/>
                <a:gd name="T36" fmla="*/ 2147483647 w 117"/>
                <a:gd name="T37" fmla="*/ 2147483647 h 163"/>
                <a:gd name="T38" fmla="*/ 2147483647 w 117"/>
                <a:gd name="T39" fmla="*/ 2147483647 h 163"/>
                <a:gd name="T40" fmla="*/ 2147483647 w 117"/>
                <a:gd name="T41" fmla="*/ 2147483647 h 163"/>
                <a:gd name="T42" fmla="*/ 2147483647 w 117"/>
                <a:gd name="T43" fmla="*/ 2147483647 h 163"/>
                <a:gd name="T44" fmla="*/ 2147483647 w 117"/>
                <a:gd name="T45" fmla="*/ 2147483647 h 163"/>
                <a:gd name="T46" fmla="*/ 2147483647 w 117"/>
                <a:gd name="T47" fmla="*/ 2147483647 h 163"/>
                <a:gd name="T48" fmla="*/ 2147483647 w 117"/>
                <a:gd name="T49" fmla="*/ 2147483647 h 163"/>
                <a:gd name="T50" fmla="*/ 2147483647 w 117"/>
                <a:gd name="T51" fmla="*/ 2147483647 h 163"/>
                <a:gd name="T52" fmla="*/ 2147483647 w 117"/>
                <a:gd name="T53" fmla="*/ 2147483647 h 163"/>
                <a:gd name="T54" fmla="*/ 2147483647 w 117"/>
                <a:gd name="T55" fmla="*/ 2147483647 h 163"/>
                <a:gd name="T56" fmla="*/ 2147483647 w 117"/>
                <a:gd name="T57" fmla="*/ 2147483647 h 163"/>
                <a:gd name="T58" fmla="*/ 2147483647 w 117"/>
                <a:gd name="T59" fmla="*/ 2147483647 h 163"/>
                <a:gd name="T60" fmla="*/ 2147483647 w 117"/>
                <a:gd name="T61" fmla="*/ 2147483647 h 163"/>
                <a:gd name="T62" fmla="*/ 2147483647 w 117"/>
                <a:gd name="T63" fmla="*/ 2147483647 h 163"/>
                <a:gd name="T64" fmla="*/ 2147483647 w 117"/>
                <a:gd name="T65" fmla="*/ 2147483647 h 163"/>
                <a:gd name="T66" fmla="*/ 2147483647 w 117"/>
                <a:gd name="T67" fmla="*/ 2147483647 h 163"/>
                <a:gd name="T68" fmla="*/ 2147483647 w 117"/>
                <a:gd name="T69" fmla="*/ 2147483647 h 163"/>
                <a:gd name="T70" fmla="*/ 2147483647 w 117"/>
                <a:gd name="T71" fmla="*/ 2147483647 h 163"/>
                <a:gd name="T72" fmla="*/ 2147483647 w 117"/>
                <a:gd name="T73" fmla="*/ 2147483647 h 163"/>
                <a:gd name="T74" fmla="*/ 2147483647 w 117"/>
                <a:gd name="T75" fmla="*/ 2147483647 h 16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17"/>
                <a:gd name="T115" fmla="*/ 0 h 163"/>
                <a:gd name="T116" fmla="*/ 117 w 117"/>
                <a:gd name="T117" fmla="*/ 163 h 16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17" h="163">
                  <a:moveTo>
                    <a:pt x="63" y="163"/>
                  </a:moveTo>
                  <a:lnTo>
                    <a:pt x="59" y="161"/>
                  </a:lnTo>
                  <a:lnTo>
                    <a:pt x="58" y="159"/>
                  </a:lnTo>
                  <a:lnTo>
                    <a:pt x="56" y="155"/>
                  </a:lnTo>
                  <a:lnTo>
                    <a:pt x="54" y="153"/>
                  </a:lnTo>
                  <a:lnTo>
                    <a:pt x="52" y="151"/>
                  </a:lnTo>
                  <a:lnTo>
                    <a:pt x="48" y="149"/>
                  </a:lnTo>
                  <a:lnTo>
                    <a:pt x="46" y="132"/>
                  </a:lnTo>
                  <a:lnTo>
                    <a:pt x="44" y="115"/>
                  </a:lnTo>
                  <a:lnTo>
                    <a:pt x="42" y="113"/>
                  </a:lnTo>
                  <a:lnTo>
                    <a:pt x="38" y="111"/>
                  </a:lnTo>
                  <a:lnTo>
                    <a:pt x="36" y="103"/>
                  </a:lnTo>
                  <a:lnTo>
                    <a:pt x="35" y="96"/>
                  </a:lnTo>
                  <a:lnTo>
                    <a:pt x="31" y="94"/>
                  </a:lnTo>
                  <a:lnTo>
                    <a:pt x="29" y="90"/>
                  </a:lnTo>
                  <a:lnTo>
                    <a:pt x="21" y="88"/>
                  </a:lnTo>
                  <a:lnTo>
                    <a:pt x="15" y="86"/>
                  </a:lnTo>
                  <a:lnTo>
                    <a:pt x="11" y="84"/>
                  </a:lnTo>
                  <a:lnTo>
                    <a:pt x="10" y="80"/>
                  </a:lnTo>
                  <a:lnTo>
                    <a:pt x="8" y="69"/>
                  </a:lnTo>
                  <a:lnTo>
                    <a:pt x="6" y="57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2"/>
                  </a:lnTo>
                  <a:lnTo>
                    <a:pt x="0" y="32"/>
                  </a:lnTo>
                  <a:lnTo>
                    <a:pt x="2" y="30"/>
                  </a:lnTo>
                  <a:lnTo>
                    <a:pt x="6" y="29"/>
                  </a:lnTo>
                  <a:lnTo>
                    <a:pt x="8" y="25"/>
                  </a:lnTo>
                  <a:lnTo>
                    <a:pt x="10" y="23"/>
                  </a:lnTo>
                  <a:lnTo>
                    <a:pt x="11" y="21"/>
                  </a:lnTo>
                  <a:lnTo>
                    <a:pt x="15" y="19"/>
                  </a:lnTo>
                  <a:lnTo>
                    <a:pt x="21" y="15"/>
                  </a:lnTo>
                  <a:lnTo>
                    <a:pt x="29" y="13"/>
                  </a:lnTo>
                  <a:lnTo>
                    <a:pt x="31" y="11"/>
                  </a:lnTo>
                  <a:lnTo>
                    <a:pt x="35" y="9"/>
                  </a:lnTo>
                  <a:lnTo>
                    <a:pt x="36" y="6"/>
                  </a:lnTo>
                  <a:lnTo>
                    <a:pt x="38" y="4"/>
                  </a:lnTo>
                  <a:lnTo>
                    <a:pt x="42" y="2"/>
                  </a:lnTo>
                  <a:lnTo>
                    <a:pt x="44" y="0"/>
                  </a:lnTo>
                  <a:lnTo>
                    <a:pt x="46" y="2"/>
                  </a:lnTo>
                  <a:lnTo>
                    <a:pt x="48" y="4"/>
                  </a:lnTo>
                  <a:lnTo>
                    <a:pt x="50" y="7"/>
                  </a:lnTo>
                  <a:lnTo>
                    <a:pt x="54" y="7"/>
                  </a:lnTo>
                  <a:lnTo>
                    <a:pt x="65" y="9"/>
                  </a:lnTo>
                  <a:lnTo>
                    <a:pt x="86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2" y="19"/>
                  </a:lnTo>
                  <a:lnTo>
                    <a:pt x="90" y="23"/>
                  </a:lnTo>
                  <a:lnTo>
                    <a:pt x="90" y="27"/>
                  </a:lnTo>
                  <a:lnTo>
                    <a:pt x="92" y="29"/>
                  </a:lnTo>
                  <a:lnTo>
                    <a:pt x="94" y="30"/>
                  </a:lnTo>
                  <a:lnTo>
                    <a:pt x="98" y="32"/>
                  </a:lnTo>
                  <a:lnTo>
                    <a:pt x="100" y="40"/>
                  </a:lnTo>
                  <a:lnTo>
                    <a:pt x="102" y="48"/>
                  </a:lnTo>
                  <a:lnTo>
                    <a:pt x="104" y="50"/>
                  </a:lnTo>
                  <a:lnTo>
                    <a:pt x="107" y="52"/>
                  </a:lnTo>
                  <a:lnTo>
                    <a:pt x="109" y="65"/>
                  </a:lnTo>
                  <a:lnTo>
                    <a:pt x="111" y="77"/>
                  </a:lnTo>
                  <a:lnTo>
                    <a:pt x="113" y="78"/>
                  </a:lnTo>
                  <a:lnTo>
                    <a:pt x="117" y="80"/>
                  </a:lnTo>
                  <a:lnTo>
                    <a:pt x="117" y="96"/>
                  </a:lnTo>
                  <a:lnTo>
                    <a:pt x="117" y="111"/>
                  </a:lnTo>
                  <a:lnTo>
                    <a:pt x="113" y="113"/>
                  </a:lnTo>
                  <a:lnTo>
                    <a:pt x="111" y="115"/>
                  </a:lnTo>
                  <a:lnTo>
                    <a:pt x="109" y="123"/>
                  </a:lnTo>
                  <a:lnTo>
                    <a:pt x="107" y="128"/>
                  </a:lnTo>
                  <a:lnTo>
                    <a:pt x="104" y="132"/>
                  </a:lnTo>
                  <a:lnTo>
                    <a:pt x="102" y="134"/>
                  </a:lnTo>
                  <a:lnTo>
                    <a:pt x="100" y="142"/>
                  </a:lnTo>
                  <a:lnTo>
                    <a:pt x="98" y="149"/>
                  </a:lnTo>
                  <a:lnTo>
                    <a:pt x="94" y="151"/>
                  </a:lnTo>
                  <a:lnTo>
                    <a:pt x="92" y="153"/>
                  </a:lnTo>
                  <a:lnTo>
                    <a:pt x="81" y="155"/>
                  </a:lnTo>
                  <a:lnTo>
                    <a:pt x="67" y="159"/>
                  </a:lnTo>
                  <a:lnTo>
                    <a:pt x="65" y="161"/>
                  </a:lnTo>
                  <a:lnTo>
                    <a:pt x="63" y="163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69" name="Freeform 339">
              <a:extLst>
                <a:ext uri="{FF2B5EF4-FFF2-40B4-BE49-F238E27FC236}">
                  <a16:creationId xmlns:a16="http://schemas.microsoft.com/office/drawing/2014/main" xmlns="" id="{62C8F7E3-972B-5144-9EE1-152B072A4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8238" y="3784416"/>
              <a:ext cx="288925" cy="179387"/>
            </a:xfrm>
            <a:custGeom>
              <a:avLst/>
              <a:gdLst>
                <a:gd name="T0" fmla="*/ 2147483647 w 186"/>
                <a:gd name="T1" fmla="*/ 2147483647 h 121"/>
                <a:gd name="T2" fmla="*/ 2147483647 w 186"/>
                <a:gd name="T3" fmla="*/ 2147483647 h 121"/>
                <a:gd name="T4" fmla="*/ 2147483647 w 186"/>
                <a:gd name="T5" fmla="*/ 2147483647 h 121"/>
                <a:gd name="T6" fmla="*/ 2147483647 w 186"/>
                <a:gd name="T7" fmla="*/ 2147483647 h 121"/>
                <a:gd name="T8" fmla="*/ 2147483647 w 186"/>
                <a:gd name="T9" fmla="*/ 2147483647 h 121"/>
                <a:gd name="T10" fmla="*/ 2147483647 w 186"/>
                <a:gd name="T11" fmla="*/ 2147483647 h 121"/>
                <a:gd name="T12" fmla="*/ 2147483647 w 186"/>
                <a:gd name="T13" fmla="*/ 2147483647 h 121"/>
                <a:gd name="T14" fmla="*/ 2147483647 w 186"/>
                <a:gd name="T15" fmla="*/ 2147483647 h 121"/>
                <a:gd name="T16" fmla="*/ 2147483647 w 186"/>
                <a:gd name="T17" fmla="*/ 2147483647 h 121"/>
                <a:gd name="T18" fmla="*/ 2147483647 w 186"/>
                <a:gd name="T19" fmla="*/ 2147483647 h 121"/>
                <a:gd name="T20" fmla="*/ 2147483647 w 186"/>
                <a:gd name="T21" fmla="*/ 2147483647 h 121"/>
                <a:gd name="T22" fmla="*/ 2147483647 w 186"/>
                <a:gd name="T23" fmla="*/ 2147483647 h 121"/>
                <a:gd name="T24" fmla="*/ 2147483647 w 186"/>
                <a:gd name="T25" fmla="*/ 2147483647 h 121"/>
                <a:gd name="T26" fmla="*/ 2147483647 w 186"/>
                <a:gd name="T27" fmla="*/ 2147483647 h 121"/>
                <a:gd name="T28" fmla="*/ 2147483647 w 186"/>
                <a:gd name="T29" fmla="*/ 2147483647 h 121"/>
                <a:gd name="T30" fmla="*/ 2147483647 w 186"/>
                <a:gd name="T31" fmla="*/ 2147483647 h 121"/>
                <a:gd name="T32" fmla="*/ 2147483647 w 186"/>
                <a:gd name="T33" fmla="*/ 2147483647 h 121"/>
                <a:gd name="T34" fmla="*/ 2147483647 w 186"/>
                <a:gd name="T35" fmla="*/ 2147483647 h 121"/>
                <a:gd name="T36" fmla="*/ 2147483647 w 186"/>
                <a:gd name="T37" fmla="*/ 2147483647 h 121"/>
                <a:gd name="T38" fmla="*/ 2147483647 w 186"/>
                <a:gd name="T39" fmla="*/ 2147483647 h 121"/>
                <a:gd name="T40" fmla="*/ 2147483647 w 186"/>
                <a:gd name="T41" fmla="*/ 2147483647 h 121"/>
                <a:gd name="T42" fmla="*/ 2147483647 w 186"/>
                <a:gd name="T43" fmla="*/ 0 h 121"/>
                <a:gd name="T44" fmla="*/ 2147483647 w 186"/>
                <a:gd name="T45" fmla="*/ 2147483647 h 121"/>
                <a:gd name="T46" fmla="*/ 2147483647 w 186"/>
                <a:gd name="T47" fmla="*/ 2147483647 h 121"/>
                <a:gd name="T48" fmla="*/ 2147483647 w 186"/>
                <a:gd name="T49" fmla="*/ 2147483647 h 121"/>
                <a:gd name="T50" fmla="*/ 2147483647 w 186"/>
                <a:gd name="T51" fmla="*/ 2147483647 h 121"/>
                <a:gd name="T52" fmla="*/ 2147483647 w 186"/>
                <a:gd name="T53" fmla="*/ 2147483647 h 121"/>
                <a:gd name="T54" fmla="*/ 2147483647 w 186"/>
                <a:gd name="T55" fmla="*/ 2147483647 h 121"/>
                <a:gd name="T56" fmla="*/ 2147483647 w 186"/>
                <a:gd name="T57" fmla="*/ 2147483647 h 121"/>
                <a:gd name="T58" fmla="*/ 2147483647 w 186"/>
                <a:gd name="T59" fmla="*/ 2147483647 h 121"/>
                <a:gd name="T60" fmla="*/ 2147483647 w 186"/>
                <a:gd name="T61" fmla="*/ 2147483647 h 121"/>
                <a:gd name="T62" fmla="*/ 2147483647 w 186"/>
                <a:gd name="T63" fmla="*/ 2147483647 h 121"/>
                <a:gd name="T64" fmla="*/ 2147483647 w 186"/>
                <a:gd name="T65" fmla="*/ 2147483647 h 121"/>
                <a:gd name="T66" fmla="*/ 2147483647 w 186"/>
                <a:gd name="T67" fmla="*/ 2147483647 h 121"/>
                <a:gd name="T68" fmla="*/ 2147483647 w 186"/>
                <a:gd name="T69" fmla="*/ 2147483647 h 121"/>
                <a:gd name="T70" fmla="*/ 2147483647 w 186"/>
                <a:gd name="T71" fmla="*/ 2147483647 h 121"/>
                <a:gd name="T72" fmla="*/ 2147483647 w 186"/>
                <a:gd name="T73" fmla="*/ 2147483647 h 121"/>
                <a:gd name="T74" fmla="*/ 2147483647 w 186"/>
                <a:gd name="T75" fmla="*/ 2147483647 h 121"/>
                <a:gd name="T76" fmla="*/ 2147483647 w 186"/>
                <a:gd name="T77" fmla="*/ 2147483647 h 12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86"/>
                <a:gd name="T118" fmla="*/ 0 h 121"/>
                <a:gd name="T119" fmla="*/ 186 w 186"/>
                <a:gd name="T120" fmla="*/ 121 h 12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86" h="121">
                  <a:moveTo>
                    <a:pt x="184" y="57"/>
                  </a:moveTo>
                  <a:lnTo>
                    <a:pt x="184" y="75"/>
                  </a:lnTo>
                  <a:lnTo>
                    <a:pt x="184" y="92"/>
                  </a:lnTo>
                  <a:lnTo>
                    <a:pt x="182" y="94"/>
                  </a:lnTo>
                  <a:lnTo>
                    <a:pt x="179" y="96"/>
                  </a:lnTo>
                  <a:lnTo>
                    <a:pt x="159" y="98"/>
                  </a:lnTo>
                  <a:lnTo>
                    <a:pt x="138" y="100"/>
                  </a:lnTo>
                  <a:lnTo>
                    <a:pt x="117" y="100"/>
                  </a:lnTo>
                  <a:lnTo>
                    <a:pt x="98" y="101"/>
                  </a:lnTo>
                  <a:lnTo>
                    <a:pt x="94" y="103"/>
                  </a:lnTo>
                  <a:lnTo>
                    <a:pt x="92" y="107"/>
                  </a:lnTo>
                  <a:lnTo>
                    <a:pt x="90" y="109"/>
                  </a:lnTo>
                  <a:lnTo>
                    <a:pt x="88" y="111"/>
                  </a:lnTo>
                  <a:lnTo>
                    <a:pt x="85" y="113"/>
                  </a:lnTo>
                  <a:lnTo>
                    <a:pt x="83" y="117"/>
                  </a:lnTo>
                  <a:lnTo>
                    <a:pt x="81" y="119"/>
                  </a:lnTo>
                  <a:lnTo>
                    <a:pt x="79" y="121"/>
                  </a:lnTo>
                  <a:lnTo>
                    <a:pt x="56" y="119"/>
                  </a:lnTo>
                  <a:lnTo>
                    <a:pt x="35" y="117"/>
                  </a:lnTo>
                  <a:lnTo>
                    <a:pt x="33" y="113"/>
                  </a:lnTo>
                  <a:lnTo>
                    <a:pt x="29" y="111"/>
                  </a:lnTo>
                  <a:lnTo>
                    <a:pt x="25" y="92"/>
                  </a:lnTo>
                  <a:lnTo>
                    <a:pt x="19" y="73"/>
                  </a:lnTo>
                  <a:lnTo>
                    <a:pt x="23" y="71"/>
                  </a:lnTo>
                  <a:lnTo>
                    <a:pt x="25" y="67"/>
                  </a:lnTo>
                  <a:lnTo>
                    <a:pt x="25" y="57"/>
                  </a:lnTo>
                  <a:lnTo>
                    <a:pt x="25" y="48"/>
                  </a:lnTo>
                  <a:lnTo>
                    <a:pt x="23" y="46"/>
                  </a:lnTo>
                  <a:lnTo>
                    <a:pt x="19" y="44"/>
                  </a:lnTo>
                  <a:lnTo>
                    <a:pt x="17" y="40"/>
                  </a:lnTo>
                  <a:lnTo>
                    <a:pt x="16" y="38"/>
                  </a:lnTo>
                  <a:lnTo>
                    <a:pt x="12" y="36"/>
                  </a:lnTo>
                  <a:lnTo>
                    <a:pt x="10" y="34"/>
                  </a:lnTo>
                  <a:lnTo>
                    <a:pt x="8" y="27"/>
                  </a:lnTo>
                  <a:lnTo>
                    <a:pt x="6" y="19"/>
                  </a:lnTo>
                  <a:lnTo>
                    <a:pt x="2" y="17"/>
                  </a:lnTo>
                  <a:lnTo>
                    <a:pt x="0" y="13"/>
                  </a:lnTo>
                  <a:lnTo>
                    <a:pt x="2" y="11"/>
                  </a:lnTo>
                  <a:lnTo>
                    <a:pt x="6" y="9"/>
                  </a:lnTo>
                  <a:lnTo>
                    <a:pt x="17" y="7"/>
                  </a:lnTo>
                  <a:lnTo>
                    <a:pt x="29" y="5"/>
                  </a:lnTo>
                  <a:lnTo>
                    <a:pt x="33" y="2"/>
                  </a:lnTo>
                  <a:lnTo>
                    <a:pt x="35" y="0"/>
                  </a:lnTo>
                  <a:lnTo>
                    <a:pt x="44" y="0"/>
                  </a:lnTo>
                  <a:lnTo>
                    <a:pt x="54" y="0"/>
                  </a:lnTo>
                  <a:lnTo>
                    <a:pt x="56" y="2"/>
                  </a:lnTo>
                  <a:lnTo>
                    <a:pt x="60" y="5"/>
                  </a:lnTo>
                  <a:lnTo>
                    <a:pt x="65" y="7"/>
                  </a:lnTo>
                  <a:lnTo>
                    <a:pt x="73" y="9"/>
                  </a:lnTo>
                  <a:lnTo>
                    <a:pt x="75" y="11"/>
                  </a:lnTo>
                  <a:lnTo>
                    <a:pt x="79" y="13"/>
                  </a:lnTo>
                  <a:lnTo>
                    <a:pt x="81" y="17"/>
                  </a:lnTo>
                  <a:lnTo>
                    <a:pt x="83" y="19"/>
                  </a:lnTo>
                  <a:lnTo>
                    <a:pt x="85" y="21"/>
                  </a:lnTo>
                  <a:lnTo>
                    <a:pt x="88" y="25"/>
                  </a:lnTo>
                  <a:lnTo>
                    <a:pt x="92" y="25"/>
                  </a:lnTo>
                  <a:lnTo>
                    <a:pt x="98" y="25"/>
                  </a:lnTo>
                  <a:lnTo>
                    <a:pt x="100" y="21"/>
                  </a:lnTo>
                  <a:lnTo>
                    <a:pt x="102" y="19"/>
                  </a:lnTo>
                  <a:lnTo>
                    <a:pt x="110" y="17"/>
                  </a:lnTo>
                  <a:lnTo>
                    <a:pt x="117" y="13"/>
                  </a:lnTo>
                  <a:lnTo>
                    <a:pt x="119" y="11"/>
                  </a:lnTo>
                  <a:lnTo>
                    <a:pt x="121" y="9"/>
                  </a:lnTo>
                  <a:lnTo>
                    <a:pt x="127" y="9"/>
                  </a:lnTo>
                  <a:lnTo>
                    <a:pt x="131" y="9"/>
                  </a:lnTo>
                  <a:lnTo>
                    <a:pt x="134" y="11"/>
                  </a:lnTo>
                  <a:lnTo>
                    <a:pt x="136" y="13"/>
                  </a:lnTo>
                  <a:lnTo>
                    <a:pt x="142" y="17"/>
                  </a:lnTo>
                  <a:lnTo>
                    <a:pt x="150" y="19"/>
                  </a:lnTo>
                  <a:lnTo>
                    <a:pt x="154" y="21"/>
                  </a:lnTo>
                  <a:lnTo>
                    <a:pt x="156" y="25"/>
                  </a:lnTo>
                  <a:lnTo>
                    <a:pt x="157" y="30"/>
                  </a:lnTo>
                  <a:lnTo>
                    <a:pt x="159" y="38"/>
                  </a:lnTo>
                  <a:lnTo>
                    <a:pt x="163" y="40"/>
                  </a:lnTo>
                  <a:lnTo>
                    <a:pt x="165" y="44"/>
                  </a:lnTo>
                  <a:lnTo>
                    <a:pt x="175" y="46"/>
                  </a:lnTo>
                  <a:lnTo>
                    <a:pt x="186" y="48"/>
                  </a:lnTo>
                  <a:lnTo>
                    <a:pt x="184" y="53"/>
                  </a:lnTo>
                  <a:lnTo>
                    <a:pt x="184" y="57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0" name="Freeform 340">
              <a:extLst>
                <a:ext uri="{FF2B5EF4-FFF2-40B4-BE49-F238E27FC236}">
                  <a16:creationId xmlns:a16="http://schemas.microsoft.com/office/drawing/2014/main" xmlns="" id="{290C4352-9A5C-2C4C-B881-9765F8E07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3714566"/>
              <a:ext cx="287337" cy="315912"/>
            </a:xfrm>
            <a:custGeom>
              <a:avLst/>
              <a:gdLst>
                <a:gd name="T0" fmla="*/ 2147483647 w 185"/>
                <a:gd name="T1" fmla="*/ 2147483647 h 213"/>
                <a:gd name="T2" fmla="*/ 2147483647 w 185"/>
                <a:gd name="T3" fmla="*/ 2147483647 h 213"/>
                <a:gd name="T4" fmla="*/ 2147483647 w 185"/>
                <a:gd name="T5" fmla="*/ 2147483647 h 213"/>
                <a:gd name="T6" fmla="*/ 2147483647 w 185"/>
                <a:gd name="T7" fmla="*/ 2147483647 h 213"/>
                <a:gd name="T8" fmla="*/ 2147483647 w 185"/>
                <a:gd name="T9" fmla="*/ 2147483647 h 213"/>
                <a:gd name="T10" fmla="*/ 2147483647 w 185"/>
                <a:gd name="T11" fmla="*/ 2147483647 h 213"/>
                <a:gd name="T12" fmla="*/ 2147483647 w 185"/>
                <a:gd name="T13" fmla="*/ 2147483647 h 213"/>
                <a:gd name="T14" fmla="*/ 2147483647 w 185"/>
                <a:gd name="T15" fmla="*/ 2147483647 h 213"/>
                <a:gd name="T16" fmla="*/ 2147483647 w 185"/>
                <a:gd name="T17" fmla="*/ 2147483647 h 213"/>
                <a:gd name="T18" fmla="*/ 2147483647 w 185"/>
                <a:gd name="T19" fmla="*/ 2147483647 h 213"/>
                <a:gd name="T20" fmla="*/ 2147483647 w 185"/>
                <a:gd name="T21" fmla="*/ 2147483647 h 213"/>
                <a:gd name="T22" fmla="*/ 2147483647 w 185"/>
                <a:gd name="T23" fmla="*/ 2147483647 h 213"/>
                <a:gd name="T24" fmla="*/ 2147483647 w 185"/>
                <a:gd name="T25" fmla="*/ 2147483647 h 213"/>
                <a:gd name="T26" fmla="*/ 2147483647 w 185"/>
                <a:gd name="T27" fmla="*/ 2147483647 h 213"/>
                <a:gd name="T28" fmla="*/ 2147483647 w 185"/>
                <a:gd name="T29" fmla="*/ 2147483647 h 213"/>
                <a:gd name="T30" fmla="*/ 2147483647 w 185"/>
                <a:gd name="T31" fmla="*/ 2147483647 h 213"/>
                <a:gd name="T32" fmla="*/ 2147483647 w 185"/>
                <a:gd name="T33" fmla="*/ 0 h 213"/>
                <a:gd name="T34" fmla="*/ 2147483647 w 185"/>
                <a:gd name="T35" fmla="*/ 2147483647 h 213"/>
                <a:gd name="T36" fmla="*/ 2147483647 w 185"/>
                <a:gd name="T37" fmla="*/ 2147483647 h 213"/>
                <a:gd name="T38" fmla="*/ 2147483647 w 185"/>
                <a:gd name="T39" fmla="*/ 2147483647 h 213"/>
                <a:gd name="T40" fmla="*/ 2147483647 w 185"/>
                <a:gd name="T41" fmla="*/ 2147483647 h 213"/>
                <a:gd name="T42" fmla="*/ 2147483647 w 185"/>
                <a:gd name="T43" fmla="*/ 2147483647 h 213"/>
                <a:gd name="T44" fmla="*/ 2147483647 w 185"/>
                <a:gd name="T45" fmla="*/ 2147483647 h 213"/>
                <a:gd name="T46" fmla="*/ 2147483647 w 185"/>
                <a:gd name="T47" fmla="*/ 2147483647 h 213"/>
                <a:gd name="T48" fmla="*/ 2147483647 w 185"/>
                <a:gd name="T49" fmla="*/ 2147483647 h 213"/>
                <a:gd name="T50" fmla="*/ 2147483647 w 185"/>
                <a:gd name="T51" fmla="*/ 2147483647 h 213"/>
                <a:gd name="T52" fmla="*/ 2147483647 w 185"/>
                <a:gd name="T53" fmla="*/ 2147483647 h 213"/>
                <a:gd name="T54" fmla="*/ 2147483647 w 185"/>
                <a:gd name="T55" fmla="*/ 2147483647 h 213"/>
                <a:gd name="T56" fmla="*/ 2147483647 w 185"/>
                <a:gd name="T57" fmla="*/ 2147483647 h 213"/>
                <a:gd name="T58" fmla="*/ 2147483647 w 185"/>
                <a:gd name="T59" fmla="*/ 2147483647 h 213"/>
                <a:gd name="T60" fmla="*/ 2147483647 w 185"/>
                <a:gd name="T61" fmla="*/ 2147483647 h 213"/>
                <a:gd name="T62" fmla="*/ 2147483647 w 185"/>
                <a:gd name="T63" fmla="*/ 2147483647 h 213"/>
                <a:gd name="T64" fmla="*/ 2147483647 w 185"/>
                <a:gd name="T65" fmla="*/ 2147483647 h 213"/>
                <a:gd name="T66" fmla="*/ 2147483647 w 185"/>
                <a:gd name="T67" fmla="*/ 2147483647 h 213"/>
                <a:gd name="T68" fmla="*/ 2147483647 w 185"/>
                <a:gd name="T69" fmla="*/ 2147483647 h 213"/>
                <a:gd name="T70" fmla="*/ 2147483647 w 185"/>
                <a:gd name="T71" fmla="*/ 2147483647 h 213"/>
                <a:gd name="T72" fmla="*/ 2147483647 w 185"/>
                <a:gd name="T73" fmla="*/ 2147483647 h 213"/>
                <a:gd name="T74" fmla="*/ 2147483647 w 185"/>
                <a:gd name="T75" fmla="*/ 2147483647 h 213"/>
                <a:gd name="T76" fmla="*/ 2147483647 w 185"/>
                <a:gd name="T77" fmla="*/ 2147483647 h 213"/>
                <a:gd name="T78" fmla="*/ 2147483647 w 185"/>
                <a:gd name="T79" fmla="*/ 2147483647 h 213"/>
                <a:gd name="T80" fmla="*/ 2147483647 w 185"/>
                <a:gd name="T81" fmla="*/ 2147483647 h 213"/>
                <a:gd name="T82" fmla="*/ 2147483647 w 185"/>
                <a:gd name="T83" fmla="*/ 2147483647 h 213"/>
                <a:gd name="T84" fmla="*/ 2147483647 w 185"/>
                <a:gd name="T85" fmla="*/ 2147483647 h 213"/>
                <a:gd name="T86" fmla="*/ 2147483647 w 185"/>
                <a:gd name="T87" fmla="*/ 2147483647 h 213"/>
                <a:gd name="T88" fmla="*/ 2147483647 w 185"/>
                <a:gd name="T89" fmla="*/ 2147483647 h 213"/>
                <a:gd name="T90" fmla="*/ 2147483647 w 185"/>
                <a:gd name="T91" fmla="*/ 2147483647 h 213"/>
                <a:gd name="T92" fmla="*/ 2147483647 w 185"/>
                <a:gd name="T93" fmla="*/ 2147483647 h 213"/>
                <a:gd name="T94" fmla="*/ 2147483647 w 185"/>
                <a:gd name="T95" fmla="*/ 2147483647 h 213"/>
                <a:gd name="T96" fmla="*/ 2147483647 w 185"/>
                <a:gd name="T97" fmla="*/ 2147483647 h 213"/>
                <a:gd name="T98" fmla="*/ 2147483647 w 185"/>
                <a:gd name="T99" fmla="*/ 2147483647 h 213"/>
                <a:gd name="T100" fmla="*/ 2147483647 w 185"/>
                <a:gd name="T101" fmla="*/ 2147483647 h 213"/>
                <a:gd name="T102" fmla="*/ 2147483647 w 185"/>
                <a:gd name="T103" fmla="*/ 2147483647 h 213"/>
                <a:gd name="T104" fmla="*/ 2147483647 w 185"/>
                <a:gd name="T105" fmla="*/ 2147483647 h 213"/>
                <a:gd name="T106" fmla="*/ 2147483647 w 185"/>
                <a:gd name="T107" fmla="*/ 2147483647 h 213"/>
                <a:gd name="T108" fmla="*/ 2147483647 w 185"/>
                <a:gd name="T109" fmla="*/ 2147483647 h 213"/>
                <a:gd name="T110" fmla="*/ 2147483647 w 185"/>
                <a:gd name="T111" fmla="*/ 2147483647 h 213"/>
                <a:gd name="T112" fmla="*/ 2147483647 w 185"/>
                <a:gd name="T113" fmla="*/ 2147483647 h 213"/>
                <a:gd name="T114" fmla="*/ 2147483647 w 185"/>
                <a:gd name="T115" fmla="*/ 2147483647 h 213"/>
                <a:gd name="T116" fmla="*/ 2147483647 w 185"/>
                <a:gd name="T117" fmla="*/ 2147483647 h 21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85"/>
                <a:gd name="T178" fmla="*/ 0 h 213"/>
                <a:gd name="T179" fmla="*/ 185 w 185"/>
                <a:gd name="T180" fmla="*/ 213 h 21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85" h="213">
                  <a:moveTo>
                    <a:pt x="58" y="96"/>
                  </a:moveTo>
                  <a:lnTo>
                    <a:pt x="56" y="92"/>
                  </a:lnTo>
                  <a:lnTo>
                    <a:pt x="56" y="90"/>
                  </a:lnTo>
                  <a:lnTo>
                    <a:pt x="54" y="88"/>
                  </a:lnTo>
                  <a:lnTo>
                    <a:pt x="50" y="88"/>
                  </a:lnTo>
                  <a:lnTo>
                    <a:pt x="45" y="86"/>
                  </a:lnTo>
                  <a:lnTo>
                    <a:pt x="35" y="86"/>
                  </a:lnTo>
                  <a:lnTo>
                    <a:pt x="31" y="84"/>
                  </a:lnTo>
                  <a:lnTo>
                    <a:pt x="29" y="82"/>
                  </a:lnTo>
                  <a:lnTo>
                    <a:pt x="27" y="75"/>
                  </a:lnTo>
                  <a:lnTo>
                    <a:pt x="23" y="67"/>
                  </a:lnTo>
                  <a:lnTo>
                    <a:pt x="21" y="65"/>
                  </a:lnTo>
                  <a:lnTo>
                    <a:pt x="20" y="61"/>
                  </a:lnTo>
                  <a:lnTo>
                    <a:pt x="12" y="59"/>
                  </a:lnTo>
                  <a:lnTo>
                    <a:pt x="4" y="57"/>
                  </a:lnTo>
                  <a:lnTo>
                    <a:pt x="2" y="55"/>
                  </a:lnTo>
                  <a:lnTo>
                    <a:pt x="0" y="53"/>
                  </a:lnTo>
                  <a:lnTo>
                    <a:pt x="2" y="50"/>
                  </a:lnTo>
                  <a:lnTo>
                    <a:pt x="4" y="48"/>
                  </a:lnTo>
                  <a:lnTo>
                    <a:pt x="8" y="46"/>
                  </a:lnTo>
                  <a:lnTo>
                    <a:pt x="10" y="44"/>
                  </a:lnTo>
                  <a:lnTo>
                    <a:pt x="12" y="40"/>
                  </a:lnTo>
                  <a:lnTo>
                    <a:pt x="14" y="38"/>
                  </a:lnTo>
                  <a:lnTo>
                    <a:pt x="18" y="30"/>
                  </a:lnTo>
                  <a:lnTo>
                    <a:pt x="20" y="23"/>
                  </a:lnTo>
                  <a:lnTo>
                    <a:pt x="21" y="21"/>
                  </a:lnTo>
                  <a:lnTo>
                    <a:pt x="23" y="19"/>
                  </a:lnTo>
                  <a:lnTo>
                    <a:pt x="31" y="19"/>
                  </a:lnTo>
                  <a:lnTo>
                    <a:pt x="39" y="19"/>
                  </a:lnTo>
                  <a:lnTo>
                    <a:pt x="39" y="11"/>
                  </a:lnTo>
                  <a:lnTo>
                    <a:pt x="39" y="4"/>
                  </a:lnTo>
                  <a:lnTo>
                    <a:pt x="41" y="2"/>
                  </a:lnTo>
                  <a:lnTo>
                    <a:pt x="43" y="0"/>
                  </a:lnTo>
                  <a:lnTo>
                    <a:pt x="62" y="0"/>
                  </a:lnTo>
                  <a:lnTo>
                    <a:pt x="83" y="0"/>
                  </a:lnTo>
                  <a:lnTo>
                    <a:pt x="85" y="2"/>
                  </a:lnTo>
                  <a:lnTo>
                    <a:pt x="87" y="4"/>
                  </a:lnTo>
                  <a:lnTo>
                    <a:pt x="89" y="7"/>
                  </a:lnTo>
                  <a:lnTo>
                    <a:pt x="92" y="9"/>
                  </a:lnTo>
                  <a:lnTo>
                    <a:pt x="94" y="11"/>
                  </a:lnTo>
                  <a:lnTo>
                    <a:pt x="96" y="15"/>
                  </a:lnTo>
                  <a:lnTo>
                    <a:pt x="110" y="17"/>
                  </a:lnTo>
                  <a:lnTo>
                    <a:pt x="121" y="19"/>
                  </a:lnTo>
                  <a:lnTo>
                    <a:pt x="123" y="21"/>
                  </a:lnTo>
                  <a:lnTo>
                    <a:pt x="125" y="23"/>
                  </a:lnTo>
                  <a:lnTo>
                    <a:pt x="131" y="21"/>
                  </a:lnTo>
                  <a:lnTo>
                    <a:pt x="135" y="19"/>
                  </a:lnTo>
                  <a:lnTo>
                    <a:pt x="144" y="19"/>
                  </a:lnTo>
                  <a:lnTo>
                    <a:pt x="156" y="19"/>
                  </a:lnTo>
                  <a:lnTo>
                    <a:pt x="156" y="21"/>
                  </a:lnTo>
                  <a:lnTo>
                    <a:pt x="156" y="23"/>
                  </a:lnTo>
                  <a:lnTo>
                    <a:pt x="152" y="27"/>
                  </a:lnTo>
                  <a:lnTo>
                    <a:pt x="150" y="29"/>
                  </a:lnTo>
                  <a:lnTo>
                    <a:pt x="152" y="30"/>
                  </a:lnTo>
                  <a:lnTo>
                    <a:pt x="156" y="32"/>
                  </a:lnTo>
                  <a:lnTo>
                    <a:pt x="158" y="30"/>
                  </a:lnTo>
                  <a:lnTo>
                    <a:pt x="160" y="29"/>
                  </a:lnTo>
                  <a:lnTo>
                    <a:pt x="162" y="30"/>
                  </a:lnTo>
                  <a:lnTo>
                    <a:pt x="163" y="32"/>
                  </a:lnTo>
                  <a:lnTo>
                    <a:pt x="171" y="36"/>
                  </a:lnTo>
                  <a:lnTo>
                    <a:pt x="179" y="38"/>
                  </a:lnTo>
                  <a:lnTo>
                    <a:pt x="181" y="40"/>
                  </a:lnTo>
                  <a:lnTo>
                    <a:pt x="185" y="44"/>
                  </a:lnTo>
                  <a:lnTo>
                    <a:pt x="185" y="55"/>
                  </a:lnTo>
                  <a:lnTo>
                    <a:pt x="185" y="67"/>
                  </a:lnTo>
                  <a:lnTo>
                    <a:pt x="173" y="67"/>
                  </a:lnTo>
                  <a:lnTo>
                    <a:pt x="163" y="67"/>
                  </a:lnTo>
                  <a:lnTo>
                    <a:pt x="163" y="80"/>
                  </a:lnTo>
                  <a:lnTo>
                    <a:pt x="163" y="92"/>
                  </a:lnTo>
                  <a:lnTo>
                    <a:pt x="162" y="94"/>
                  </a:lnTo>
                  <a:lnTo>
                    <a:pt x="160" y="96"/>
                  </a:lnTo>
                  <a:lnTo>
                    <a:pt x="160" y="105"/>
                  </a:lnTo>
                  <a:lnTo>
                    <a:pt x="160" y="115"/>
                  </a:lnTo>
                  <a:lnTo>
                    <a:pt x="162" y="119"/>
                  </a:lnTo>
                  <a:lnTo>
                    <a:pt x="163" y="121"/>
                  </a:lnTo>
                  <a:lnTo>
                    <a:pt x="167" y="126"/>
                  </a:lnTo>
                  <a:lnTo>
                    <a:pt x="169" y="134"/>
                  </a:lnTo>
                  <a:lnTo>
                    <a:pt x="171" y="138"/>
                  </a:lnTo>
                  <a:lnTo>
                    <a:pt x="173" y="140"/>
                  </a:lnTo>
                  <a:lnTo>
                    <a:pt x="177" y="148"/>
                  </a:lnTo>
                  <a:lnTo>
                    <a:pt x="179" y="155"/>
                  </a:lnTo>
                  <a:lnTo>
                    <a:pt x="181" y="157"/>
                  </a:lnTo>
                  <a:lnTo>
                    <a:pt x="185" y="159"/>
                  </a:lnTo>
                  <a:lnTo>
                    <a:pt x="185" y="174"/>
                  </a:lnTo>
                  <a:lnTo>
                    <a:pt x="185" y="188"/>
                  </a:lnTo>
                  <a:lnTo>
                    <a:pt x="181" y="190"/>
                  </a:lnTo>
                  <a:lnTo>
                    <a:pt x="179" y="194"/>
                  </a:lnTo>
                  <a:lnTo>
                    <a:pt x="171" y="199"/>
                  </a:lnTo>
                  <a:lnTo>
                    <a:pt x="163" y="207"/>
                  </a:lnTo>
                  <a:lnTo>
                    <a:pt x="162" y="209"/>
                  </a:lnTo>
                  <a:lnTo>
                    <a:pt x="160" y="213"/>
                  </a:lnTo>
                  <a:lnTo>
                    <a:pt x="154" y="213"/>
                  </a:lnTo>
                  <a:lnTo>
                    <a:pt x="150" y="213"/>
                  </a:lnTo>
                  <a:lnTo>
                    <a:pt x="148" y="209"/>
                  </a:lnTo>
                  <a:lnTo>
                    <a:pt x="144" y="207"/>
                  </a:lnTo>
                  <a:lnTo>
                    <a:pt x="135" y="207"/>
                  </a:lnTo>
                  <a:lnTo>
                    <a:pt x="125" y="207"/>
                  </a:lnTo>
                  <a:lnTo>
                    <a:pt x="123" y="209"/>
                  </a:lnTo>
                  <a:lnTo>
                    <a:pt x="121" y="213"/>
                  </a:lnTo>
                  <a:lnTo>
                    <a:pt x="98" y="213"/>
                  </a:lnTo>
                  <a:lnTo>
                    <a:pt x="77" y="213"/>
                  </a:lnTo>
                  <a:lnTo>
                    <a:pt x="75" y="194"/>
                  </a:lnTo>
                  <a:lnTo>
                    <a:pt x="73" y="174"/>
                  </a:lnTo>
                  <a:lnTo>
                    <a:pt x="69" y="171"/>
                  </a:lnTo>
                  <a:lnTo>
                    <a:pt x="68" y="169"/>
                  </a:lnTo>
                  <a:lnTo>
                    <a:pt x="66" y="167"/>
                  </a:lnTo>
                  <a:lnTo>
                    <a:pt x="64" y="165"/>
                  </a:lnTo>
                  <a:lnTo>
                    <a:pt x="60" y="161"/>
                  </a:lnTo>
                  <a:lnTo>
                    <a:pt x="58" y="159"/>
                  </a:lnTo>
                  <a:lnTo>
                    <a:pt x="56" y="157"/>
                  </a:lnTo>
                  <a:lnTo>
                    <a:pt x="52" y="155"/>
                  </a:lnTo>
                  <a:lnTo>
                    <a:pt x="50" y="151"/>
                  </a:lnTo>
                  <a:lnTo>
                    <a:pt x="48" y="149"/>
                  </a:lnTo>
                  <a:lnTo>
                    <a:pt x="50" y="148"/>
                  </a:lnTo>
                  <a:lnTo>
                    <a:pt x="52" y="144"/>
                  </a:lnTo>
                  <a:lnTo>
                    <a:pt x="56" y="124"/>
                  </a:lnTo>
                  <a:lnTo>
                    <a:pt x="58" y="105"/>
                  </a:lnTo>
                  <a:lnTo>
                    <a:pt x="58" y="101"/>
                  </a:lnTo>
                  <a:lnTo>
                    <a:pt x="58" y="96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1" name="Freeform 341">
              <a:extLst>
                <a:ext uri="{FF2B5EF4-FFF2-40B4-BE49-F238E27FC236}">
                  <a16:creationId xmlns:a16="http://schemas.microsoft.com/office/drawing/2014/main" xmlns="" id="{198FC1C0-BF34-7E45-9F3C-A79602909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113" y="3784416"/>
              <a:ext cx="266700" cy="246062"/>
            </a:xfrm>
            <a:custGeom>
              <a:avLst/>
              <a:gdLst>
                <a:gd name="T0" fmla="*/ 2147483647 w 172"/>
                <a:gd name="T1" fmla="*/ 2147483647 h 165"/>
                <a:gd name="T2" fmla="*/ 2147483647 w 172"/>
                <a:gd name="T3" fmla="*/ 2147483647 h 165"/>
                <a:gd name="T4" fmla="*/ 2147483647 w 172"/>
                <a:gd name="T5" fmla="*/ 2147483647 h 165"/>
                <a:gd name="T6" fmla="*/ 2147483647 w 172"/>
                <a:gd name="T7" fmla="*/ 2147483647 h 165"/>
                <a:gd name="T8" fmla="*/ 2147483647 w 172"/>
                <a:gd name="T9" fmla="*/ 2147483647 h 165"/>
                <a:gd name="T10" fmla="*/ 2147483647 w 172"/>
                <a:gd name="T11" fmla="*/ 2147483647 h 165"/>
                <a:gd name="T12" fmla="*/ 2147483647 w 172"/>
                <a:gd name="T13" fmla="*/ 2147483647 h 165"/>
                <a:gd name="T14" fmla="*/ 2147483647 w 172"/>
                <a:gd name="T15" fmla="*/ 2147483647 h 165"/>
                <a:gd name="T16" fmla="*/ 2147483647 w 172"/>
                <a:gd name="T17" fmla="*/ 2147483647 h 165"/>
                <a:gd name="T18" fmla="*/ 2147483647 w 172"/>
                <a:gd name="T19" fmla="*/ 2147483647 h 165"/>
                <a:gd name="T20" fmla="*/ 0 w 172"/>
                <a:gd name="T21" fmla="*/ 2147483647 h 165"/>
                <a:gd name="T22" fmla="*/ 0 w 172"/>
                <a:gd name="T23" fmla="*/ 2147483647 h 165"/>
                <a:gd name="T24" fmla="*/ 2147483647 w 172"/>
                <a:gd name="T25" fmla="*/ 2147483647 h 165"/>
                <a:gd name="T26" fmla="*/ 2147483647 w 172"/>
                <a:gd name="T27" fmla="*/ 2147483647 h 165"/>
                <a:gd name="T28" fmla="*/ 2147483647 w 172"/>
                <a:gd name="T29" fmla="*/ 2147483647 h 165"/>
                <a:gd name="T30" fmla="*/ 2147483647 w 172"/>
                <a:gd name="T31" fmla="*/ 2147483647 h 165"/>
                <a:gd name="T32" fmla="*/ 2147483647 w 172"/>
                <a:gd name="T33" fmla="*/ 0 h 165"/>
                <a:gd name="T34" fmla="*/ 2147483647 w 172"/>
                <a:gd name="T35" fmla="*/ 2147483647 h 165"/>
                <a:gd name="T36" fmla="*/ 2147483647 w 172"/>
                <a:gd name="T37" fmla="*/ 2147483647 h 165"/>
                <a:gd name="T38" fmla="*/ 2147483647 w 172"/>
                <a:gd name="T39" fmla="*/ 2147483647 h 165"/>
                <a:gd name="T40" fmla="*/ 2147483647 w 172"/>
                <a:gd name="T41" fmla="*/ 2147483647 h 165"/>
                <a:gd name="T42" fmla="*/ 2147483647 w 172"/>
                <a:gd name="T43" fmla="*/ 2147483647 h 165"/>
                <a:gd name="T44" fmla="*/ 2147483647 w 172"/>
                <a:gd name="T45" fmla="*/ 2147483647 h 165"/>
                <a:gd name="T46" fmla="*/ 2147483647 w 172"/>
                <a:gd name="T47" fmla="*/ 2147483647 h 165"/>
                <a:gd name="T48" fmla="*/ 2147483647 w 172"/>
                <a:gd name="T49" fmla="*/ 2147483647 h 165"/>
                <a:gd name="T50" fmla="*/ 2147483647 w 172"/>
                <a:gd name="T51" fmla="*/ 2147483647 h 165"/>
                <a:gd name="T52" fmla="*/ 2147483647 w 172"/>
                <a:gd name="T53" fmla="*/ 2147483647 h 165"/>
                <a:gd name="T54" fmla="*/ 2147483647 w 172"/>
                <a:gd name="T55" fmla="*/ 2147483647 h 165"/>
                <a:gd name="T56" fmla="*/ 2147483647 w 172"/>
                <a:gd name="T57" fmla="*/ 2147483647 h 165"/>
                <a:gd name="T58" fmla="*/ 2147483647 w 172"/>
                <a:gd name="T59" fmla="*/ 2147483647 h 165"/>
                <a:gd name="T60" fmla="*/ 2147483647 w 172"/>
                <a:gd name="T61" fmla="*/ 2147483647 h 165"/>
                <a:gd name="T62" fmla="*/ 2147483647 w 172"/>
                <a:gd name="T63" fmla="*/ 2147483647 h 165"/>
                <a:gd name="T64" fmla="*/ 2147483647 w 172"/>
                <a:gd name="T65" fmla="*/ 2147483647 h 165"/>
                <a:gd name="T66" fmla="*/ 2147483647 w 172"/>
                <a:gd name="T67" fmla="*/ 2147483647 h 165"/>
                <a:gd name="T68" fmla="*/ 2147483647 w 172"/>
                <a:gd name="T69" fmla="*/ 2147483647 h 165"/>
                <a:gd name="T70" fmla="*/ 2147483647 w 172"/>
                <a:gd name="T71" fmla="*/ 2147483647 h 165"/>
                <a:gd name="T72" fmla="*/ 2147483647 w 172"/>
                <a:gd name="T73" fmla="*/ 2147483647 h 165"/>
                <a:gd name="T74" fmla="*/ 2147483647 w 172"/>
                <a:gd name="T75" fmla="*/ 2147483647 h 165"/>
                <a:gd name="T76" fmla="*/ 2147483647 w 172"/>
                <a:gd name="T77" fmla="*/ 2147483647 h 165"/>
                <a:gd name="T78" fmla="*/ 2147483647 w 172"/>
                <a:gd name="T79" fmla="*/ 2147483647 h 165"/>
                <a:gd name="T80" fmla="*/ 2147483647 w 172"/>
                <a:gd name="T81" fmla="*/ 2147483647 h 165"/>
                <a:gd name="T82" fmla="*/ 2147483647 w 172"/>
                <a:gd name="T83" fmla="*/ 2147483647 h 165"/>
                <a:gd name="T84" fmla="*/ 2147483647 w 172"/>
                <a:gd name="T85" fmla="*/ 2147483647 h 165"/>
                <a:gd name="T86" fmla="*/ 2147483647 w 172"/>
                <a:gd name="T87" fmla="*/ 2147483647 h 165"/>
                <a:gd name="T88" fmla="*/ 2147483647 w 172"/>
                <a:gd name="T89" fmla="*/ 2147483647 h 16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72"/>
                <a:gd name="T136" fmla="*/ 0 h 165"/>
                <a:gd name="T137" fmla="*/ 172 w 172"/>
                <a:gd name="T138" fmla="*/ 165 h 16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72" h="165">
                  <a:moveTo>
                    <a:pt x="67" y="165"/>
                  </a:moveTo>
                  <a:lnTo>
                    <a:pt x="67" y="159"/>
                  </a:lnTo>
                  <a:lnTo>
                    <a:pt x="67" y="155"/>
                  </a:lnTo>
                  <a:lnTo>
                    <a:pt x="71" y="155"/>
                  </a:lnTo>
                  <a:lnTo>
                    <a:pt x="76" y="155"/>
                  </a:lnTo>
                  <a:lnTo>
                    <a:pt x="76" y="136"/>
                  </a:lnTo>
                  <a:lnTo>
                    <a:pt x="76" y="117"/>
                  </a:lnTo>
                  <a:lnTo>
                    <a:pt x="71" y="117"/>
                  </a:lnTo>
                  <a:lnTo>
                    <a:pt x="67" y="117"/>
                  </a:lnTo>
                  <a:lnTo>
                    <a:pt x="67" y="105"/>
                  </a:lnTo>
                  <a:lnTo>
                    <a:pt x="69" y="94"/>
                  </a:lnTo>
                  <a:lnTo>
                    <a:pt x="57" y="86"/>
                  </a:lnTo>
                  <a:lnTo>
                    <a:pt x="48" y="80"/>
                  </a:lnTo>
                  <a:lnTo>
                    <a:pt x="42" y="71"/>
                  </a:lnTo>
                  <a:lnTo>
                    <a:pt x="38" y="57"/>
                  </a:lnTo>
                  <a:lnTo>
                    <a:pt x="28" y="57"/>
                  </a:lnTo>
                  <a:lnTo>
                    <a:pt x="19" y="57"/>
                  </a:lnTo>
                  <a:lnTo>
                    <a:pt x="11" y="57"/>
                  </a:lnTo>
                  <a:lnTo>
                    <a:pt x="4" y="57"/>
                  </a:lnTo>
                  <a:lnTo>
                    <a:pt x="2" y="55"/>
                  </a:lnTo>
                  <a:lnTo>
                    <a:pt x="0" y="53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38"/>
                  </a:lnTo>
                  <a:lnTo>
                    <a:pt x="4" y="34"/>
                  </a:lnTo>
                  <a:lnTo>
                    <a:pt x="9" y="29"/>
                  </a:lnTo>
                  <a:lnTo>
                    <a:pt x="13" y="25"/>
                  </a:lnTo>
                  <a:lnTo>
                    <a:pt x="19" y="19"/>
                  </a:lnTo>
                  <a:lnTo>
                    <a:pt x="23" y="15"/>
                  </a:lnTo>
                  <a:lnTo>
                    <a:pt x="28" y="9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48" y="0"/>
                  </a:lnTo>
                  <a:lnTo>
                    <a:pt x="57" y="9"/>
                  </a:lnTo>
                  <a:lnTo>
                    <a:pt x="67" y="19"/>
                  </a:lnTo>
                  <a:lnTo>
                    <a:pt x="67" y="25"/>
                  </a:lnTo>
                  <a:lnTo>
                    <a:pt x="67" y="29"/>
                  </a:lnTo>
                  <a:lnTo>
                    <a:pt x="80" y="25"/>
                  </a:lnTo>
                  <a:lnTo>
                    <a:pt x="96" y="19"/>
                  </a:lnTo>
                  <a:lnTo>
                    <a:pt x="99" y="19"/>
                  </a:lnTo>
                  <a:lnTo>
                    <a:pt x="105" y="19"/>
                  </a:lnTo>
                  <a:lnTo>
                    <a:pt x="105" y="25"/>
                  </a:lnTo>
                  <a:lnTo>
                    <a:pt x="105" y="29"/>
                  </a:lnTo>
                  <a:lnTo>
                    <a:pt x="122" y="29"/>
                  </a:lnTo>
                  <a:lnTo>
                    <a:pt x="130" y="29"/>
                  </a:lnTo>
                  <a:lnTo>
                    <a:pt x="134" y="27"/>
                  </a:lnTo>
                  <a:lnTo>
                    <a:pt x="134" y="25"/>
                  </a:lnTo>
                  <a:lnTo>
                    <a:pt x="136" y="21"/>
                  </a:lnTo>
                  <a:lnTo>
                    <a:pt x="140" y="19"/>
                  </a:lnTo>
                  <a:lnTo>
                    <a:pt x="144" y="19"/>
                  </a:lnTo>
                  <a:lnTo>
                    <a:pt x="149" y="19"/>
                  </a:lnTo>
                  <a:lnTo>
                    <a:pt x="151" y="21"/>
                  </a:lnTo>
                  <a:lnTo>
                    <a:pt x="153" y="25"/>
                  </a:lnTo>
                  <a:lnTo>
                    <a:pt x="155" y="30"/>
                  </a:lnTo>
                  <a:lnTo>
                    <a:pt x="159" y="38"/>
                  </a:lnTo>
                  <a:lnTo>
                    <a:pt x="161" y="40"/>
                  </a:lnTo>
                  <a:lnTo>
                    <a:pt x="163" y="44"/>
                  </a:lnTo>
                  <a:lnTo>
                    <a:pt x="165" y="46"/>
                  </a:lnTo>
                  <a:lnTo>
                    <a:pt x="169" y="48"/>
                  </a:lnTo>
                  <a:lnTo>
                    <a:pt x="170" y="52"/>
                  </a:lnTo>
                  <a:lnTo>
                    <a:pt x="172" y="53"/>
                  </a:lnTo>
                  <a:lnTo>
                    <a:pt x="172" y="57"/>
                  </a:lnTo>
                  <a:lnTo>
                    <a:pt x="172" y="63"/>
                  </a:lnTo>
                  <a:lnTo>
                    <a:pt x="170" y="65"/>
                  </a:lnTo>
                  <a:lnTo>
                    <a:pt x="169" y="67"/>
                  </a:lnTo>
                  <a:lnTo>
                    <a:pt x="170" y="90"/>
                  </a:lnTo>
                  <a:lnTo>
                    <a:pt x="172" y="111"/>
                  </a:lnTo>
                  <a:lnTo>
                    <a:pt x="170" y="113"/>
                  </a:lnTo>
                  <a:lnTo>
                    <a:pt x="169" y="117"/>
                  </a:lnTo>
                  <a:lnTo>
                    <a:pt x="165" y="119"/>
                  </a:lnTo>
                  <a:lnTo>
                    <a:pt x="163" y="121"/>
                  </a:lnTo>
                  <a:lnTo>
                    <a:pt x="161" y="123"/>
                  </a:lnTo>
                  <a:lnTo>
                    <a:pt x="159" y="126"/>
                  </a:lnTo>
                  <a:lnTo>
                    <a:pt x="151" y="128"/>
                  </a:lnTo>
                  <a:lnTo>
                    <a:pt x="144" y="130"/>
                  </a:lnTo>
                  <a:lnTo>
                    <a:pt x="142" y="132"/>
                  </a:lnTo>
                  <a:lnTo>
                    <a:pt x="140" y="136"/>
                  </a:lnTo>
                  <a:lnTo>
                    <a:pt x="136" y="138"/>
                  </a:lnTo>
                  <a:lnTo>
                    <a:pt x="134" y="140"/>
                  </a:lnTo>
                  <a:lnTo>
                    <a:pt x="132" y="142"/>
                  </a:lnTo>
                  <a:lnTo>
                    <a:pt x="130" y="146"/>
                  </a:lnTo>
                  <a:lnTo>
                    <a:pt x="126" y="146"/>
                  </a:lnTo>
                  <a:lnTo>
                    <a:pt x="124" y="147"/>
                  </a:lnTo>
                  <a:lnTo>
                    <a:pt x="124" y="153"/>
                  </a:lnTo>
                  <a:lnTo>
                    <a:pt x="124" y="165"/>
                  </a:lnTo>
                  <a:lnTo>
                    <a:pt x="99" y="165"/>
                  </a:lnTo>
                  <a:lnTo>
                    <a:pt x="76" y="165"/>
                  </a:lnTo>
                  <a:lnTo>
                    <a:pt x="71" y="165"/>
                  </a:lnTo>
                  <a:lnTo>
                    <a:pt x="67" y="165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2" name="Freeform 342">
              <a:extLst>
                <a:ext uri="{FF2B5EF4-FFF2-40B4-BE49-F238E27FC236}">
                  <a16:creationId xmlns:a16="http://schemas.microsoft.com/office/drawing/2014/main" xmlns="" id="{2F78374C-8F05-F748-BDB3-5DAF794687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1475" y="3598678"/>
              <a:ext cx="295275" cy="255588"/>
            </a:xfrm>
            <a:custGeom>
              <a:avLst/>
              <a:gdLst>
                <a:gd name="T0" fmla="*/ 2147483647 w 186"/>
                <a:gd name="T1" fmla="*/ 2147483647 h 173"/>
                <a:gd name="T2" fmla="*/ 2147483647 w 186"/>
                <a:gd name="T3" fmla="*/ 2147483647 h 173"/>
                <a:gd name="T4" fmla="*/ 2147483647 w 186"/>
                <a:gd name="T5" fmla="*/ 2147483647 h 173"/>
                <a:gd name="T6" fmla="*/ 0 w 186"/>
                <a:gd name="T7" fmla="*/ 2147483647 h 173"/>
                <a:gd name="T8" fmla="*/ 2147483647 w 186"/>
                <a:gd name="T9" fmla="*/ 2147483647 h 173"/>
                <a:gd name="T10" fmla="*/ 2147483647 w 186"/>
                <a:gd name="T11" fmla="*/ 2147483647 h 173"/>
                <a:gd name="T12" fmla="*/ 2147483647 w 186"/>
                <a:gd name="T13" fmla="*/ 2147483647 h 173"/>
                <a:gd name="T14" fmla="*/ 2147483647 w 186"/>
                <a:gd name="T15" fmla="*/ 2147483647 h 173"/>
                <a:gd name="T16" fmla="*/ 2147483647 w 186"/>
                <a:gd name="T17" fmla="*/ 2147483647 h 173"/>
                <a:gd name="T18" fmla="*/ 2147483647 w 186"/>
                <a:gd name="T19" fmla="*/ 2147483647 h 173"/>
                <a:gd name="T20" fmla="*/ 2147483647 w 186"/>
                <a:gd name="T21" fmla="*/ 2147483647 h 173"/>
                <a:gd name="T22" fmla="*/ 2147483647 w 186"/>
                <a:gd name="T23" fmla="*/ 2147483647 h 173"/>
                <a:gd name="T24" fmla="*/ 2147483647 w 186"/>
                <a:gd name="T25" fmla="*/ 0 h 173"/>
                <a:gd name="T26" fmla="*/ 2147483647 w 186"/>
                <a:gd name="T27" fmla="*/ 2147483647 h 173"/>
                <a:gd name="T28" fmla="*/ 2147483647 w 186"/>
                <a:gd name="T29" fmla="*/ 2147483647 h 173"/>
                <a:gd name="T30" fmla="*/ 2147483647 w 186"/>
                <a:gd name="T31" fmla="*/ 2147483647 h 173"/>
                <a:gd name="T32" fmla="*/ 2147483647 w 186"/>
                <a:gd name="T33" fmla="*/ 2147483647 h 173"/>
                <a:gd name="T34" fmla="*/ 2147483647 w 186"/>
                <a:gd name="T35" fmla="*/ 2147483647 h 173"/>
                <a:gd name="T36" fmla="*/ 2147483647 w 186"/>
                <a:gd name="T37" fmla="*/ 2147483647 h 173"/>
                <a:gd name="T38" fmla="*/ 2147483647 w 186"/>
                <a:gd name="T39" fmla="*/ 2147483647 h 173"/>
                <a:gd name="T40" fmla="*/ 2147483647 w 186"/>
                <a:gd name="T41" fmla="*/ 2147483647 h 173"/>
                <a:gd name="T42" fmla="*/ 2147483647 w 186"/>
                <a:gd name="T43" fmla="*/ 2147483647 h 173"/>
                <a:gd name="T44" fmla="*/ 2147483647 w 186"/>
                <a:gd name="T45" fmla="*/ 2147483647 h 173"/>
                <a:gd name="T46" fmla="*/ 2147483647 w 186"/>
                <a:gd name="T47" fmla="*/ 2147483647 h 173"/>
                <a:gd name="T48" fmla="*/ 2147483647 w 186"/>
                <a:gd name="T49" fmla="*/ 2147483647 h 173"/>
                <a:gd name="T50" fmla="*/ 2147483647 w 186"/>
                <a:gd name="T51" fmla="*/ 2147483647 h 173"/>
                <a:gd name="T52" fmla="*/ 2147483647 w 186"/>
                <a:gd name="T53" fmla="*/ 2147483647 h 173"/>
                <a:gd name="T54" fmla="*/ 2147483647 w 186"/>
                <a:gd name="T55" fmla="*/ 2147483647 h 173"/>
                <a:gd name="T56" fmla="*/ 2147483647 w 186"/>
                <a:gd name="T57" fmla="*/ 2147483647 h 173"/>
                <a:gd name="T58" fmla="*/ 2147483647 w 186"/>
                <a:gd name="T59" fmla="*/ 2147483647 h 173"/>
                <a:gd name="T60" fmla="*/ 2147483647 w 186"/>
                <a:gd name="T61" fmla="*/ 2147483647 h 173"/>
                <a:gd name="T62" fmla="*/ 2147483647 w 186"/>
                <a:gd name="T63" fmla="*/ 2147483647 h 173"/>
                <a:gd name="T64" fmla="*/ 2147483647 w 186"/>
                <a:gd name="T65" fmla="*/ 2147483647 h 173"/>
                <a:gd name="T66" fmla="*/ 2147483647 w 186"/>
                <a:gd name="T67" fmla="*/ 2147483647 h 173"/>
                <a:gd name="T68" fmla="*/ 2147483647 w 186"/>
                <a:gd name="T69" fmla="*/ 2147483647 h 173"/>
                <a:gd name="T70" fmla="*/ 2147483647 w 186"/>
                <a:gd name="T71" fmla="*/ 2147483647 h 173"/>
                <a:gd name="T72" fmla="*/ 2147483647 w 186"/>
                <a:gd name="T73" fmla="*/ 2147483647 h 173"/>
                <a:gd name="T74" fmla="*/ 2147483647 w 186"/>
                <a:gd name="T75" fmla="*/ 2147483647 h 173"/>
                <a:gd name="T76" fmla="*/ 2147483647 w 186"/>
                <a:gd name="T77" fmla="*/ 2147483647 h 173"/>
                <a:gd name="T78" fmla="*/ 2147483647 w 186"/>
                <a:gd name="T79" fmla="*/ 2147483647 h 173"/>
                <a:gd name="T80" fmla="*/ 2147483647 w 186"/>
                <a:gd name="T81" fmla="*/ 2147483647 h 173"/>
                <a:gd name="T82" fmla="*/ 2147483647 w 186"/>
                <a:gd name="T83" fmla="*/ 2147483647 h 173"/>
                <a:gd name="T84" fmla="*/ 2147483647 w 186"/>
                <a:gd name="T85" fmla="*/ 2147483647 h 17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86"/>
                <a:gd name="T130" fmla="*/ 0 h 173"/>
                <a:gd name="T131" fmla="*/ 186 w 186"/>
                <a:gd name="T132" fmla="*/ 173 h 17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86" h="173">
                  <a:moveTo>
                    <a:pt x="18" y="173"/>
                  </a:moveTo>
                  <a:lnTo>
                    <a:pt x="16" y="171"/>
                  </a:lnTo>
                  <a:lnTo>
                    <a:pt x="14" y="169"/>
                  </a:lnTo>
                  <a:lnTo>
                    <a:pt x="8" y="152"/>
                  </a:lnTo>
                  <a:lnTo>
                    <a:pt x="4" y="140"/>
                  </a:lnTo>
                  <a:lnTo>
                    <a:pt x="2" y="136"/>
                  </a:lnTo>
                  <a:lnTo>
                    <a:pt x="0" y="130"/>
                  </a:lnTo>
                  <a:lnTo>
                    <a:pt x="0" y="127"/>
                  </a:lnTo>
                  <a:lnTo>
                    <a:pt x="2" y="119"/>
                  </a:lnTo>
                  <a:lnTo>
                    <a:pt x="4" y="117"/>
                  </a:lnTo>
                  <a:lnTo>
                    <a:pt x="6" y="113"/>
                  </a:lnTo>
                  <a:lnTo>
                    <a:pt x="8" y="111"/>
                  </a:lnTo>
                  <a:lnTo>
                    <a:pt x="12" y="111"/>
                  </a:lnTo>
                  <a:lnTo>
                    <a:pt x="18" y="104"/>
                  </a:lnTo>
                  <a:lnTo>
                    <a:pt x="23" y="96"/>
                  </a:lnTo>
                  <a:lnTo>
                    <a:pt x="37" y="86"/>
                  </a:lnTo>
                  <a:lnTo>
                    <a:pt x="43" y="83"/>
                  </a:lnTo>
                  <a:lnTo>
                    <a:pt x="44" y="81"/>
                  </a:lnTo>
                  <a:lnTo>
                    <a:pt x="50" y="71"/>
                  </a:lnTo>
                  <a:lnTo>
                    <a:pt x="54" y="65"/>
                  </a:lnTo>
                  <a:lnTo>
                    <a:pt x="60" y="58"/>
                  </a:lnTo>
                  <a:lnTo>
                    <a:pt x="66" y="50"/>
                  </a:lnTo>
                  <a:lnTo>
                    <a:pt x="69" y="36"/>
                  </a:lnTo>
                  <a:lnTo>
                    <a:pt x="75" y="17"/>
                  </a:lnTo>
                  <a:lnTo>
                    <a:pt x="81" y="0"/>
                  </a:lnTo>
                  <a:lnTo>
                    <a:pt x="83" y="0"/>
                  </a:lnTo>
                  <a:lnTo>
                    <a:pt x="85" y="0"/>
                  </a:lnTo>
                  <a:lnTo>
                    <a:pt x="89" y="2"/>
                  </a:lnTo>
                  <a:lnTo>
                    <a:pt x="91" y="4"/>
                  </a:lnTo>
                  <a:lnTo>
                    <a:pt x="92" y="6"/>
                  </a:lnTo>
                  <a:lnTo>
                    <a:pt x="94" y="10"/>
                  </a:lnTo>
                  <a:lnTo>
                    <a:pt x="98" y="12"/>
                  </a:lnTo>
                  <a:lnTo>
                    <a:pt x="100" y="13"/>
                  </a:lnTo>
                  <a:lnTo>
                    <a:pt x="104" y="15"/>
                  </a:lnTo>
                  <a:lnTo>
                    <a:pt x="110" y="19"/>
                  </a:lnTo>
                  <a:lnTo>
                    <a:pt x="114" y="21"/>
                  </a:lnTo>
                  <a:lnTo>
                    <a:pt x="117" y="23"/>
                  </a:lnTo>
                  <a:lnTo>
                    <a:pt x="123" y="27"/>
                  </a:lnTo>
                  <a:lnTo>
                    <a:pt x="127" y="33"/>
                  </a:lnTo>
                  <a:lnTo>
                    <a:pt x="135" y="38"/>
                  </a:lnTo>
                  <a:lnTo>
                    <a:pt x="140" y="46"/>
                  </a:lnTo>
                  <a:lnTo>
                    <a:pt x="146" y="48"/>
                  </a:lnTo>
                  <a:lnTo>
                    <a:pt x="152" y="54"/>
                  </a:lnTo>
                  <a:lnTo>
                    <a:pt x="158" y="58"/>
                  </a:lnTo>
                  <a:lnTo>
                    <a:pt x="165" y="63"/>
                  </a:lnTo>
                  <a:lnTo>
                    <a:pt x="169" y="65"/>
                  </a:lnTo>
                  <a:lnTo>
                    <a:pt x="173" y="69"/>
                  </a:lnTo>
                  <a:lnTo>
                    <a:pt x="177" y="71"/>
                  </a:lnTo>
                  <a:lnTo>
                    <a:pt x="181" y="75"/>
                  </a:lnTo>
                  <a:lnTo>
                    <a:pt x="183" y="79"/>
                  </a:lnTo>
                  <a:lnTo>
                    <a:pt x="186" y="84"/>
                  </a:lnTo>
                  <a:lnTo>
                    <a:pt x="183" y="84"/>
                  </a:lnTo>
                  <a:lnTo>
                    <a:pt x="171" y="88"/>
                  </a:lnTo>
                  <a:lnTo>
                    <a:pt x="167" y="92"/>
                  </a:lnTo>
                  <a:lnTo>
                    <a:pt x="165" y="94"/>
                  </a:lnTo>
                  <a:lnTo>
                    <a:pt x="169" y="96"/>
                  </a:lnTo>
                  <a:lnTo>
                    <a:pt x="177" y="96"/>
                  </a:lnTo>
                  <a:lnTo>
                    <a:pt x="177" y="104"/>
                  </a:lnTo>
                  <a:lnTo>
                    <a:pt x="177" y="109"/>
                  </a:lnTo>
                  <a:lnTo>
                    <a:pt x="175" y="113"/>
                  </a:lnTo>
                  <a:lnTo>
                    <a:pt x="173" y="115"/>
                  </a:lnTo>
                  <a:lnTo>
                    <a:pt x="165" y="119"/>
                  </a:lnTo>
                  <a:lnTo>
                    <a:pt x="158" y="125"/>
                  </a:lnTo>
                  <a:lnTo>
                    <a:pt x="154" y="125"/>
                  </a:lnTo>
                  <a:lnTo>
                    <a:pt x="148" y="125"/>
                  </a:lnTo>
                  <a:lnTo>
                    <a:pt x="138" y="125"/>
                  </a:lnTo>
                  <a:lnTo>
                    <a:pt x="129" y="125"/>
                  </a:lnTo>
                  <a:lnTo>
                    <a:pt x="129" y="132"/>
                  </a:lnTo>
                  <a:lnTo>
                    <a:pt x="129" y="138"/>
                  </a:lnTo>
                  <a:lnTo>
                    <a:pt x="127" y="142"/>
                  </a:lnTo>
                  <a:lnTo>
                    <a:pt x="125" y="144"/>
                  </a:lnTo>
                  <a:lnTo>
                    <a:pt x="108" y="152"/>
                  </a:lnTo>
                  <a:lnTo>
                    <a:pt x="91" y="159"/>
                  </a:lnTo>
                  <a:lnTo>
                    <a:pt x="89" y="161"/>
                  </a:lnTo>
                  <a:lnTo>
                    <a:pt x="85" y="163"/>
                  </a:lnTo>
                  <a:lnTo>
                    <a:pt x="83" y="161"/>
                  </a:lnTo>
                  <a:lnTo>
                    <a:pt x="81" y="159"/>
                  </a:lnTo>
                  <a:lnTo>
                    <a:pt x="66" y="159"/>
                  </a:lnTo>
                  <a:lnTo>
                    <a:pt x="52" y="159"/>
                  </a:lnTo>
                  <a:lnTo>
                    <a:pt x="50" y="161"/>
                  </a:lnTo>
                  <a:lnTo>
                    <a:pt x="46" y="163"/>
                  </a:lnTo>
                  <a:lnTo>
                    <a:pt x="39" y="165"/>
                  </a:lnTo>
                  <a:lnTo>
                    <a:pt x="33" y="169"/>
                  </a:lnTo>
                  <a:lnTo>
                    <a:pt x="29" y="171"/>
                  </a:lnTo>
                  <a:lnTo>
                    <a:pt x="27" y="173"/>
                  </a:lnTo>
                  <a:lnTo>
                    <a:pt x="23" y="173"/>
                  </a:lnTo>
                  <a:lnTo>
                    <a:pt x="18" y="173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3" name="Freeform 343">
              <a:extLst>
                <a:ext uri="{FF2B5EF4-FFF2-40B4-BE49-F238E27FC236}">
                  <a16:creationId xmlns:a16="http://schemas.microsoft.com/office/drawing/2014/main" xmlns="" id="{A8EFE868-FAF8-1748-84CE-A9CB49190B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2850" y="3424053"/>
              <a:ext cx="544513" cy="338138"/>
            </a:xfrm>
            <a:custGeom>
              <a:avLst/>
              <a:gdLst>
                <a:gd name="T0" fmla="*/ 2147483647 w 349"/>
                <a:gd name="T1" fmla="*/ 2147483647 h 228"/>
                <a:gd name="T2" fmla="*/ 2147483647 w 349"/>
                <a:gd name="T3" fmla="*/ 2147483647 h 228"/>
                <a:gd name="T4" fmla="*/ 2147483647 w 349"/>
                <a:gd name="T5" fmla="*/ 2147483647 h 228"/>
                <a:gd name="T6" fmla="*/ 2147483647 w 349"/>
                <a:gd name="T7" fmla="*/ 2147483647 h 228"/>
                <a:gd name="T8" fmla="*/ 2147483647 w 349"/>
                <a:gd name="T9" fmla="*/ 2147483647 h 228"/>
                <a:gd name="T10" fmla="*/ 2147483647 w 349"/>
                <a:gd name="T11" fmla="*/ 2147483647 h 228"/>
                <a:gd name="T12" fmla="*/ 2147483647 w 349"/>
                <a:gd name="T13" fmla="*/ 2147483647 h 228"/>
                <a:gd name="T14" fmla="*/ 2147483647 w 349"/>
                <a:gd name="T15" fmla="*/ 2147483647 h 228"/>
                <a:gd name="T16" fmla="*/ 2147483647 w 349"/>
                <a:gd name="T17" fmla="*/ 2147483647 h 228"/>
                <a:gd name="T18" fmla="*/ 2147483647 w 349"/>
                <a:gd name="T19" fmla="*/ 2147483647 h 228"/>
                <a:gd name="T20" fmla="*/ 2147483647 w 349"/>
                <a:gd name="T21" fmla="*/ 2147483647 h 228"/>
                <a:gd name="T22" fmla="*/ 2147483647 w 349"/>
                <a:gd name="T23" fmla="*/ 2147483647 h 228"/>
                <a:gd name="T24" fmla="*/ 2147483647 w 349"/>
                <a:gd name="T25" fmla="*/ 2147483647 h 228"/>
                <a:gd name="T26" fmla="*/ 2147483647 w 349"/>
                <a:gd name="T27" fmla="*/ 2147483647 h 228"/>
                <a:gd name="T28" fmla="*/ 2147483647 w 349"/>
                <a:gd name="T29" fmla="*/ 2147483647 h 228"/>
                <a:gd name="T30" fmla="*/ 2147483647 w 349"/>
                <a:gd name="T31" fmla="*/ 2147483647 h 228"/>
                <a:gd name="T32" fmla="*/ 2147483647 w 349"/>
                <a:gd name="T33" fmla="*/ 2147483647 h 228"/>
                <a:gd name="T34" fmla="*/ 2147483647 w 349"/>
                <a:gd name="T35" fmla="*/ 2147483647 h 228"/>
                <a:gd name="T36" fmla="*/ 2147483647 w 349"/>
                <a:gd name="T37" fmla="*/ 2147483647 h 228"/>
                <a:gd name="T38" fmla="*/ 2147483647 w 349"/>
                <a:gd name="T39" fmla="*/ 2147483647 h 228"/>
                <a:gd name="T40" fmla="*/ 2147483647 w 349"/>
                <a:gd name="T41" fmla="*/ 2147483647 h 228"/>
                <a:gd name="T42" fmla="*/ 2147483647 w 349"/>
                <a:gd name="T43" fmla="*/ 2147483647 h 228"/>
                <a:gd name="T44" fmla="*/ 2147483647 w 349"/>
                <a:gd name="T45" fmla="*/ 2147483647 h 228"/>
                <a:gd name="T46" fmla="*/ 2147483647 w 349"/>
                <a:gd name="T47" fmla="*/ 2147483647 h 228"/>
                <a:gd name="T48" fmla="*/ 2147483647 w 349"/>
                <a:gd name="T49" fmla="*/ 2147483647 h 228"/>
                <a:gd name="T50" fmla="*/ 2147483647 w 349"/>
                <a:gd name="T51" fmla="*/ 2147483647 h 228"/>
                <a:gd name="T52" fmla="*/ 2147483647 w 349"/>
                <a:gd name="T53" fmla="*/ 2147483647 h 228"/>
                <a:gd name="T54" fmla="*/ 2147483647 w 349"/>
                <a:gd name="T55" fmla="*/ 2147483647 h 228"/>
                <a:gd name="T56" fmla="*/ 2147483647 w 349"/>
                <a:gd name="T57" fmla="*/ 2147483647 h 228"/>
                <a:gd name="T58" fmla="*/ 2147483647 w 349"/>
                <a:gd name="T59" fmla="*/ 2147483647 h 228"/>
                <a:gd name="T60" fmla="*/ 2147483647 w 349"/>
                <a:gd name="T61" fmla="*/ 2147483647 h 228"/>
                <a:gd name="T62" fmla="*/ 2147483647 w 349"/>
                <a:gd name="T63" fmla="*/ 2147483647 h 228"/>
                <a:gd name="T64" fmla="*/ 2147483647 w 349"/>
                <a:gd name="T65" fmla="*/ 2147483647 h 228"/>
                <a:gd name="T66" fmla="*/ 2147483647 w 349"/>
                <a:gd name="T67" fmla="*/ 2147483647 h 228"/>
                <a:gd name="T68" fmla="*/ 2147483647 w 349"/>
                <a:gd name="T69" fmla="*/ 2147483647 h 228"/>
                <a:gd name="T70" fmla="*/ 2147483647 w 349"/>
                <a:gd name="T71" fmla="*/ 2147483647 h 228"/>
                <a:gd name="T72" fmla="*/ 2147483647 w 349"/>
                <a:gd name="T73" fmla="*/ 2147483647 h 228"/>
                <a:gd name="T74" fmla="*/ 2147483647 w 349"/>
                <a:gd name="T75" fmla="*/ 2147483647 h 228"/>
                <a:gd name="T76" fmla="*/ 2147483647 w 349"/>
                <a:gd name="T77" fmla="*/ 2147483647 h 228"/>
                <a:gd name="T78" fmla="*/ 2147483647 w 349"/>
                <a:gd name="T79" fmla="*/ 2147483647 h 228"/>
                <a:gd name="T80" fmla="*/ 2147483647 w 349"/>
                <a:gd name="T81" fmla="*/ 2147483647 h 228"/>
                <a:gd name="T82" fmla="*/ 2147483647 w 349"/>
                <a:gd name="T83" fmla="*/ 2147483647 h 228"/>
                <a:gd name="T84" fmla="*/ 2147483647 w 349"/>
                <a:gd name="T85" fmla="*/ 2147483647 h 228"/>
                <a:gd name="T86" fmla="*/ 2147483647 w 349"/>
                <a:gd name="T87" fmla="*/ 2147483647 h 228"/>
                <a:gd name="T88" fmla="*/ 2147483647 w 349"/>
                <a:gd name="T89" fmla="*/ 2147483647 h 228"/>
                <a:gd name="T90" fmla="*/ 2147483647 w 349"/>
                <a:gd name="T91" fmla="*/ 2147483647 h 228"/>
                <a:gd name="T92" fmla="*/ 2147483647 w 349"/>
                <a:gd name="T93" fmla="*/ 2147483647 h 228"/>
                <a:gd name="T94" fmla="*/ 2147483647 w 349"/>
                <a:gd name="T95" fmla="*/ 2147483647 h 228"/>
                <a:gd name="T96" fmla="*/ 2147483647 w 349"/>
                <a:gd name="T97" fmla="*/ 2147483647 h 228"/>
                <a:gd name="T98" fmla="*/ 2147483647 w 349"/>
                <a:gd name="T99" fmla="*/ 2147483647 h 228"/>
                <a:gd name="T100" fmla="*/ 2147483647 w 349"/>
                <a:gd name="T101" fmla="*/ 2147483647 h 228"/>
                <a:gd name="T102" fmla="*/ 2147483647 w 349"/>
                <a:gd name="T103" fmla="*/ 2147483647 h 228"/>
                <a:gd name="T104" fmla="*/ 2147483647 w 349"/>
                <a:gd name="T105" fmla="*/ 2147483647 h 228"/>
                <a:gd name="T106" fmla="*/ 2147483647 w 349"/>
                <a:gd name="T107" fmla="*/ 2147483647 h 228"/>
                <a:gd name="T108" fmla="*/ 2147483647 w 349"/>
                <a:gd name="T109" fmla="*/ 2147483647 h 228"/>
                <a:gd name="T110" fmla="*/ 2147483647 w 349"/>
                <a:gd name="T111" fmla="*/ 2147483647 h 228"/>
                <a:gd name="T112" fmla="*/ 2147483647 w 349"/>
                <a:gd name="T113" fmla="*/ 2147483647 h 2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49"/>
                <a:gd name="T172" fmla="*/ 0 h 228"/>
                <a:gd name="T173" fmla="*/ 349 w 349"/>
                <a:gd name="T174" fmla="*/ 228 h 2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49" h="228">
                  <a:moveTo>
                    <a:pt x="219" y="213"/>
                  </a:moveTo>
                  <a:lnTo>
                    <a:pt x="217" y="211"/>
                  </a:lnTo>
                  <a:lnTo>
                    <a:pt x="213" y="209"/>
                  </a:lnTo>
                  <a:lnTo>
                    <a:pt x="202" y="205"/>
                  </a:lnTo>
                  <a:lnTo>
                    <a:pt x="190" y="203"/>
                  </a:lnTo>
                  <a:lnTo>
                    <a:pt x="186" y="201"/>
                  </a:lnTo>
                  <a:lnTo>
                    <a:pt x="184" y="198"/>
                  </a:lnTo>
                  <a:lnTo>
                    <a:pt x="182" y="196"/>
                  </a:lnTo>
                  <a:lnTo>
                    <a:pt x="180" y="194"/>
                  </a:lnTo>
                  <a:lnTo>
                    <a:pt x="177" y="190"/>
                  </a:lnTo>
                  <a:lnTo>
                    <a:pt x="175" y="188"/>
                  </a:lnTo>
                  <a:lnTo>
                    <a:pt x="171" y="182"/>
                  </a:lnTo>
                  <a:lnTo>
                    <a:pt x="167" y="176"/>
                  </a:lnTo>
                  <a:lnTo>
                    <a:pt x="150" y="180"/>
                  </a:lnTo>
                  <a:lnTo>
                    <a:pt x="131" y="184"/>
                  </a:lnTo>
                  <a:lnTo>
                    <a:pt x="129" y="182"/>
                  </a:lnTo>
                  <a:lnTo>
                    <a:pt x="127" y="178"/>
                  </a:lnTo>
                  <a:lnTo>
                    <a:pt x="125" y="176"/>
                  </a:lnTo>
                  <a:lnTo>
                    <a:pt x="123" y="175"/>
                  </a:lnTo>
                  <a:lnTo>
                    <a:pt x="119" y="173"/>
                  </a:lnTo>
                  <a:lnTo>
                    <a:pt x="117" y="169"/>
                  </a:lnTo>
                  <a:lnTo>
                    <a:pt x="115" y="161"/>
                  </a:lnTo>
                  <a:lnTo>
                    <a:pt x="111" y="155"/>
                  </a:lnTo>
                  <a:lnTo>
                    <a:pt x="109" y="152"/>
                  </a:lnTo>
                  <a:lnTo>
                    <a:pt x="108" y="150"/>
                  </a:lnTo>
                  <a:lnTo>
                    <a:pt x="92" y="146"/>
                  </a:lnTo>
                  <a:lnTo>
                    <a:pt x="75" y="142"/>
                  </a:lnTo>
                  <a:lnTo>
                    <a:pt x="60" y="140"/>
                  </a:lnTo>
                  <a:lnTo>
                    <a:pt x="44" y="136"/>
                  </a:lnTo>
                  <a:lnTo>
                    <a:pt x="42" y="132"/>
                  </a:lnTo>
                  <a:lnTo>
                    <a:pt x="40" y="130"/>
                  </a:lnTo>
                  <a:lnTo>
                    <a:pt x="37" y="123"/>
                  </a:lnTo>
                  <a:lnTo>
                    <a:pt x="35" y="117"/>
                  </a:lnTo>
                  <a:lnTo>
                    <a:pt x="33" y="113"/>
                  </a:lnTo>
                  <a:lnTo>
                    <a:pt x="31" y="111"/>
                  </a:lnTo>
                  <a:lnTo>
                    <a:pt x="27" y="109"/>
                  </a:lnTo>
                  <a:lnTo>
                    <a:pt x="25" y="105"/>
                  </a:lnTo>
                  <a:lnTo>
                    <a:pt x="23" y="104"/>
                  </a:lnTo>
                  <a:lnTo>
                    <a:pt x="19" y="102"/>
                  </a:lnTo>
                  <a:lnTo>
                    <a:pt x="17" y="100"/>
                  </a:lnTo>
                  <a:lnTo>
                    <a:pt x="15" y="96"/>
                  </a:lnTo>
                  <a:lnTo>
                    <a:pt x="14" y="94"/>
                  </a:lnTo>
                  <a:lnTo>
                    <a:pt x="12" y="92"/>
                  </a:lnTo>
                  <a:lnTo>
                    <a:pt x="8" y="84"/>
                  </a:lnTo>
                  <a:lnTo>
                    <a:pt x="6" y="77"/>
                  </a:lnTo>
                  <a:lnTo>
                    <a:pt x="4" y="75"/>
                  </a:lnTo>
                  <a:lnTo>
                    <a:pt x="0" y="73"/>
                  </a:lnTo>
                  <a:lnTo>
                    <a:pt x="4" y="69"/>
                  </a:lnTo>
                  <a:lnTo>
                    <a:pt x="6" y="67"/>
                  </a:lnTo>
                  <a:lnTo>
                    <a:pt x="14" y="65"/>
                  </a:lnTo>
                  <a:lnTo>
                    <a:pt x="19" y="63"/>
                  </a:lnTo>
                  <a:lnTo>
                    <a:pt x="23" y="61"/>
                  </a:lnTo>
                  <a:lnTo>
                    <a:pt x="25" y="58"/>
                  </a:lnTo>
                  <a:lnTo>
                    <a:pt x="27" y="56"/>
                  </a:lnTo>
                  <a:lnTo>
                    <a:pt x="31" y="54"/>
                  </a:lnTo>
                  <a:lnTo>
                    <a:pt x="33" y="50"/>
                  </a:lnTo>
                  <a:lnTo>
                    <a:pt x="35" y="48"/>
                  </a:lnTo>
                  <a:lnTo>
                    <a:pt x="37" y="27"/>
                  </a:lnTo>
                  <a:lnTo>
                    <a:pt x="40" y="6"/>
                  </a:lnTo>
                  <a:lnTo>
                    <a:pt x="42" y="2"/>
                  </a:lnTo>
                  <a:lnTo>
                    <a:pt x="44" y="0"/>
                  </a:lnTo>
                  <a:lnTo>
                    <a:pt x="46" y="2"/>
                  </a:lnTo>
                  <a:lnTo>
                    <a:pt x="50" y="6"/>
                  </a:lnTo>
                  <a:lnTo>
                    <a:pt x="56" y="8"/>
                  </a:lnTo>
                  <a:lnTo>
                    <a:pt x="63" y="10"/>
                  </a:lnTo>
                  <a:lnTo>
                    <a:pt x="65" y="11"/>
                  </a:lnTo>
                  <a:lnTo>
                    <a:pt x="69" y="15"/>
                  </a:lnTo>
                  <a:lnTo>
                    <a:pt x="75" y="17"/>
                  </a:lnTo>
                  <a:lnTo>
                    <a:pt x="83" y="19"/>
                  </a:lnTo>
                  <a:lnTo>
                    <a:pt x="86" y="21"/>
                  </a:lnTo>
                  <a:lnTo>
                    <a:pt x="88" y="25"/>
                  </a:lnTo>
                  <a:lnTo>
                    <a:pt x="106" y="27"/>
                  </a:lnTo>
                  <a:lnTo>
                    <a:pt x="123" y="29"/>
                  </a:lnTo>
                  <a:lnTo>
                    <a:pt x="125" y="31"/>
                  </a:lnTo>
                  <a:lnTo>
                    <a:pt x="127" y="35"/>
                  </a:lnTo>
                  <a:lnTo>
                    <a:pt x="134" y="36"/>
                  </a:lnTo>
                  <a:lnTo>
                    <a:pt x="140" y="38"/>
                  </a:lnTo>
                  <a:lnTo>
                    <a:pt x="144" y="40"/>
                  </a:lnTo>
                  <a:lnTo>
                    <a:pt x="146" y="44"/>
                  </a:lnTo>
                  <a:lnTo>
                    <a:pt x="156" y="44"/>
                  </a:lnTo>
                  <a:lnTo>
                    <a:pt x="165" y="44"/>
                  </a:lnTo>
                  <a:lnTo>
                    <a:pt x="167" y="40"/>
                  </a:lnTo>
                  <a:lnTo>
                    <a:pt x="171" y="38"/>
                  </a:lnTo>
                  <a:lnTo>
                    <a:pt x="177" y="36"/>
                  </a:lnTo>
                  <a:lnTo>
                    <a:pt x="184" y="35"/>
                  </a:lnTo>
                  <a:lnTo>
                    <a:pt x="186" y="31"/>
                  </a:lnTo>
                  <a:lnTo>
                    <a:pt x="190" y="29"/>
                  </a:lnTo>
                  <a:lnTo>
                    <a:pt x="204" y="29"/>
                  </a:lnTo>
                  <a:lnTo>
                    <a:pt x="219" y="29"/>
                  </a:lnTo>
                  <a:lnTo>
                    <a:pt x="221" y="31"/>
                  </a:lnTo>
                  <a:lnTo>
                    <a:pt x="223" y="35"/>
                  </a:lnTo>
                  <a:lnTo>
                    <a:pt x="225" y="36"/>
                  </a:lnTo>
                  <a:lnTo>
                    <a:pt x="228" y="38"/>
                  </a:lnTo>
                  <a:lnTo>
                    <a:pt x="230" y="40"/>
                  </a:lnTo>
                  <a:lnTo>
                    <a:pt x="232" y="44"/>
                  </a:lnTo>
                  <a:lnTo>
                    <a:pt x="232" y="50"/>
                  </a:lnTo>
                  <a:lnTo>
                    <a:pt x="232" y="58"/>
                  </a:lnTo>
                  <a:lnTo>
                    <a:pt x="246" y="58"/>
                  </a:lnTo>
                  <a:lnTo>
                    <a:pt x="257" y="58"/>
                  </a:lnTo>
                  <a:lnTo>
                    <a:pt x="259" y="61"/>
                  </a:lnTo>
                  <a:lnTo>
                    <a:pt x="261" y="63"/>
                  </a:lnTo>
                  <a:lnTo>
                    <a:pt x="267" y="63"/>
                  </a:lnTo>
                  <a:lnTo>
                    <a:pt x="273" y="63"/>
                  </a:lnTo>
                  <a:lnTo>
                    <a:pt x="274" y="61"/>
                  </a:lnTo>
                  <a:lnTo>
                    <a:pt x="276" y="58"/>
                  </a:lnTo>
                  <a:lnTo>
                    <a:pt x="278" y="61"/>
                  </a:lnTo>
                  <a:lnTo>
                    <a:pt x="282" y="63"/>
                  </a:lnTo>
                  <a:lnTo>
                    <a:pt x="288" y="65"/>
                  </a:lnTo>
                  <a:lnTo>
                    <a:pt x="296" y="67"/>
                  </a:lnTo>
                  <a:lnTo>
                    <a:pt x="298" y="69"/>
                  </a:lnTo>
                  <a:lnTo>
                    <a:pt x="301" y="73"/>
                  </a:lnTo>
                  <a:lnTo>
                    <a:pt x="307" y="75"/>
                  </a:lnTo>
                  <a:lnTo>
                    <a:pt x="315" y="77"/>
                  </a:lnTo>
                  <a:lnTo>
                    <a:pt x="317" y="81"/>
                  </a:lnTo>
                  <a:lnTo>
                    <a:pt x="321" y="82"/>
                  </a:lnTo>
                  <a:lnTo>
                    <a:pt x="322" y="84"/>
                  </a:lnTo>
                  <a:lnTo>
                    <a:pt x="330" y="86"/>
                  </a:lnTo>
                  <a:lnTo>
                    <a:pt x="336" y="84"/>
                  </a:lnTo>
                  <a:lnTo>
                    <a:pt x="340" y="82"/>
                  </a:lnTo>
                  <a:lnTo>
                    <a:pt x="342" y="81"/>
                  </a:lnTo>
                  <a:lnTo>
                    <a:pt x="344" y="77"/>
                  </a:lnTo>
                  <a:lnTo>
                    <a:pt x="345" y="81"/>
                  </a:lnTo>
                  <a:lnTo>
                    <a:pt x="349" y="82"/>
                  </a:lnTo>
                  <a:lnTo>
                    <a:pt x="349" y="88"/>
                  </a:lnTo>
                  <a:lnTo>
                    <a:pt x="349" y="96"/>
                  </a:lnTo>
                  <a:lnTo>
                    <a:pt x="349" y="100"/>
                  </a:lnTo>
                  <a:lnTo>
                    <a:pt x="349" y="104"/>
                  </a:lnTo>
                  <a:lnTo>
                    <a:pt x="347" y="105"/>
                  </a:lnTo>
                  <a:lnTo>
                    <a:pt x="347" y="111"/>
                  </a:lnTo>
                  <a:lnTo>
                    <a:pt x="347" y="115"/>
                  </a:lnTo>
                  <a:lnTo>
                    <a:pt x="347" y="121"/>
                  </a:lnTo>
                  <a:lnTo>
                    <a:pt x="347" y="125"/>
                  </a:lnTo>
                  <a:lnTo>
                    <a:pt x="345" y="130"/>
                  </a:lnTo>
                  <a:lnTo>
                    <a:pt x="344" y="136"/>
                  </a:lnTo>
                  <a:lnTo>
                    <a:pt x="342" y="144"/>
                  </a:lnTo>
                  <a:lnTo>
                    <a:pt x="342" y="150"/>
                  </a:lnTo>
                  <a:lnTo>
                    <a:pt x="340" y="157"/>
                  </a:lnTo>
                  <a:lnTo>
                    <a:pt x="336" y="163"/>
                  </a:lnTo>
                  <a:lnTo>
                    <a:pt x="332" y="169"/>
                  </a:lnTo>
                  <a:lnTo>
                    <a:pt x="328" y="171"/>
                  </a:lnTo>
                  <a:lnTo>
                    <a:pt x="326" y="175"/>
                  </a:lnTo>
                  <a:lnTo>
                    <a:pt x="324" y="178"/>
                  </a:lnTo>
                  <a:lnTo>
                    <a:pt x="322" y="182"/>
                  </a:lnTo>
                  <a:lnTo>
                    <a:pt x="322" y="184"/>
                  </a:lnTo>
                  <a:lnTo>
                    <a:pt x="321" y="188"/>
                  </a:lnTo>
                  <a:lnTo>
                    <a:pt x="317" y="190"/>
                  </a:lnTo>
                  <a:lnTo>
                    <a:pt x="313" y="192"/>
                  </a:lnTo>
                  <a:lnTo>
                    <a:pt x="309" y="194"/>
                  </a:lnTo>
                  <a:lnTo>
                    <a:pt x="307" y="198"/>
                  </a:lnTo>
                  <a:lnTo>
                    <a:pt x="301" y="203"/>
                  </a:lnTo>
                  <a:lnTo>
                    <a:pt x="298" y="207"/>
                  </a:lnTo>
                  <a:lnTo>
                    <a:pt x="292" y="211"/>
                  </a:lnTo>
                  <a:lnTo>
                    <a:pt x="286" y="217"/>
                  </a:lnTo>
                  <a:lnTo>
                    <a:pt x="282" y="221"/>
                  </a:lnTo>
                  <a:lnTo>
                    <a:pt x="278" y="226"/>
                  </a:lnTo>
                  <a:lnTo>
                    <a:pt x="276" y="228"/>
                  </a:lnTo>
                  <a:lnTo>
                    <a:pt x="274" y="228"/>
                  </a:lnTo>
                  <a:lnTo>
                    <a:pt x="273" y="228"/>
                  </a:lnTo>
                  <a:lnTo>
                    <a:pt x="271" y="224"/>
                  </a:lnTo>
                  <a:lnTo>
                    <a:pt x="265" y="223"/>
                  </a:lnTo>
                  <a:lnTo>
                    <a:pt x="259" y="223"/>
                  </a:lnTo>
                  <a:lnTo>
                    <a:pt x="253" y="215"/>
                  </a:lnTo>
                  <a:lnTo>
                    <a:pt x="253" y="219"/>
                  </a:lnTo>
                  <a:lnTo>
                    <a:pt x="250" y="217"/>
                  </a:lnTo>
                  <a:lnTo>
                    <a:pt x="244" y="213"/>
                  </a:lnTo>
                  <a:lnTo>
                    <a:pt x="234" y="213"/>
                  </a:lnTo>
                  <a:lnTo>
                    <a:pt x="223" y="213"/>
                  </a:lnTo>
                  <a:lnTo>
                    <a:pt x="221" y="213"/>
                  </a:lnTo>
                  <a:lnTo>
                    <a:pt x="219" y="213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4" name="Freeform 344">
              <a:extLst>
                <a:ext uri="{FF2B5EF4-FFF2-40B4-BE49-F238E27FC236}">
                  <a16:creationId xmlns:a16="http://schemas.microsoft.com/office/drawing/2014/main" xmlns="" id="{A060F0D5-C81E-4741-8F05-450FD2F9C0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6338" y="3230378"/>
              <a:ext cx="1352550" cy="800100"/>
            </a:xfrm>
            <a:custGeom>
              <a:avLst/>
              <a:gdLst>
                <a:gd name="T0" fmla="*/ 2147483647 w 870"/>
                <a:gd name="T1" fmla="*/ 2147483647 h 534"/>
                <a:gd name="T2" fmla="*/ 2147483647 w 870"/>
                <a:gd name="T3" fmla="*/ 2147483647 h 534"/>
                <a:gd name="T4" fmla="*/ 2147483647 w 870"/>
                <a:gd name="T5" fmla="*/ 2147483647 h 534"/>
                <a:gd name="T6" fmla="*/ 2147483647 w 870"/>
                <a:gd name="T7" fmla="*/ 2147483647 h 534"/>
                <a:gd name="T8" fmla="*/ 2147483647 w 870"/>
                <a:gd name="T9" fmla="*/ 2147483647 h 534"/>
                <a:gd name="T10" fmla="*/ 2147483647 w 870"/>
                <a:gd name="T11" fmla="*/ 2147483647 h 534"/>
                <a:gd name="T12" fmla="*/ 2147483647 w 870"/>
                <a:gd name="T13" fmla="*/ 2147483647 h 534"/>
                <a:gd name="T14" fmla="*/ 2147483647 w 870"/>
                <a:gd name="T15" fmla="*/ 2147483647 h 534"/>
                <a:gd name="T16" fmla="*/ 2147483647 w 870"/>
                <a:gd name="T17" fmla="*/ 2147483647 h 534"/>
                <a:gd name="T18" fmla="*/ 2147483647 w 870"/>
                <a:gd name="T19" fmla="*/ 2147483647 h 534"/>
                <a:gd name="T20" fmla="*/ 2147483647 w 870"/>
                <a:gd name="T21" fmla="*/ 2147483647 h 534"/>
                <a:gd name="T22" fmla="*/ 2147483647 w 870"/>
                <a:gd name="T23" fmla="*/ 2147483647 h 534"/>
                <a:gd name="T24" fmla="*/ 2147483647 w 870"/>
                <a:gd name="T25" fmla="*/ 2147483647 h 534"/>
                <a:gd name="T26" fmla="*/ 2147483647 w 870"/>
                <a:gd name="T27" fmla="*/ 2147483647 h 534"/>
                <a:gd name="T28" fmla="*/ 2147483647 w 870"/>
                <a:gd name="T29" fmla="*/ 2147483647 h 534"/>
                <a:gd name="T30" fmla="*/ 2147483647 w 870"/>
                <a:gd name="T31" fmla="*/ 2147483647 h 534"/>
                <a:gd name="T32" fmla="*/ 2147483647 w 870"/>
                <a:gd name="T33" fmla="*/ 2147483647 h 534"/>
                <a:gd name="T34" fmla="*/ 2147483647 w 870"/>
                <a:gd name="T35" fmla="*/ 2147483647 h 534"/>
                <a:gd name="T36" fmla="*/ 2147483647 w 870"/>
                <a:gd name="T37" fmla="*/ 2147483647 h 534"/>
                <a:gd name="T38" fmla="*/ 2147483647 w 870"/>
                <a:gd name="T39" fmla="*/ 2147483647 h 534"/>
                <a:gd name="T40" fmla="*/ 2147483647 w 870"/>
                <a:gd name="T41" fmla="*/ 2147483647 h 534"/>
                <a:gd name="T42" fmla="*/ 2147483647 w 870"/>
                <a:gd name="T43" fmla="*/ 2147483647 h 534"/>
                <a:gd name="T44" fmla="*/ 2147483647 w 870"/>
                <a:gd name="T45" fmla="*/ 2147483647 h 534"/>
                <a:gd name="T46" fmla="*/ 2147483647 w 870"/>
                <a:gd name="T47" fmla="*/ 2147483647 h 534"/>
                <a:gd name="T48" fmla="*/ 2147483647 w 870"/>
                <a:gd name="T49" fmla="*/ 2147483647 h 534"/>
                <a:gd name="T50" fmla="*/ 2147483647 w 870"/>
                <a:gd name="T51" fmla="*/ 2147483647 h 534"/>
                <a:gd name="T52" fmla="*/ 2147483647 w 870"/>
                <a:gd name="T53" fmla="*/ 2147483647 h 534"/>
                <a:gd name="T54" fmla="*/ 2147483647 w 870"/>
                <a:gd name="T55" fmla="*/ 2147483647 h 534"/>
                <a:gd name="T56" fmla="*/ 2147483647 w 870"/>
                <a:gd name="T57" fmla="*/ 2147483647 h 534"/>
                <a:gd name="T58" fmla="*/ 2147483647 w 870"/>
                <a:gd name="T59" fmla="*/ 2147483647 h 534"/>
                <a:gd name="T60" fmla="*/ 2147483647 w 870"/>
                <a:gd name="T61" fmla="*/ 2147483647 h 534"/>
                <a:gd name="T62" fmla="*/ 2147483647 w 870"/>
                <a:gd name="T63" fmla="*/ 2147483647 h 534"/>
                <a:gd name="T64" fmla="*/ 2147483647 w 870"/>
                <a:gd name="T65" fmla="*/ 2147483647 h 534"/>
                <a:gd name="T66" fmla="*/ 2147483647 w 870"/>
                <a:gd name="T67" fmla="*/ 2147483647 h 534"/>
                <a:gd name="T68" fmla="*/ 2147483647 w 870"/>
                <a:gd name="T69" fmla="*/ 2147483647 h 534"/>
                <a:gd name="T70" fmla="*/ 2147483647 w 870"/>
                <a:gd name="T71" fmla="*/ 2147483647 h 534"/>
                <a:gd name="T72" fmla="*/ 2147483647 w 870"/>
                <a:gd name="T73" fmla="*/ 2147483647 h 534"/>
                <a:gd name="T74" fmla="*/ 2147483647 w 870"/>
                <a:gd name="T75" fmla="*/ 2147483647 h 534"/>
                <a:gd name="T76" fmla="*/ 2147483647 w 870"/>
                <a:gd name="T77" fmla="*/ 2147483647 h 534"/>
                <a:gd name="T78" fmla="*/ 2147483647 w 870"/>
                <a:gd name="T79" fmla="*/ 2147483647 h 534"/>
                <a:gd name="T80" fmla="*/ 2147483647 w 870"/>
                <a:gd name="T81" fmla="*/ 2147483647 h 534"/>
                <a:gd name="T82" fmla="*/ 2147483647 w 870"/>
                <a:gd name="T83" fmla="*/ 2147483647 h 534"/>
                <a:gd name="T84" fmla="*/ 2147483647 w 870"/>
                <a:gd name="T85" fmla="*/ 2147483647 h 534"/>
                <a:gd name="T86" fmla="*/ 2147483647 w 870"/>
                <a:gd name="T87" fmla="*/ 2147483647 h 534"/>
                <a:gd name="T88" fmla="*/ 2147483647 w 870"/>
                <a:gd name="T89" fmla="*/ 2147483647 h 534"/>
                <a:gd name="T90" fmla="*/ 2147483647 w 870"/>
                <a:gd name="T91" fmla="*/ 2147483647 h 534"/>
                <a:gd name="T92" fmla="*/ 2147483647 w 870"/>
                <a:gd name="T93" fmla="*/ 2147483647 h 534"/>
                <a:gd name="T94" fmla="*/ 2147483647 w 870"/>
                <a:gd name="T95" fmla="*/ 2147483647 h 534"/>
                <a:gd name="T96" fmla="*/ 2147483647 w 870"/>
                <a:gd name="T97" fmla="*/ 2147483647 h 534"/>
                <a:gd name="T98" fmla="*/ 2147483647 w 870"/>
                <a:gd name="T99" fmla="*/ 2147483647 h 534"/>
                <a:gd name="T100" fmla="*/ 2147483647 w 870"/>
                <a:gd name="T101" fmla="*/ 2147483647 h 534"/>
                <a:gd name="T102" fmla="*/ 2147483647 w 870"/>
                <a:gd name="T103" fmla="*/ 2147483647 h 534"/>
                <a:gd name="T104" fmla="*/ 2147483647 w 870"/>
                <a:gd name="T105" fmla="*/ 2147483647 h 534"/>
                <a:gd name="T106" fmla="*/ 2147483647 w 870"/>
                <a:gd name="T107" fmla="*/ 2147483647 h 534"/>
                <a:gd name="T108" fmla="*/ 2147483647 w 870"/>
                <a:gd name="T109" fmla="*/ 2147483647 h 534"/>
                <a:gd name="T110" fmla="*/ 2147483647 w 870"/>
                <a:gd name="T111" fmla="*/ 2147483647 h 534"/>
                <a:gd name="T112" fmla="*/ 2147483647 w 870"/>
                <a:gd name="T113" fmla="*/ 2147483647 h 534"/>
                <a:gd name="T114" fmla="*/ 2147483647 w 870"/>
                <a:gd name="T115" fmla="*/ 2147483647 h 534"/>
                <a:gd name="T116" fmla="*/ 2147483647 w 870"/>
                <a:gd name="T117" fmla="*/ 2147483647 h 534"/>
                <a:gd name="T118" fmla="*/ 2147483647 w 870"/>
                <a:gd name="T119" fmla="*/ 2147483647 h 53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0"/>
                <a:gd name="T181" fmla="*/ 0 h 534"/>
                <a:gd name="T182" fmla="*/ 870 w 870"/>
                <a:gd name="T183" fmla="*/ 534 h 53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0" h="534">
                  <a:moveTo>
                    <a:pt x="401" y="534"/>
                  </a:moveTo>
                  <a:lnTo>
                    <a:pt x="398" y="530"/>
                  </a:lnTo>
                  <a:lnTo>
                    <a:pt x="396" y="528"/>
                  </a:lnTo>
                  <a:lnTo>
                    <a:pt x="394" y="526"/>
                  </a:lnTo>
                  <a:lnTo>
                    <a:pt x="392" y="524"/>
                  </a:lnTo>
                  <a:lnTo>
                    <a:pt x="390" y="520"/>
                  </a:lnTo>
                  <a:lnTo>
                    <a:pt x="386" y="518"/>
                  </a:lnTo>
                  <a:lnTo>
                    <a:pt x="369" y="516"/>
                  </a:lnTo>
                  <a:lnTo>
                    <a:pt x="353" y="515"/>
                  </a:lnTo>
                  <a:lnTo>
                    <a:pt x="352" y="511"/>
                  </a:lnTo>
                  <a:lnTo>
                    <a:pt x="348" y="509"/>
                  </a:lnTo>
                  <a:lnTo>
                    <a:pt x="344" y="509"/>
                  </a:lnTo>
                  <a:lnTo>
                    <a:pt x="338" y="509"/>
                  </a:lnTo>
                  <a:lnTo>
                    <a:pt x="336" y="511"/>
                  </a:lnTo>
                  <a:lnTo>
                    <a:pt x="334" y="515"/>
                  </a:lnTo>
                  <a:lnTo>
                    <a:pt x="315" y="515"/>
                  </a:lnTo>
                  <a:lnTo>
                    <a:pt x="294" y="515"/>
                  </a:lnTo>
                  <a:lnTo>
                    <a:pt x="275" y="515"/>
                  </a:lnTo>
                  <a:lnTo>
                    <a:pt x="256" y="515"/>
                  </a:lnTo>
                  <a:lnTo>
                    <a:pt x="254" y="511"/>
                  </a:lnTo>
                  <a:lnTo>
                    <a:pt x="252" y="509"/>
                  </a:lnTo>
                  <a:lnTo>
                    <a:pt x="248" y="507"/>
                  </a:lnTo>
                  <a:lnTo>
                    <a:pt x="246" y="505"/>
                  </a:lnTo>
                  <a:lnTo>
                    <a:pt x="244" y="501"/>
                  </a:lnTo>
                  <a:lnTo>
                    <a:pt x="242" y="499"/>
                  </a:lnTo>
                  <a:lnTo>
                    <a:pt x="233" y="497"/>
                  </a:lnTo>
                  <a:lnTo>
                    <a:pt x="223" y="495"/>
                  </a:lnTo>
                  <a:lnTo>
                    <a:pt x="223" y="484"/>
                  </a:lnTo>
                  <a:lnTo>
                    <a:pt x="221" y="478"/>
                  </a:lnTo>
                  <a:lnTo>
                    <a:pt x="221" y="476"/>
                  </a:lnTo>
                  <a:lnTo>
                    <a:pt x="217" y="476"/>
                  </a:lnTo>
                  <a:lnTo>
                    <a:pt x="215" y="472"/>
                  </a:lnTo>
                  <a:lnTo>
                    <a:pt x="213" y="470"/>
                  </a:lnTo>
                  <a:lnTo>
                    <a:pt x="210" y="469"/>
                  </a:lnTo>
                  <a:lnTo>
                    <a:pt x="208" y="465"/>
                  </a:lnTo>
                  <a:lnTo>
                    <a:pt x="206" y="463"/>
                  </a:lnTo>
                  <a:lnTo>
                    <a:pt x="204" y="461"/>
                  </a:lnTo>
                  <a:lnTo>
                    <a:pt x="196" y="459"/>
                  </a:lnTo>
                  <a:lnTo>
                    <a:pt x="179" y="457"/>
                  </a:lnTo>
                  <a:lnTo>
                    <a:pt x="162" y="459"/>
                  </a:lnTo>
                  <a:lnTo>
                    <a:pt x="154" y="461"/>
                  </a:lnTo>
                  <a:lnTo>
                    <a:pt x="152" y="463"/>
                  </a:lnTo>
                  <a:lnTo>
                    <a:pt x="150" y="465"/>
                  </a:lnTo>
                  <a:lnTo>
                    <a:pt x="148" y="478"/>
                  </a:lnTo>
                  <a:lnTo>
                    <a:pt x="146" y="490"/>
                  </a:lnTo>
                  <a:lnTo>
                    <a:pt x="142" y="492"/>
                  </a:lnTo>
                  <a:lnTo>
                    <a:pt x="141" y="495"/>
                  </a:lnTo>
                  <a:lnTo>
                    <a:pt x="137" y="497"/>
                  </a:lnTo>
                  <a:lnTo>
                    <a:pt x="135" y="499"/>
                  </a:lnTo>
                  <a:lnTo>
                    <a:pt x="133" y="501"/>
                  </a:lnTo>
                  <a:lnTo>
                    <a:pt x="131" y="505"/>
                  </a:lnTo>
                  <a:lnTo>
                    <a:pt x="123" y="507"/>
                  </a:lnTo>
                  <a:lnTo>
                    <a:pt x="116" y="509"/>
                  </a:lnTo>
                  <a:lnTo>
                    <a:pt x="114" y="511"/>
                  </a:lnTo>
                  <a:lnTo>
                    <a:pt x="112" y="515"/>
                  </a:lnTo>
                  <a:lnTo>
                    <a:pt x="106" y="509"/>
                  </a:lnTo>
                  <a:lnTo>
                    <a:pt x="102" y="505"/>
                  </a:lnTo>
                  <a:lnTo>
                    <a:pt x="98" y="501"/>
                  </a:lnTo>
                  <a:lnTo>
                    <a:pt x="96" y="499"/>
                  </a:lnTo>
                  <a:lnTo>
                    <a:pt x="73" y="499"/>
                  </a:lnTo>
                  <a:lnTo>
                    <a:pt x="48" y="499"/>
                  </a:lnTo>
                  <a:lnTo>
                    <a:pt x="46" y="501"/>
                  </a:lnTo>
                  <a:lnTo>
                    <a:pt x="43" y="505"/>
                  </a:lnTo>
                  <a:lnTo>
                    <a:pt x="41" y="507"/>
                  </a:lnTo>
                  <a:lnTo>
                    <a:pt x="39" y="509"/>
                  </a:lnTo>
                  <a:lnTo>
                    <a:pt x="37" y="511"/>
                  </a:lnTo>
                  <a:lnTo>
                    <a:pt x="33" y="515"/>
                  </a:lnTo>
                  <a:lnTo>
                    <a:pt x="25" y="516"/>
                  </a:lnTo>
                  <a:lnTo>
                    <a:pt x="20" y="518"/>
                  </a:lnTo>
                  <a:lnTo>
                    <a:pt x="16" y="520"/>
                  </a:lnTo>
                  <a:lnTo>
                    <a:pt x="14" y="524"/>
                  </a:lnTo>
                  <a:lnTo>
                    <a:pt x="12" y="520"/>
                  </a:lnTo>
                  <a:lnTo>
                    <a:pt x="10" y="518"/>
                  </a:lnTo>
                  <a:lnTo>
                    <a:pt x="6" y="511"/>
                  </a:lnTo>
                  <a:lnTo>
                    <a:pt x="4" y="505"/>
                  </a:lnTo>
                  <a:lnTo>
                    <a:pt x="2" y="501"/>
                  </a:lnTo>
                  <a:lnTo>
                    <a:pt x="0" y="499"/>
                  </a:lnTo>
                  <a:lnTo>
                    <a:pt x="0" y="493"/>
                  </a:lnTo>
                  <a:lnTo>
                    <a:pt x="0" y="490"/>
                  </a:lnTo>
                  <a:lnTo>
                    <a:pt x="2" y="488"/>
                  </a:lnTo>
                  <a:lnTo>
                    <a:pt x="4" y="486"/>
                  </a:lnTo>
                  <a:lnTo>
                    <a:pt x="4" y="474"/>
                  </a:lnTo>
                  <a:lnTo>
                    <a:pt x="4" y="465"/>
                  </a:lnTo>
                  <a:lnTo>
                    <a:pt x="2" y="463"/>
                  </a:lnTo>
                  <a:lnTo>
                    <a:pt x="0" y="461"/>
                  </a:lnTo>
                  <a:lnTo>
                    <a:pt x="0" y="455"/>
                  </a:lnTo>
                  <a:lnTo>
                    <a:pt x="0" y="451"/>
                  </a:lnTo>
                  <a:lnTo>
                    <a:pt x="2" y="449"/>
                  </a:lnTo>
                  <a:lnTo>
                    <a:pt x="4" y="447"/>
                  </a:lnTo>
                  <a:lnTo>
                    <a:pt x="6" y="440"/>
                  </a:lnTo>
                  <a:lnTo>
                    <a:pt x="10" y="432"/>
                  </a:lnTo>
                  <a:lnTo>
                    <a:pt x="12" y="428"/>
                  </a:lnTo>
                  <a:lnTo>
                    <a:pt x="14" y="426"/>
                  </a:lnTo>
                  <a:lnTo>
                    <a:pt x="16" y="415"/>
                  </a:lnTo>
                  <a:lnTo>
                    <a:pt x="20" y="403"/>
                  </a:lnTo>
                  <a:lnTo>
                    <a:pt x="22" y="399"/>
                  </a:lnTo>
                  <a:lnTo>
                    <a:pt x="23" y="398"/>
                  </a:lnTo>
                  <a:lnTo>
                    <a:pt x="27" y="390"/>
                  </a:lnTo>
                  <a:lnTo>
                    <a:pt x="29" y="382"/>
                  </a:lnTo>
                  <a:lnTo>
                    <a:pt x="31" y="380"/>
                  </a:lnTo>
                  <a:lnTo>
                    <a:pt x="33" y="378"/>
                  </a:lnTo>
                  <a:lnTo>
                    <a:pt x="50" y="376"/>
                  </a:lnTo>
                  <a:lnTo>
                    <a:pt x="68" y="374"/>
                  </a:lnTo>
                  <a:lnTo>
                    <a:pt x="70" y="371"/>
                  </a:lnTo>
                  <a:lnTo>
                    <a:pt x="73" y="369"/>
                  </a:lnTo>
                  <a:lnTo>
                    <a:pt x="79" y="367"/>
                  </a:lnTo>
                  <a:lnTo>
                    <a:pt x="87" y="365"/>
                  </a:lnTo>
                  <a:lnTo>
                    <a:pt x="89" y="361"/>
                  </a:lnTo>
                  <a:lnTo>
                    <a:pt x="93" y="359"/>
                  </a:lnTo>
                  <a:lnTo>
                    <a:pt x="98" y="359"/>
                  </a:lnTo>
                  <a:lnTo>
                    <a:pt x="106" y="359"/>
                  </a:lnTo>
                  <a:lnTo>
                    <a:pt x="106" y="342"/>
                  </a:lnTo>
                  <a:lnTo>
                    <a:pt x="106" y="325"/>
                  </a:lnTo>
                  <a:lnTo>
                    <a:pt x="108" y="323"/>
                  </a:lnTo>
                  <a:lnTo>
                    <a:pt x="112" y="321"/>
                  </a:lnTo>
                  <a:lnTo>
                    <a:pt x="114" y="317"/>
                  </a:lnTo>
                  <a:lnTo>
                    <a:pt x="116" y="315"/>
                  </a:lnTo>
                  <a:lnTo>
                    <a:pt x="119" y="313"/>
                  </a:lnTo>
                  <a:lnTo>
                    <a:pt x="121" y="311"/>
                  </a:lnTo>
                  <a:lnTo>
                    <a:pt x="123" y="309"/>
                  </a:lnTo>
                  <a:lnTo>
                    <a:pt x="125" y="305"/>
                  </a:lnTo>
                  <a:lnTo>
                    <a:pt x="127" y="303"/>
                  </a:lnTo>
                  <a:lnTo>
                    <a:pt x="131" y="302"/>
                  </a:lnTo>
                  <a:lnTo>
                    <a:pt x="133" y="300"/>
                  </a:lnTo>
                  <a:lnTo>
                    <a:pt x="135" y="296"/>
                  </a:lnTo>
                  <a:lnTo>
                    <a:pt x="137" y="294"/>
                  </a:lnTo>
                  <a:lnTo>
                    <a:pt x="141" y="292"/>
                  </a:lnTo>
                  <a:lnTo>
                    <a:pt x="142" y="288"/>
                  </a:lnTo>
                  <a:lnTo>
                    <a:pt x="146" y="286"/>
                  </a:lnTo>
                  <a:lnTo>
                    <a:pt x="148" y="284"/>
                  </a:lnTo>
                  <a:lnTo>
                    <a:pt x="150" y="282"/>
                  </a:lnTo>
                  <a:lnTo>
                    <a:pt x="150" y="273"/>
                  </a:lnTo>
                  <a:lnTo>
                    <a:pt x="150" y="263"/>
                  </a:lnTo>
                  <a:lnTo>
                    <a:pt x="148" y="259"/>
                  </a:lnTo>
                  <a:lnTo>
                    <a:pt x="146" y="257"/>
                  </a:lnTo>
                  <a:lnTo>
                    <a:pt x="142" y="256"/>
                  </a:lnTo>
                  <a:lnTo>
                    <a:pt x="141" y="254"/>
                  </a:lnTo>
                  <a:lnTo>
                    <a:pt x="137" y="250"/>
                  </a:lnTo>
                  <a:lnTo>
                    <a:pt x="135" y="248"/>
                  </a:lnTo>
                  <a:lnTo>
                    <a:pt x="131" y="248"/>
                  </a:lnTo>
                  <a:lnTo>
                    <a:pt x="125" y="248"/>
                  </a:lnTo>
                  <a:lnTo>
                    <a:pt x="123" y="250"/>
                  </a:lnTo>
                  <a:lnTo>
                    <a:pt x="121" y="254"/>
                  </a:lnTo>
                  <a:lnTo>
                    <a:pt x="119" y="256"/>
                  </a:lnTo>
                  <a:lnTo>
                    <a:pt x="116" y="257"/>
                  </a:lnTo>
                  <a:lnTo>
                    <a:pt x="114" y="259"/>
                  </a:lnTo>
                  <a:lnTo>
                    <a:pt x="112" y="263"/>
                  </a:lnTo>
                  <a:lnTo>
                    <a:pt x="106" y="263"/>
                  </a:lnTo>
                  <a:lnTo>
                    <a:pt x="102" y="263"/>
                  </a:lnTo>
                  <a:lnTo>
                    <a:pt x="98" y="259"/>
                  </a:lnTo>
                  <a:lnTo>
                    <a:pt x="96" y="257"/>
                  </a:lnTo>
                  <a:lnTo>
                    <a:pt x="85" y="256"/>
                  </a:lnTo>
                  <a:lnTo>
                    <a:pt x="73" y="254"/>
                  </a:lnTo>
                  <a:lnTo>
                    <a:pt x="70" y="250"/>
                  </a:lnTo>
                  <a:lnTo>
                    <a:pt x="68" y="248"/>
                  </a:lnTo>
                  <a:lnTo>
                    <a:pt x="70" y="246"/>
                  </a:lnTo>
                  <a:lnTo>
                    <a:pt x="73" y="244"/>
                  </a:lnTo>
                  <a:lnTo>
                    <a:pt x="75" y="236"/>
                  </a:lnTo>
                  <a:lnTo>
                    <a:pt x="77" y="229"/>
                  </a:lnTo>
                  <a:lnTo>
                    <a:pt x="79" y="227"/>
                  </a:lnTo>
                  <a:lnTo>
                    <a:pt x="81" y="223"/>
                  </a:lnTo>
                  <a:lnTo>
                    <a:pt x="94" y="215"/>
                  </a:lnTo>
                  <a:lnTo>
                    <a:pt x="106" y="209"/>
                  </a:lnTo>
                  <a:lnTo>
                    <a:pt x="108" y="208"/>
                  </a:lnTo>
                  <a:lnTo>
                    <a:pt x="112" y="204"/>
                  </a:lnTo>
                  <a:lnTo>
                    <a:pt x="114" y="202"/>
                  </a:lnTo>
                  <a:lnTo>
                    <a:pt x="116" y="200"/>
                  </a:lnTo>
                  <a:lnTo>
                    <a:pt x="119" y="196"/>
                  </a:lnTo>
                  <a:lnTo>
                    <a:pt x="121" y="194"/>
                  </a:lnTo>
                  <a:lnTo>
                    <a:pt x="121" y="190"/>
                  </a:lnTo>
                  <a:lnTo>
                    <a:pt x="121" y="185"/>
                  </a:lnTo>
                  <a:lnTo>
                    <a:pt x="119" y="183"/>
                  </a:lnTo>
                  <a:lnTo>
                    <a:pt x="116" y="181"/>
                  </a:lnTo>
                  <a:lnTo>
                    <a:pt x="116" y="175"/>
                  </a:lnTo>
                  <a:lnTo>
                    <a:pt x="116" y="171"/>
                  </a:lnTo>
                  <a:lnTo>
                    <a:pt x="119" y="167"/>
                  </a:lnTo>
                  <a:lnTo>
                    <a:pt x="121" y="165"/>
                  </a:lnTo>
                  <a:lnTo>
                    <a:pt x="121" y="152"/>
                  </a:lnTo>
                  <a:lnTo>
                    <a:pt x="121" y="137"/>
                  </a:lnTo>
                  <a:lnTo>
                    <a:pt x="121" y="121"/>
                  </a:lnTo>
                  <a:lnTo>
                    <a:pt x="121" y="108"/>
                  </a:lnTo>
                  <a:lnTo>
                    <a:pt x="119" y="106"/>
                  </a:lnTo>
                  <a:lnTo>
                    <a:pt x="116" y="104"/>
                  </a:lnTo>
                  <a:lnTo>
                    <a:pt x="119" y="96"/>
                  </a:lnTo>
                  <a:lnTo>
                    <a:pt x="123" y="91"/>
                  </a:lnTo>
                  <a:lnTo>
                    <a:pt x="131" y="94"/>
                  </a:lnTo>
                  <a:lnTo>
                    <a:pt x="141" y="98"/>
                  </a:lnTo>
                  <a:lnTo>
                    <a:pt x="142" y="100"/>
                  </a:lnTo>
                  <a:lnTo>
                    <a:pt x="146" y="104"/>
                  </a:lnTo>
                  <a:lnTo>
                    <a:pt x="158" y="106"/>
                  </a:lnTo>
                  <a:lnTo>
                    <a:pt x="169" y="108"/>
                  </a:lnTo>
                  <a:lnTo>
                    <a:pt x="171" y="110"/>
                  </a:lnTo>
                  <a:lnTo>
                    <a:pt x="175" y="112"/>
                  </a:lnTo>
                  <a:lnTo>
                    <a:pt x="177" y="115"/>
                  </a:lnTo>
                  <a:lnTo>
                    <a:pt x="179" y="117"/>
                  </a:lnTo>
                  <a:lnTo>
                    <a:pt x="181" y="119"/>
                  </a:lnTo>
                  <a:lnTo>
                    <a:pt x="185" y="123"/>
                  </a:lnTo>
                  <a:lnTo>
                    <a:pt x="187" y="125"/>
                  </a:lnTo>
                  <a:lnTo>
                    <a:pt x="188" y="127"/>
                  </a:lnTo>
                  <a:lnTo>
                    <a:pt x="190" y="129"/>
                  </a:lnTo>
                  <a:lnTo>
                    <a:pt x="192" y="133"/>
                  </a:lnTo>
                  <a:lnTo>
                    <a:pt x="206" y="135"/>
                  </a:lnTo>
                  <a:lnTo>
                    <a:pt x="217" y="137"/>
                  </a:lnTo>
                  <a:lnTo>
                    <a:pt x="219" y="138"/>
                  </a:lnTo>
                  <a:lnTo>
                    <a:pt x="223" y="142"/>
                  </a:lnTo>
                  <a:lnTo>
                    <a:pt x="233" y="142"/>
                  </a:lnTo>
                  <a:lnTo>
                    <a:pt x="242" y="142"/>
                  </a:lnTo>
                  <a:lnTo>
                    <a:pt x="244" y="138"/>
                  </a:lnTo>
                  <a:lnTo>
                    <a:pt x="246" y="137"/>
                  </a:lnTo>
                  <a:lnTo>
                    <a:pt x="248" y="138"/>
                  </a:lnTo>
                  <a:lnTo>
                    <a:pt x="252" y="142"/>
                  </a:lnTo>
                  <a:lnTo>
                    <a:pt x="254" y="144"/>
                  </a:lnTo>
                  <a:lnTo>
                    <a:pt x="256" y="146"/>
                  </a:lnTo>
                  <a:lnTo>
                    <a:pt x="259" y="148"/>
                  </a:lnTo>
                  <a:lnTo>
                    <a:pt x="261" y="152"/>
                  </a:lnTo>
                  <a:lnTo>
                    <a:pt x="263" y="154"/>
                  </a:lnTo>
                  <a:lnTo>
                    <a:pt x="271" y="156"/>
                  </a:lnTo>
                  <a:lnTo>
                    <a:pt x="277" y="154"/>
                  </a:lnTo>
                  <a:lnTo>
                    <a:pt x="281" y="152"/>
                  </a:lnTo>
                  <a:lnTo>
                    <a:pt x="282" y="148"/>
                  </a:lnTo>
                  <a:lnTo>
                    <a:pt x="284" y="146"/>
                  </a:lnTo>
                  <a:lnTo>
                    <a:pt x="284" y="131"/>
                  </a:lnTo>
                  <a:lnTo>
                    <a:pt x="284" y="117"/>
                  </a:lnTo>
                  <a:lnTo>
                    <a:pt x="282" y="115"/>
                  </a:lnTo>
                  <a:lnTo>
                    <a:pt x="281" y="112"/>
                  </a:lnTo>
                  <a:lnTo>
                    <a:pt x="279" y="96"/>
                  </a:lnTo>
                  <a:lnTo>
                    <a:pt x="275" y="79"/>
                  </a:lnTo>
                  <a:lnTo>
                    <a:pt x="273" y="62"/>
                  </a:lnTo>
                  <a:lnTo>
                    <a:pt x="271" y="44"/>
                  </a:lnTo>
                  <a:lnTo>
                    <a:pt x="273" y="43"/>
                  </a:lnTo>
                  <a:lnTo>
                    <a:pt x="275" y="41"/>
                  </a:lnTo>
                  <a:lnTo>
                    <a:pt x="279" y="37"/>
                  </a:lnTo>
                  <a:lnTo>
                    <a:pt x="281" y="35"/>
                  </a:lnTo>
                  <a:lnTo>
                    <a:pt x="282" y="33"/>
                  </a:lnTo>
                  <a:lnTo>
                    <a:pt x="284" y="31"/>
                  </a:lnTo>
                  <a:lnTo>
                    <a:pt x="288" y="27"/>
                  </a:lnTo>
                  <a:lnTo>
                    <a:pt x="290" y="25"/>
                  </a:lnTo>
                  <a:lnTo>
                    <a:pt x="292" y="23"/>
                  </a:lnTo>
                  <a:lnTo>
                    <a:pt x="296" y="21"/>
                  </a:lnTo>
                  <a:lnTo>
                    <a:pt x="325" y="18"/>
                  </a:lnTo>
                  <a:lnTo>
                    <a:pt x="355" y="14"/>
                  </a:lnTo>
                  <a:lnTo>
                    <a:pt x="386" y="10"/>
                  </a:lnTo>
                  <a:lnTo>
                    <a:pt x="417" y="6"/>
                  </a:lnTo>
                  <a:lnTo>
                    <a:pt x="419" y="4"/>
                  </a:lnTo>
                  <a:lnTo>
                    <a:pt x="421" y="0"/>
                  </a:lnTo>
                  <a:lnTo>
                    <a:pt x="424" y="0"/>
                  </a:lnTo>
                  <a:lnTo>
                    <a:pt x="430" y="0"/>
                  </a:lnTo>
                  <a:lnTo>
                    <a:pt x="432" y="4"/>
                  </a:lnTo>
                  <a:lnTo>
                    <a:pt x="436" y="6"/>
                  </a:lnTo>
                  <a:lnTo>
                    <a:pt x="442" y="8"/>
                  </a:lnTo>
                  <a:lnTo>
                    <a:pt x="449" y="12"/>
                  </a:lnTo>
                  <a:lnTo>
                    <a:pt x="451" y="14"/>
                  </a:lnTo>
                  <a:lnTo>
                    <a:pt x="455" y="16"/>
                  </a:lnTo>
                  <a:lnTo>
                    <a:pt x="457" y="18"/>
                  </a:lnTo>
                  <a:lnTo>
                    <a:pt x="459" y="21"/>
                  </a:lnTo>
                  <a:lnTo>
                    <a:pt x="461" y="23"/>
                  </a:lnTo>
                  <a:lnTo>
                    <a:pt x="465" y="25"/>
                  </a:lnTo>
                  <a:lnTo>
                    <a:pt x="467" y="27"/>
                  </a:lnTo>
                  <a:lnTo>
                    <a:pt x="469" y="31"/>
                  </a:lnTo>
                  <a:lnTo>
                    <a:pt x="471" y="33"/>
                  </a:lnTo>
                  <a:lnTo>
                    <a:pt x="474" y="35"/>
                  </a:lnTo>
                  <a:lnTo>
                    <a:pt x="476" y="37"/>
                  </a:lnTo>
                  <a:lnTo>
                    <a:pt x="478" y="41"/>
                  </a:lnTo>
                  <a:lnTo>
                    <a:pt x="480" y="43"/>
                  </a:lnTo>
                  <a:lnTo>
                    <a:pt x="484" y="44"/>
                  </a:lnTo>
                  <a:lnTo>
                    <a:pt x="490" y="46"/>
                  </a:lnTo>
                  <a:lnTo>
                    <a:pt x="497" y="50"/>
                  </a:lnTo>
                  <a:lnTo>
                    <a:pt x="501" y="52"/>
                  </a:lnTo>
                  <a:lnTo>
                    <a:pt x="503" y="54"/>
                  </a:lnTo>
                  <a:lnTo>
                    <a:pt x="505" y="56"/>
                  </a:lnTo>
                  <a:lnTo>
                    <a:pt x="507" y="60"/>
                  </a:lnTo>
                  <a:lnTo>
                    <a:pt x="511" y="62"/>
                  </a:lnTo>
                  <a:lnTo>
                    <a:pt x="513" y="64"/>
                  </a:lnTo>
                  <a:lnTo>
                    <a:pt x="524" y="67"/>
                  </a:lnTo>
                  <a:lnTo>
                    <a:pt x="538" y="69"/>
                  </a:lnTo>
                  <a:lnTo>
                    <a:pt x="540" y="71"/>
                  </a:lnTo>
                  <a:lnTo>
                    <a:pt x="542" y="73"/>
                  </a:lnTo>
                  <a:lnTo>
                    <a:pt x="543" y="77"/>
                  </a:lnTo>
                  <a:lnTo>
                    <a:pt x="545" y="79"/>
                  </a:lnTo>
                  <a:lnTo>
                    <a:pt x="549" y="81"/>
                  </a:lnTo>
                  <a:lnTo>
                    <a:pt x="551" y="83"/>
                  </a:lnTo>
                  <a:lnTo>
                    <a:pt x="559" y="85"/>
                  </a:lnTo>
                  <a:lnTo>
                    <a:pt x="566" y="89"/>
                  </a:lnTo>
                  <a:lnTo>
                    <a:pt x="568" y="91"/>
                  </a:lnTo>
                  <a:lnTo>
                    <a:pt x="570" y="92"/>
                  </a:lnTo>
                  <a:lnTo>
                    <a:pt x="582" y="96"/>
                  </a:lnTo>
                  <a:lnTo>
                    <a:pt x="595" y="98"/>
                  </a:lnTo>
                  <a:lnTo>
                    <a:pt x="597" y="100"/>
                  </a:lnTo>
                  <a:lnTo>
                    <a:pt x="599" y="104"/>
                  </a:lnTo>
                  <a:lnTo>
                    <a:pt x="601" y="106"/>
                  </a:lnTo>
                  <a:lnTo>
                    <a:pt x="605" y="108"/>
                  </a:lnTo>
                  <a:lnTo>
                    <a:pt x="607" y="110"/>
                  </a:lnTo>
                  <a:lnTo>
                    <a:pt x="609" y="112"/>
                  </a:lnTo>
                  <a:lnTo>
                    <a:pt x="616" y="115"/>
                  </a:lnTo>
                  <a:lnTo>
                    <a:pt x="624" y="117"/>
                  </a:lnTo>
                  <a:lnTo>
                    <a:pt x="626" y="119"/>
                  </a:lnTo>
                  <a:lnTo>
                    <a:pt x="628" y="123"/>
                  </a:lnTo>
                  <a:lnTo>
                    <a:pt x="636" y="125"/>
                  </a:lnTo>
                  <a:lnTo>
                    <a:pt x="643" y="127"/>
                  </a:lnTo>
                  <a:lnTo>
                    <a:pt x="645" y="129"/>
                  </a:lnTo>
                  <a:lnTo>
                    <a:pt x="649" y="133"/>
                  </a:lnTo>
                  <a:lnTo>
                    <a:pt x="655" y="135"/>
                  </a:lnTo>
                  <a:lnTo>
                    <a:pt x="662" y="137"/>
                  </a:lnTo>
                  <a:lnTo>
                    <a:pt x="664" y="138"/>
                  </a:lnTo>
                  <a:lnTo>
                    <a:pt x="666" y="142"/>
                  </a:lnTo>
                  <a:lnTo>
                    <a:pt x="674" y="144"/>
                  </a:lnTo>
                  <a:lnTo>
                    <a:pt x="682" y="146"/>
                  </a:lnTo>
                  <a:lnTo>
                    <a:pt x="683" y="148"/>
                  </a:lnTo>
                  <a:lnTo>
                    <a:pt x="687" y="152"/>
                  </a:lnTo>
                  <a:lnTo>
                    <a:pt x="699" y="154"/>
                  </a:lnTo>
                  <a:lnTo>
                    <a:pt x="710" y="156"/>
                  </a:lnTo>
                  <a:lnTo>
                    <a:pt x="712" y="158"/>
                  </a:lnTo>
                  <a:lnTo>
                    <a:pt x="716" y="162"/>
                  </a:lnTo>
                  <a:lnTo>
                    <a:pt x="718" y="163"/>
                  </a:lnTo>
                  <a:lnTo>
                    <a:pt x="726" y="165"/>
                  </a:lnTo>
                  <a:lnTo>
                    <a:pt x="731" y="163"/>
                  </a:lnTo>
                  <a:lnTo>
                    <a:pt x="735" y="162"/>
                  </a:lnTo>
                  <a:lnTo>
                    <a:pt x="737" y="158"/>
                  </a:lnTo>
                  <a:lnTo>
                    <a:pt x="739" y="156"/>
                  </a:lnTo>
                  <a:lnTo>
                    <a:pt x="753" y="154"/>
                  </a:lnTo>
                  <a:lnTo>
                    <a:pt x="764" y="152"/>
                  </a:lnTo>
                  <a:lnTo>
                    <a:pt x="766" y="148"/>
                  </a:lnTo>
                  <a:lnTo>
                    <a:pt x="770" y="146"/>
                  </a:lnTo>
                  <a:lnTo>
                    <a:pt x="776" y="144"/>
                  </a:lnTo>
                  <a:lnTo>
                    <a:pt x="783" y="142"/>
                  </a:lnTo>
                  <a:lnTo>
                    <a:pt x="785" y="138"/>
                  </a:lnTo>
                  <a:lnTo>
                    <a:pt x="789" y="137"/>
                  </a:lnTo>
                  <a:lnTo>
                    <a:pt x="791" y="135"/>
                  </a:lnTo>
                  <a:lnTo>
                    <a:pt x="793" y="133"/>
                  </a:lnTo>
                  <a:lnTo>
                    <a:pt x="795" y="129"/>
                  </a:lnTo>
                  <a:lnTo>
                    <a:pt x="799" y="127"/>
                  </a:lnTo>
                  <a:lnTo>
                    <a:pt x="801" y="125"/>
                  </a:lnTo>
                  <a:lnTo>
                    <a:pt x="802" y="123"/>
                  </a:lnTo>
                  <a:lnTo>
                    <a:pt x="804" y="119"/>
                  </a:lnTo>
                  <a:lnTo>
                    <a:pt x="808" y="117"/>
                  </a:lnTo>
                  <a:lnTo>
                    <a:pt x="810" y="115"/>
                  </a:lnTo>
                  <a:lnTo>
                    <a:pt x="812" y="112"/>
                  </a:lnTo>
                  <a:lnTo>
                    <a:pt x="814" y="110"/>
                  </a:lnTo>
                  <a:lnTo>
                    <a:pt x="818" y="108"/>
                  </a:lnTo>
                  <a:lnTo>
                    <a:pt x="820" y="106"/>
                  </a:lnTo>
                  <a:lnTo>
                    <a:pt x="822" y="104"/>
                  </a:lnTo>
                  <a:lnTo>
                    <a:pt x="824" y="100"/>
                  </a:lnTo>
                  <a:lnTo>
                    <a:pt x="827" y="98"/>
                  </a:lnTo>
                  <a:lnTo>
                    <a:pt x="833" y="96"/>
                  </a:lnTo>
                  <a:lnTo>
                    <a:pt x="841" y="92"/>
                  </a:lnTo>
                  <a:lnTo>
                    <a:pt x="845" y="91"/>
                  </a:lnTo>
                  <a:lnTo>
                    <a:pt x="847" y="89"/>
                  </a:lnTo>
                  <a:lnTo>
                    <a:pt x="850" y="89"/>
                  </a:lnTo>
                  <a:lnTo>
                    <a:pt x="856" y="89"/>
                  </a:lnTo>
                  <a:lnTo>
                    <a:pt x="858" y="91"/>
                  </a:lnTo>
                  <a:lnTo>
                    <a:pt x="860" y="92"/>
                  </a:lnTo>
                  <a:lnTo>
                    <a:pt x="858" y="96"/>
                  </a:lnTo>
                  <a:lnTo>
                    <a:pt x="856" y="98"/>
                  </a:lnTo>
                  <a:lnTo>
                    <a:pt x="854" y="100"/>
                  </a:lnTo>
                  <a:lnTo>
                    <a:pt x="850" y="104"/>
                  </a:lnTo>
                  <a:lnTo>
                    <a:pt x="848" y="106"/>
                  </a:lnTo>
                  <a:lnTo>
                    <a:pt x="847" y="108"/>
                  </a:lnTo>
                  <a:lnTo>
                    <a:pt x="847" y="112"/>
                  </a:lnTo>
                  <a:lnTo>
                    <a:pt x="847" y="117"/>
                  </a:lnTo>
                  <a:lnTo>
                    <a:pt x="848" y="119"/>
                  </a:lnTo>
                  <a:lnTo>
                    <a:pt x="850" y="123"/>
                  </a:lnTo>
                  <a:lnTo>
                    <a:pt x="854" y="125"/>
                  </a:lnTo>
                  <a:lnTo>
                    <a:pt x="856" y="127"/>
                  </a:lnTo>
                  <a:lnTo>
                    <a:pt x="858" y="129"/>
                  </a:lnTo>
                  <a:lnTo>
                    <a:pt x="860" y="133"/>
                  </a:lnTo>
                  <a:lnTo>
                    <a:pt x="862" y="135"/>
                  </a:lnTo>
                  <a:lnTo>
                    <a:pt x="866" y="137"/>
                  </a:lnTo>
                  <a:lnTo>
                    <a:pt x="868" y="138"/>
                  </a:lnTo>
                  <a:lnTo>
                    <a:pt x="870" y="142"/>
                  </a:lnTo>
                  <a:lnTo>
                    <a:pt x="868" y="144"/>
                  </a:lnTo>
                  <a:lnTo>
                    <a:pt x="866" y="146"/>
                  </a:lnTo>
                  <a:lnTo>
                    <a:pt x="862" y="148"/>
                  </a:lnTo>
                  <a:lnTo>
                    <a:pt x="860" y="152"/>
                  </a:lnTo>
                  <a:lnTo>
                    <a:pt x="858" y="154"/>
                  </a:lnTo>
                  <a:lnTo>
                    <a:pt x="856" y="156"/>
                  </a:lnTo>
                  <a:lnTo>
                    <a:pt x="854" y="163"/>
                  </a:lnTo>
                  <a:lnTo>
                    <a:pt x="850" y="171"/>
                  </a:lnTo>
                  <a:lnTo>
                    <a:pt x="848" y="173"/>
                  </a:lnTo>
                  <a:lnTo>
                    <a:pt x="847" y="175"/>
                  </a:lnTo>
                  <a:lnTo>
                    <a:pt x="845" y="177"/>
                  </a:lnTo>
                  <a:lnTo>
                    <a:pt x="841" y="181"/>
                  </a:lnTo>
                  <a:lnTo>
                    <a:pt x="839" y="183"/>
                  </a:lnTo>
                  <a:lnTo>
                    <a:pt x="837" y="185"/>
                  </a:lnTo>
                  <a:lnTo>
                    <a:pt x="824" y="188"/>
                  </a:lnTo>
                  <a:lnTo>
                    <a:pt x="812" y="190"/>
                  </a:lnTo>
                  <a:lnTo>
                    <a:pt x="810" y="192"/>
                  </a:lnTo>
                  <a:lnTo>
                    <a:pt x="808" y="194"/>
                  </a:lnTo>
                  <a:lnTo>
                    <a:pt x="804" y="196"/>
                  </a:lnTo>
                  <a:lnTo>
                    <a:pt x="802" y="200"/>
                  </a:lnTo>
                  <a:lnTo>
                    <a:pt x="801" y="202"/>
                  </a:lnTo>
                  <a:lnTo>
                    <a:pt x="799" y="204"/>
                  </a:lnTo>
                  <a:lnTo>
                    <a:pt x="785" y="208"/>
                  </a:lnTo>
                  <a:lnTo>
                    <a:pt x="774" y="209"/>
                  </a:lnTo>
                  <a:lnTo>
                    <a:pt x="772" y="211"/>
                  </a:lnTo>
                  <a:lnTo>
                    <a:pt x="770" y="215"/>
                  </a:lnTo>
                  <a:lnTo>
                    <a:pt x="762" y="217"/>
                  </a:lnTo>
                  <a:lnTo>
                    <a:pt x="754" y="219"/>
                  </a:lnTo>
                  <a:lnTo>
                    <a:pt x="753" y="221"/>
                  </a:lnTo>
                  <a:lnTo>
                    <a:pt x="749" y="223"/>
                  </a:lnTo>
                  <a:lnTo>
                    <a:pt x="743" y="227"/>
                  </a:lnTo>
                  <a:lnTo>
                    <a:pt x="735" y="229"/>
                  </a:lnTo>
                  <a:lnTo>
                    <a:pt x="733" y="231"/>
                  </a:lnTo>
                  <a:lnTo>
                    <a:pt x="730" y="232"/>
                  </a:lnTo>
                  <a:lnTo>
                    <a:pt x="728" y="236"/>
                  </a:lnTo>
                  <a:lnTo>
                    <a:pt x="726" y="238"/>
                  </a:lnTo>
                  <a:lnTo>
                    <a:pt x="722" y="240"/>
                  </a:lnTo>
                  <a:lnTo>
                    <a:pt x="720" y="244"/>
                  </a:lnTo>
                  <a:lnTo>
                    <a:pt x="712" y="246"/>
                  </a:lnTo>
                  <a:lnTo>
                    <a:pt x="707" y="248"/>
                  </a:lnTo>
                  <a:lnTo>
                    <a:pt x="703" y="250"/>
                  </a:lnTo>
                  <a:lnTo>
                    <a:pt x="701" y="254"/>
                  </a:lnTo>
                  <a:lnTo>
                    <a:pt x="683" y="259"/>
                  </a:lnTo>
                  <a:lnTo>
                    <a:pt x="666" y="267"/>
                  </a:lnTo>
                  <a:lnTo>
                    <a:pt x="664" y="269"/>
                  </a:lnTo>
                  <a:lnTo>
                    <a:pt x="662" y="273"/>
                  </a:lnTo>
                  <a:lnTo>
                    <a:pt x="660" y="275"/>
                  </a:lnTo>
                  <a:lnTo>
                    <a:pt x="657" y="277"/>
                  </a:lnTo>
                  <a:lnTo>
                    <a:pt x="655" y="279"/>
                  </a:lnTo>
                  <a:lnTo>
                    <a:pt x="653" y="282"/>
                  </a:lnTo>
                  <a:lnTo>
                    <a:pt x="651" y="284"/>
                  </a:lnTo>
                  <a:lnTo>
                    <a:pt x="649" y="286"/>
                  </a:lnTo>
                  <a:lnTo>
                    <a:pt x="645" y="288"/>
                  </a:lnTo>
                  <a:lnTo>
                    <a:pt x="643" y="292"/>
                  </a:lnTo>
                  <a:lnTo>
                    <a:pt x="636" y="294"/>
                  </a:lnTo>
                  <a:lnTo>
                    <a:pt x="628" y="296"/>
                  </a:lnTo>
                  <a:lnTo>
                    <a:pt x="626" y="300"/>
                  </a:lnTo>
                  <a:lnTo>
                    <a:pt x="624" y="302"/>
                  </a:lnTo>
                  <a:lnTo>
                    <a:pt x="618" y="302"/>
                  </a:lnTo>
                  <a:lnTo>
                    <a:pt x="614" y="302"/>
                  </a:lnTo>
                  <a:lnTo>
                    <a:pt x="612" y="300"/>
                  </a:lnTo>
                  <a:lnTo>
                    <a:pt x="609" y="296"/>
                  </a:lnTo>
                  <a:lnTo>
                    <a:pt x="595" y="296"/>
                  </a:lnTo>
                  <a:lnTo>
                    <a:pt x="580" y="296"/>
                  </a:lnTo>
                  <a:lnTo>
                    <a:pt x="578" y="300"/>
                  </a:lnTo>
                  <a:lnTo>
                    <a:pt x="576" y="302"/>
                  </a:lnTo>
                  <a:lnTo>
                    <a:pt x="572" y="303"/>
                  </a:lnTo>
                  <a:lnTo>
                    <a:pt x="570" y="305"/>
                  </a:lnTo>
                  <a:lnTo>
                    <a:pt x="568" y="309"/>
                  </a:lnTo>
                  <a:lnTo>
                    <a:pt x="566" y="311"/>
                  </a:lnTo>
                  <a:lnTo>
                    <a:pt x="563" y="313"/>
                  </a:lnTo>
                  <a:lnTo>
                    <a:pt x="561" y="315"/>
                  </a:lnTo>
                  <a:lnTo>
                    <a:pt x="559" y="317"/>
                  </a:lnTo>
                  <a:lnTo>
                    <a:pt x="557" y="321"/>
                  </a:lnTo>
                  <a:lnTo>
                    <a:pt x="553" y="338"/>
                  </a:lnTo>
                  <a:lnTo>
                    <a:pt x="551" y="353"/>
                  </a:lnTo>
                  <a:lnTo>
                    <a:pt x="549" y="357"/>
                  </a:lnTo>
                  <a:lnTo>
                    <a:pt x="545" y="359"/>
                  </a:lnTo>
                  <a:lnTo>
                    <a:pt x="543" y="361"/>
                  </a:lnTo>
                  <a:lnTo>
                    <a:pt x="542" y="365"/>
                  </a:lnTo>
                  <a:lnTo>
                    <a:pt x="540" y="367"/>
                  </a:lnTo>
                  <a:lnTo>
                    <a:pt x="538" y="369"/>
                  </a:lnTo>
                  <a:lnTo>
                    <a:pt x="534" y="371"/>
                  </a:lnTo>
                  <a:lnTo>
                    <a:pt x="532" y="374"/>
                  </a:lnTo>
                  <a:lnTo>
                    <a:pt x="530" y="376"/>
                  </a:lnTo>
                  <a:lnTo>
                    <a:pt x="528" y="378"/>
                  </a:lnTo>
                  <a:lnTo>
                    <a:pt x="524" y="380"/>
                  </a:lnTo>
                  <a:lnTo>
                    <a:pt x="522" y="382"/>
                  </a:lnTo>
                  <a:lnTo>
                    <a:pt x="520" y="386"/>
                  </a:lnTo>
                  <a:lnTo>
                    <a:pt x="517" y="388"/>
                  </a:lnTo>
                  <a:lnTo>
                    <a:pt x="515" y="396"/>
                  </a:lnTo>
                  <a:lnTo>
                    <a:pt x="513" y="403"/>
                  </a:lnTo>
                  <a:lnTo>
                    <a:pt x="511" y="405"/>
                  </a:lnTo>
                  <a:lnTo>
                    <a:pt x="507" y="407"/>
                  </a:lnTo>
                  <a:lnTo>
                    <a:pt x="505" y="424"/>
                  </a:lnTo>
                  <a:lnTo>
                    <a:pt x="503" y="442"/>
                  </a:lnTo>
                  <a:lnTo>
                    <a:pt x="501" y="444"/>
                  </a:lnTo>
                  <a:lnTo>
                    <a:pt x="497" y="447"/>
                  </a:lnTo>
                  <a:lnTo>
                    <a:pt x="495" y="453"/>
                  </a:lnTo>
                  <a:lnTo>
                    <a:pt x="494" y="461"/>
                  </a:lnTo>
                  <a:lnTo>
                    <a:pt x="492" y="463"/>
                  </a:lnTo>
                  <a:lnTo>
                    <a:pt x="488" y="465"/>
                  </a:lnTo>
                  <a:lnTo>
                    <a:pt x="486" y="478"/>
                  </a:lnTo>
                  <a:lnTo>
                    <a:pt x="484" y="490"/>
                  </a:lnTo>
                  <a:lnTo>
                    <a:pt x="480" y="492"/>
                  </a:lnTo>
                  <a:lnTo>
                    <a:pt x="478" y="495"/>
                  </a:lnTo>
                  <a:lnTo>
                    <a:pt x="476" y="497"/>
                  </a:lnTo>
                  <a:lnTo>
                    <a:pt x="474" y="499"/>
                  </a:lnTo>
                  <a:lnTo>
                    <a:pt x="471" y="501"/>
                  </a:lnTo>
                  <a:lnTo>
                    <a:pt x="469" y="505"/>
                  </a:lnTo>
                  <a:lnTo>
                    <a:pt x="461" y="516"/>
                  </a:lnTo>
                  <a:lnTo>
                    <a:pt x="455" y="528"/>
                  </a:lnTo>
                  <a:lnTo>
                    <a:pt x="451" y="530"/>
                  </a:lnTo>
                  <a:lnTo>
                    <a:pt x="449" y="534"/>
                  </a:lnTo>
                  <a:lnTo>
                    <a:pt x="424" y="534"/>
                  </a:lnTo>
                  <a:lnTo>
                    <a:pt x="401" y="534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5" name="Freeform 345">
              <a:extLst>
                <a:ext uri="{FF2B5EF4-FFF2-40B4-BE49-F238E27FC236}">
                  <a16:creationId xmlns:a16="http://schemas.microsoft.com/office/drawing/2014/main" xmlns="" id="{33FCA32F-8256-864F-9CE2-591312D4CCF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7750" y="3539941"/>
              <a:ext cx="360363" cy="273050"/>
            </a:xfrm>
            <a:custGeom>
              <a:avLst/>
              <a:gdLst>
                <a:gd name="T0" fmla="*/ 2147483647 w 232"/>
                <a:gd name="T1" fmla="*/ 2147483647 h 184"/>
                <a:gd name="T2" fmla="*/ 0 w 232"/>
                <a:gd name="T3" fmla="*/ 2147483647 h 184"/>
                <a:gd name="T4" fmla="*/ 2147483647 w 232"/>
                <a:gd name="T5" fmla="*/ 2147483647 h 184"/>
                <a:gd name="T6" fmla="*/ 2147483647 w 232"/>
                <a:gd name="T7" fmla="*/ 2147483647 h 184"/>
                <a:gd name="T8" fmla="*/ 2147483647 w 232"/>
                <a:gd name="T9" fmla="*/ 2147483647 h 184"/>
                <a:gd name="T10" fmla="*/ 2147483647 w 232"/>
                <a:gd name="T11" fmla="*/ 2147483647 h 184"/>
                <a:gd name="T12" fmla="*/ 2147483647 w 232"/>
                <a:gd name="T13" fmla="*/ 2147483647 h 184"/>
                <a:gd name="T14" fmla="*/ 2147483647 w 232"/>
                <a:gd name="T15" fmla="*/ 2147483647 h 184"/>
                <a:gd name="T16" fmla="*/ 2147483647 w 232"/>
                <a:gd name="T17" fmla="*/ 2147483647 h 184"/>
                <a:gd name="T18" fmla="*/ 2147483647 w 232"/>
                <a:gd name="T19" fmla="*/ 2147483647 h 184"/>
                <a:gd name="T20" fmla="*/ 2147483647 w 232"/>
                <a:gd name="T21" fmla="*/ 2147483647 h 184"/>
                <a:gd name="T22" fmla="*/ 2147483647 w 232"/>
                <a:gd name="T23" fmla="*/ 2147483647 h 184"/>
                <a:gd name="T24" fmla="*/ 2147483647 w 232"/>
                <a:gd name="T25" fmla="*/ 2147483647 h 184"/>
                <a:gd name="T26" fmla="*/ 2147483647 w 232"/>
                <a:gd name="T27" fmla="*/ 0 h 184"/>
                <a:gd name="T28" fmla="*/ 2147483647 w 232"/>
                <a:gd name="T29" fmla="*/ 0 h 184"/>
                <a:gd name="T30" fmla="*/ 2147483647 w 232"/>
                <a:gd name="T31" fmla="*/ 2147483647 h 184"/>
                <a:gd name="T32" fmla="*/ 2147483647 w 232"/>
                <a:gd name="T33" fmla="*/ 2147483647 h 184"/>
                <a:gd name="T34" fmla="*/ 2147483647 w 232"/>
                <a:gd name="T35" fmla="*/ 2147483647 h 184"/>
                <a:gd name="T36" fmla="*/ 2147483647 w 232"/>
                <a:gd name="T37" fmla="*/ 2147483647 h 184"/>
                <a:gd name="T38" fmla="*/ 2147483647 w 232"/>
                <a:gd name="T39" fmla="*/ 2147483647 h 184"/>
                <a:gd name="T40" fmla="*/ 2147483647 w 232"/>
                <a:gd name="T41" fmla="*/ 2147483647 h 184"/>
                <a:gd name="T42" fmla="*/ 2147483647 w 232"/>
                <a:gd name="T43" fmla="*/ 2147483647 h 184"/>
                <a:gd name="T44" fmla="*/ 2147483647 w 232"/>
                <a:gd name="T45" fmla="*/ 2147483647 h 184"/>
                <a:gd name="T46" fmla="*/ 2147483647 w 232"/>
                <a:gd name="T47" fmla="*/ 2147483647 h 184"/>
                <a:gd name="T48" fmla="*/ 2147483647 w 232"/>
                <a:gd name="T49" fmla="*/ 2147483647 h 184"/>
                <a:gd name="T50" fmla="*/ 2147483647 w 232"/>
                <a:gd name="T51" fmla="*/ 2147483647 h 184"/>
                <a:gd name="T52" fmla="*/ 2147483647 w 232"/>
                <a:gd name="T53" fmla="*/ 2147483647 h 184"/>
                <a:gd name="T54" fmla="*/ 2147483647 w 232"/>
                <a:gd name="T55" fmla="*/ 2147483647 h 184"/>
                <a:gd name="T56" fmla="*/ 2147483647 w 232"/>
                <a:gd name="T57" fmla="*/ 2147483647 h 184"/>
                <a:gd name="T58" fmla="*/ 2147483647 w 232"/>
                <a:gd name="T59" fmla="*/ 2147483647 h 184"/>
                <a:gd name="T60" fmla="*/ 2147483647 w 232"/>
                <a:gd name="T61" fmla="*/ 2147483647 h 184"/>
                <a:gd name="T62" fmla="*/ 2147483647 w 232"/>
                <a:gd name="T63" fmla="*/ 2147483647 h 184"/>
                <a:gd name="T64" fmla="*/ 2147483647 w 232"/>
                <a:gd name="T65" fmla="*/ 2147483647 h 184"/>
                <a:gd name="T66" fmla="*/ 2147483647 w 232"/>
                <a:gd name="T67" fmla="*/ 2147483647 h 184"/>
                <a:gd name="T68" fmla="*/ 2147483647 w 232"/>
                <a:gd name="T69" fmla="*/ 2147483647 h 184"/>
                <a:gd name="T70" fmla="*/ 2147483647 w 232"/>
                <a:gd name="T71" fmla="*/ 2147483647 h 184"/>
                <a:gd name="T72" fmla="*/ 2147483647 w 232"/>
                <a:gd name="T73" fmla="*/ 2147483647 h 184"/>
                <a:gd name="T74" fmla="*/ 2147483647 w 232"/>
                <a:gd name="T75" fmla="*/ 2147483647 h 184"/>
                <a:gd name="T76" fmla="*/ 2147483647 w 232"/>
                <a:gd name="T77" fmla="*/ 2147483647 h 184"/>
                <a:gd name="T78" fmla="*/ 2147483647 w 232"/>
                <a:gd name="T79" fmla="*/ 2147483647 h 184"/>
                <a:gd name="T80" fmla="*/ 2147483647 w 232"/>
                <a:gd name="T81" fmla="*/ 2147483647 h 184"/>
                <a:gd name="T82" fmla="*/ 2147483647 w 232"/>
                <a:gd name="T83" fmla="*/ 2147483647 h 184"/>
                <a:gd name="T84" fmla="*/ 2147483647 w 232"/>
                <a:gd name="T85" fmla="*/ 2147483647 h 184"/>
                <a:gd name="T86" fmla="*/ 2147483647 w 232"/>
                <a:gd name="T87" fmla="*/ 2147483647 h 184"/>
                <a:gd name="T88" fmla="*/ 2147483647 w 232"/>
                <a:gd name="T89" fmla="*/ 2147483647 h 184"/>
                <a:gd name="T90" fmla="*/ 2147483647 w 232"/>
                <a:gd name="T91" fmla="*/ 2147483647 h 184"/>
                <a:gd name="T92" fmla="*/ 2147483647 w 232"/>
                <a:gd name="T93" fmla="*/ 2147483647 h 184"/>
                <a:gd name="T94" fmla="*/ 2147483647 w 232"/>
                <a:gd name="T95" fmla="*/ 2147483647 h 184"/>
                <a:gd name="T96" fmla="*/ 2147483647 w 232"/>
                <a:gd name="T97" fmla="*/ 2147483647 h 184"/>
                <a:gd name="T98" fmla="*/ 2147483647 w 232"/>
                <a:gd name="T99" fmla="*/ 2147483647 h 184"/>
                <a:gd name="T100" fmla="*/ 2147483647 w 232"/>
                <a:gd name="T101" fmla="*/ 2147483647 h 184"/>
                <a:gd name="T102" fmla="*/ 2147483647 w 232"/>
                <a:gd name="T103" fmla="*/ 2147483647 h 184"/>
                <a:gd name="T104" fmla="*/ 2147483647 w 232"/>
                <a:gd name="T105" fmla="*/ 2147483647 h 184"/>
                <a:gd name="T106" fmla="*/ 2147483647 w 232"/>
                <a:gd name="T107" fmla="*/ 2147483647 h 184"/>
                <a:gd name="T108" fmla="*/ 2147483647 w 232"/>
                <a:gd name="T109" fmla="*/ 2147483647 h 18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32"/>
                <a:gd name="T166" fmla="*/ 0 h 184"/>
                <a:gd name="T167" fmla="*/ 232 w 232"/>
                <a:gd name="T168" fmla="*/ 184 h 18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32" h="184">
                  <a:moveTo>
                    <a:pt x="9" y="184"/>
                  </a:moveTo>
                  <a:lnTo>
                    <a:pt x="3" y="180"/>
                  </a:lnTo>
                  <a:lnTo>
                    <a:pt x="0" y="174"/>
                  </a:lnTo>
                  <a:lnTo>
                    <a:pt x="0" y="169"/>
                  </a:lnTo>
                  <a:lnTo>
                    <a:pt x="0" y="165"/>
                  </a:lnTo>
                  <a:lnTo>
                    <a:pt x="2" y="149"/>
                  </a:lnTo>
                  <a:lnTo>
                    <a:pt x="3" y="136"/>
                  </a:lnTo>
                  <a:lnTo>
                    <a:pt x="7" y="121"/>
                  </a:lnTo>
                  <a:lnTo>
                    <a:pt x="9" y="107"/>
                  </a:lnTo>
                  <a:lnTo>
                    <a:pt x="9" y="101"/>
                  </a:lnTo>
                  <a:lnTo>
                    <a:pt x="9" y="98"/>
                  </a:lnTo>
                  <a:lnTo>
                    <a:pt x="9" y="82"/>
                  </a:lnTo>
                  <a:lnTo>
                    <a:pt x="9" y="69"/>
                  </a:lnTo>
                  <a:lnTo>
                    <a:pt x="9" y="59"/>
                  </a:lnTo>
                  <a:lnTo>
                    <a:pt x="9" y="50"/>
                  </a:lnTo>
                  <a:lnTo>
                    <a:pt x="19" y="44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8" y="40"/>
                  </a:lnTo>
                  <a:lnTo>
                    <a:pt x="44" y="28"/>
                  </a:lnTo>
                  <a:lnTo>
                    <a:pt x="48" y="19"/>
                  </a:lnTo>
                  <a:lnTo>
                    <a:pt x="53" y="19"/>
                  </a:lnTo>
                  <a:lnTo>
                    <a:pt x="57" y="19"/>
                  </a:lnTo>
                  <a:lnTo>
                    <a:pt x="57" y="15"/>
                  </a:lnTo>
                  <a:lnTo>
                    <a:pt x="57" y="11"/>
                  </a:lnTo>
                  <a:lnTo>
                    <a:pt x="63" y="5"/>
                  </a:lnTo>
                  <a:lnTo>
                    <a:pt x="67" y="0"/>
                  </a:lnTo>
                  <a:lnTo>
                    <a:pt x="76" y="0"/>
                  </a:lnTo>
                  <a:lnTo>
                    <a:pt x="86" y="0"/>
                  </a:lnTo>
                  <a:lnTo>
                    <a:pt x="94" y="0"/>
                  </a:lnTo>
                  <a:lnTo>
                    <a:pt x="101" y="0"/>
                  </a:lnTo>
                  <a:lnTo>
                    <a:pt x="103" y="4"/>
                  </a:lnTo>
                  <a:lnTo>
                    <a:pt x="105" y="5"/>
                  </a:lnTo>
                  <a:lnTo>
                    <a:pt x="109" y="11"/>
                  </a:lnTo>
                  <a:lnTo>
                    <a:pt x="111" y="19"/>
                  </a:lnTo>
                  <a:lnTo>
                    <a:pt x="113" y="23"/>
                  </a:lnTo>
                  <a:lnTo>
                    <a:pt x="117" y="25"/>
                  </a:lnTo>
                  <a:lnTo>
                    <a:pt x="119" y="27"/>
                  </a:lnTo>
                  <a:lnTo>
                    <a:pt x="120" y="28"/>
                  </a:lnTo>
                  <a:lnTo>
                    <a:pt x="122" y="32"/>
                  </a:lnTo>
                  <a:lnTo>
                    <a:pt x="124" y="34"/>
                  </a:lnTo>
                  <a:lnTo>
                    <a:pt x="128" y="36"/>
                  </a:lnTo>
                  <a:lnTo>
                    <a:pt x="130" y="40"/>
                  </a:lnTo>
                  <a:lnTo>
                    <a:pt x="132" y="42"/>
                  </a:lnTo>
                  <a:lnTo>
                    <a:pt x="136" y="44"/>
                  </a:lnTo>
                  <a:lnTo>
                    <a:pt x="138" y="52"/>
                  </a:lnTo>
                  <a:lnTo>
                    <a:pt x="140" y="59"/>
                  </a:lnTo>
                  <a:lnTo>
                    <a:pt x="142" y="61"/>
                  </a:lnTo>
                  <a:lnTo>
                    <a:pt x="145" y="63"/>
                  </a:lnTo>
                  <a:lnTo>
                    <a:pt x="149" y="67"/>
                  </a:lnTo>
                  <a:lnTo>
                    <a:pt x="157" y="71"/>
                  </a:lnTo>
                  <a:lnTo>
                    <a:pt x="174" y="73"/>
                  </a:lnTo>
                  <a:lnTo>
                    <a:pt x="207" y="78"/>
                  </a:lnTo>
                  <a:lnTo>
                    <a:pt x="211" y="80"/>
                  </a:lnTo>
                  <a:lnTo>
                    <a:pt x="213" y="82"/>
                  </a:lnTo>
                  <a:lnTo>
                    <a:pt x="214" y="90"/>
                  </a:lnTo>
                  <a:lnTo>
                    <a:pt x="216" y="98"/>
                  </a:lnTo>
                  <a:lnTo>
                    <a:pt x="220" y="99"/>
                  </a:lnTo>
                  <a:lnTo>
                    <a:pt x="222" y="101"/>
                  </a:lnTo>
                  <a:lnTo>
                    <a:pt x="224" y="105"/>
                  </a:lnTo>
                  <a:lnTo>
                    <a:pt x="228" y="107"/>
                  </a:lnTo>
                  <a:lnTo>
                    <a:pt x="230" y="109"/>
                  </a:lnTo>
                  <a:lnTo>
                    <a:pt x="232" y="111"/>
                  </a:lnTo>
                  <a:lnTo>
                    <a:pt x="230" y="113"/>
                  </a:lnTo>
                  <a:lnTo>
                    <a:pt x="228" y="117"/>
                  </a:lnTo>
                  <a:lnTo>
                    <a:pt x="220" y="124"/>
                  </a:lnTo>
                  <a:lnTo>
                    <a:pt x="213" y="132"/>
                  </a:lnTo>
                  <a:lnTo>
                    <a:pt x="211" y="134"/>
                  </a:lnTo>
                  <a:lnTo>
                    <a:pt x="207" y="136"/>
                  </a:lnTo>
                  <a:lnTo>
                    <a:pt x="205" y="144"/>
                  </a:lnTo>
                  <a:lnTo>
                    <a:pt x="203" y="149"/>
                  </a:lnTo>
                  <a:lnTo>
                    <a:pt x="201" y="153"/>
                  </a:lnTo>
                  <a:lnTo>
                    <a:pt x="197" y="155"/>
                  </a:lnTo>
                  <a:lnTo>
                    <a:pt x="195" y="157"/>
                  </a:lnTo>
                  <a:lnTo>
                    <a:pt x="193" y="161"/>
                  </a:lnTo>
                  <a:lnTo>
                    <a:pt x="191" y="163"/>
                  </a:lnTo>
                  <a:lnTo>
                    <a:pt x="188" y="165"/>
                  </a:lnTo>
                  <a:lnTo>
                    <a:pt x="180" y="167"/>
                  </a:lnTo>
                  <a:lnTo>
                    <a:pt x="174" y="170"/>
                  </a:lnTo>
                  <a:lnTo>
                    <a:pt x="170" y="172"/>
                  </a:lnTo>
                  <a:lnTo>
                    <a:pt x="168" y="174"/>
                  </a:lnTo>
                  <a:lnTo>
                    <a:pt x="161" y="176"/>
                  </a:lnTo>
                  <a:lnTo>
                    <a:pt x="155" y="178"/>
                  </a:lnTo>
                  <a:lnTo>
                    <a:pt x="151" y="182"/>
                  </a:lnTo>
                  <a:lnTo>
                    <a:pt x="149" y="184"/>
                  </a:lnTo>
                  <a:lnTo>
                    <a:pt x="147" y="182"/>
                  </a:lnTo>
                  <a:lnTo>
                    <a:pt x="145" y="178"/>
                  </a:lnTo>
                  <a:lnTo>
                    <a:pt x="142" y="176"/>
                  </a:lnTo>
                  <a:lnTo>
                    <a:pt x="140" y="174"/>
                  </a:lnTo>
                  <a:lnTo>
                    <a:pt x="138" y="172"/>
                  </a:lnTo>
                  <a:lnTo>
                    <a:pt x="136" y="170"/>
                  </a:lnTo>
                  <a:lnTo>
                    <a:pt x="128" y="167"/>
                  </a:lnTo>
                  <a:lnTo>
                    <a:pt x="120" y="165"/>
                  </a:lnTo>
                  <a:lnTo>
                    <a:pt x="119" y="163"/>
                  </a:lnTo>
                  <a:lnTo>
                    <a:pt x="117" y="161"/>
                  </a:lnTo>
                  <a:lnTo>
                    <a:pt x="111" y="157"/>
                  </a:lnTo>
                  <a:lnTo>
                    <a:pt x="101" y="157"/>
                  </a:lnTo>
                  <a:lnTo>
                    <a:pt x="92" y="157"/>
                  </a:lnTo>
                  <a:lnTo>
                    <a:pt x="86" y="161"/>
                  </a:lnTo>
                  <a:lnTo>
                    <a:pt x="84" y="163"/>
                  </a:lnTo>
                  <a:lnTo>
                    <a:pt x="82" y="165"/>
                  </a:lnTo>
                  <a:lnTo>
                    <a:pt x="71" y="167"/>
                  </a:lnTo>
                  <a:lnTo>
                    <a:pt x="57" y="170"/>
                  </a:lnTo>
                  <a:lnTo>
                    <a:pt x="55" y="172"/>
                  </a:lnTo>
                  <a:lnTo>
                    <a:pt x="53" y="174"/>
                  </a:lnTo>
                  <a:lnTo>
                    <a:pt x="46" y="176"/>
                  </a:lnTo>
                  <a:lnTo>
                    <a:pt x="38" y="178"/>
                  </a:lnTo>
                  <a:lnTo>
                    <a:pt x="36" y="182"/>
                  </a:lnTo>
                  <a:lnTo>
                    <a:pt x="34" y="184"/>
                  </a:lnTo>
                  <a:lnTo>
                    <a:pt x="21" y="184"/>
                  </a:lnTo>
                  <a:lnTo>
                    <a:pt x="9" y="184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6" name="Freeform 346">
              <a:extLst>
                <a:ext uri="{FF2B5EF4-FFF2-40B4-BE49-F238E27FC236}">
                  <a16:creationId xmlns:a16="http://schemas.microsoft.com/office/drawing/2014/main" xmlns="" id="{CA1C08C4-35E8-9240-8D5B-CA2C45D43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2225" y="3230378"/>
              <a:ext cx="395288" cy="292100"/>
            </a:xfrm>
            <a:custGeom>
              <a:avLst/>
              <a:gdLst>
                <a:gd name="T0" fmla="*/ 2147483647 w 255"/>
                <a:gd name="T1" fmla="*/ 2147483647 h 194"/>
                <a:gd name="T2" fmla="*/ 2147483647 w 255"/>
                <a:gd name="T3" fmla="*/ 2147483647 h 194"/>
                <a:gd name="T4" fmla="*/ 2147483647 w 255"/>
                <a:gd name="T5" fmla="*/ 2147483647 h 194"/>
                <a:gd name="T6" fmla="*/ 2147483647 w 255"/>
                <a:gd name="T7" fmla="*/ 2147483647 h 194"/>
                <a:gd name="T8" fmla="*/ 2147483647 w 255"/>
                <a:gd name="T9" fmla="*/ 2147483647 h 194"/>
                <a:gd name="T10" fmla="*/ 2147483647 w 255"/>
                <a:gd name="T11" fmla="*/ 2147483647 h 194"/>
                <a:gd name="T12" fmla="*/ 2147483647 w 255"/>
                <a:gd name="T13" fmla="*/ 2147483647 h 194"/>
                <a:gd name="T14" fmla="*/ 2147483647 w 255"/>
                <a:gd name="T15" fmla="*/ 2147483647 h 194"/>
                <a:gd name="T16" fmla="*/ 2147483647 w 255"/>
                <a:gd name="T17" fmla="*/ 2147483647 h 194"/>
                <a:gd name="T18" fmla="*/ 2147483647 w 255"/>
                <a:gd name="T19" fmla="*/ 2147483647 h 194"/>
                <a:gd name="T20" fmla="*/ 2147483647 w 255"/>
                <a:gd name="T21" fmla="*/ 2147483647 h 194"/>
                <a:gd name="T22" fmla="*/ 2147483647 w 255"/>
                <a:gd name="T23" fmla="*/ 2147483647 h 194"/>
                <a:gd name="T24" fmla="*/ 2147483647 w 255"/>
                <a:gd name="T25" fmla="*/ 2147483647 h 194"/>
                <a:gd name="T26" fmla="*/ 2147483647 w 255"/>
                <a:gd name="T27" fmla="*/ 2147483647 h 194"/>
                <a:gd name="T28" fmla="*/ 2147483647 w 255"/>
                <a:gd name="T29" fmla="*/ 2147483647 h 194"/>
                <a:gd name="T30" fmla="*/ 2147483647 w 255"/>
                <a:gd name="T31" fmla="*/ 2147483647 h 194"/>
                <a:gd name="T32" fmla="*/ 2147483647 w 255"/>
                <a:gd name="T33" fmla="*/ 2147483647 h 194"/>
                <a:gd name="T34" fmla="*/ 2147483647 w 255"/>
                <a:gd name="T35" fmla="*/ 2147483647 h 194"/>
                <a:gd name="T36" fmla="*/ 2147483647 w 255"/>
                <a:gd name="T37" fmla="*/ 2147483647 h 194"/>
                <a:gd name="T38" fmla="*/ 2147483647 w 255"/>
                <a:gd name="T39" fmla="*/ 2147483647 h 194"/>
                <a:gd name="T40" fmla="*/ 2147483647 w 255"/>
                <a:gd name="T41" fmla="*/ 2147483647 h 194"/>
                <a:gd name="T42" fmla="*/ 2147483647 w 255"/>
                <a:gd name="T43" fmla="*/ 2147483647 h 194"/>
                <a:gd name="T44" fmla="*/ 2147483647 w 255"/>
                <a:gd name="T45" fmla="*/ 2147483647 h 194"/>
                <a:gd name="T46" fmla="*/ 2147483647 w 255"/>
                <a:gd name="T47" fmla="*/ 2147483647 h 194"/>
                <a:gd name="T48" fmla="*/ 2147483647 w 255"/>
                <a:gd name="T49" fmla="*/ 2147483647 h 194"/>
                <a:gd name="T50" fmla="*/ 2147483647 w 255"/>
                <a:gd name="T51" fmla="*/ 2147483647 h 194"/>
                <a:gd name="T52" fmla="*/ 2147483647 w 255"/>
                <a:gd name="T53" fmla="*/ 2147483647 h 194"/>
                <a:gd name="T54" fmla="*/ 2147483647 w 255"/>
                <a:gd name="T55" fmla="*/ 2147483647 h 194"/>
                <a:gd name="T56" fmla="*/ 2147483647 w 255"/>
                <a:gd name="T57" fmla="*/ 2147483647 h 194"/>
                <a:gd name="T58" fmla="*/ 2147483647 w 255"/>
                <a:gd name="T59" fmla="*/ 2147483647 h 194"/>
                <a:gd name="T60" fmla="*/ 2147483647 w 255"/>
                <a:gd name="T61" fmla="*/ 2147483647 h 194"/>
                <a:gd name="T62" fmla="*/ 2147483647 w 255"/>
                <a:gd name="T63" fmla="*/ 2147483647 h 194"/>
                <a:gd name="T64" fmla="*/ 2147483647 w 255"/>
                <a:gd name="T65" fmla="*/ 2147483647 h 194"/>
                <a:gd name="T66" fmla="*/ 2147483647 w 255"/>
                <a:gd name="T67" fmla="*/ 2147483647 h 194"/>
                <a:gd name="T68" fmla="*/ 2147483647 w 255"/>
                <a:gd name="T69" fmla="*/ 2147483647 h 194"/>
                <a:gd name="T70" fmla="*/ 2147483647 w 255"/>
                <a:gd name="T71" fmla="*/ 2147483647 h 194"/>
                <a:gd name="T72" fmla="*/ 2147483647 w 255"/>
                <a:gd name="T73" fmla="*/ 2147483647 h 194"/>
                <a:gd name="T74" fmla="*/ 2147483647 w 255"/>
                <a:gd name="T75" fmla="*/ 2147483647 h 194"/>
                <a:gd name="T76" fmla="*/ 2147483647 w 255"/>
                <a:gd name="T77" fmla="*/ 2147483647 h 194"/>
                <a:gd name="T78" fmla="*/ 2147483647 w 255"/>
                <a:gd name="T79" fmla="*/ 2147483647 h 194"/>
                <a:gd name="T80" fmla="*/ 2147483647 w 255"/>
                <a:gd name="T81" fmla="*/ 2147483647 h 194"/>
                <a:gd name="T82" fmla="*/ 2147483647 w 255"/>
                <a:gd name="T83" fmla="*/ 0 h 194"/>
                <a:gd name="T84" fmla="*/ 2147483647 w 255"/>
                <a:gd name="T85" fmla="*/ 2147483647 h 194"/>
                <a:gd name="T86" fmla="*/ 2147483647 w 255"/>
                <a:gd name="T87" fmla="*/ 2147483647 h 194"/>
                <a:gd name="T88" fmla="*/ 2147483647 w 255"/>
                <a:gd name="T89" fmla="*/ 2147483647 h 194"/>
                <a:gd name="T90" fmla="*/ 2147483647 w 255"/>
                <a:gd name="T91" fmla="*/ 2147483647 h 194"/>
                <a:gd name="T92" fmla="*/ 2147483647 w 255"/>
                <a:gd name="T93" fmla="*/ 2147483647 h 194"/>
                <a:gd name="T94" fmla="*/ 2147483647 w 255"/>
                <a:gd name="T95" fmla="*/ 2147483647 h 194"/>
                <a:gd name="T96" fmla="*/ 2147483647 w 255"/>
                <a:gd name="T97" fmla="*/ 2147483647 h 194"/>
                <a:gd name="T98" fmla="*/ 2147483647 w 255"/>
                <a:gd name="T99" fmla="*/ 2147483647 h 194"/>
                <a:gd name="T100" fmla="*/ 2147483647 w 255"/>
                <a:gd name="T101" fmla="*/ 2147483647 h 194"/>
                <a:gd name="T102" fmla="*/ 2147483647 w 255"/>
                <a:gd name="T103" fmla="*/ 2147483647 h 194"/>
                <a:gd name="T104" fmla="*/ 2147483647 w 255"/>
                <a:gd name="T105" fmla="*/ 2147483647 h 194"/>
                <a:gd name="T106" fmla="*/ 2147483647 w 255"/>
                <a:gd name="T107" fmla="*/ 2147483647 h 194"/>
                <a:gd name="T108" fmla="*/ 2147483647 w 255"/>
                <a:gd name="T109" fmla="*/ 2147483647 h 194"/>
                <a:gd name="T110" fmla="*/ 2147483647 w 255"/>
                <a:gd name="T111" fmla="*/ 2147483647 h 194"/>
                <a:gd name="T112" fmla="*/ 2147483647 w 255"/>
                <a:gd name="T113" fmla="*/ 2147483647 h 194"/>
                <a:gd name="T114" fmla="*/ 2147483647 w 255"/>
                <a:gd name="T115" fmla="*/ 2147483647 h 194"/>
                <a:gd name="T116" fmla="*/ 2147483647 w 255"/>
                <a:gd name="T117" fmla="*/ 2147483647 h 194"/>
                <a:gd name="T118" fmla="*/ 2147483647 w 255"/>
                <a:gd name="T119" fmla="*/ 2147483647 h 194"/>
                <a:gd name="T120" fmla="*/ 2147483647 w 255"/>
                <a:gd name="T121" fmla="*/ 2147483647 h 194"/>
                <a:gd name="T122" fmla="*/ 2147483647 w 255"/>
                <a:gd name="T123" fmla="*/ 2147483647 h 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5"/>
                <a:gd name="T187" fmla="*/ 0 h 194"/>
                <a:gd name="T188" fmla="*/ 255 w 255"/>
                <a:gd name="T189" fmla="*/ 194 h 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5" h="194">
                  <a:moveTo>
                    <a:pt x="255" y="194"/>
                  </a:moveTo>
                  <a:lnTo>
                    <a:pt x="253" y="192"/>
                  </a:lnTo>
                  <a:lnTo>
                    <a:pt x="251" y="190"/>
                  </a:lnTo>
                  <a:lnTo>
                    <a:pt x="244" y="188"/>
                  </a:lnTo>
                  <a:lnTo>
                    <a:pt x="236" y="185"/>
                  </a:lnTo>
                  <a:lnTo>
                    <a:pt x="234" y="183"/>
                  </a:lnTo>
                  <a:lnTo>
                    <a:pt x="232" y="181"/>
                  </a:lnTo>
                  <a:lnTo>
                    <a:pt x="226" y="181"/>
                  </a:lnTo>
                  <a:lnTo>
                    <a:pt x="223" y="181"/>
                  </a:lnTo>
                  <a:lnTo>
                    <a:pt x="219" y="183"/>
                  </a:lnTo>
                  <a:lnTo>
                    <a:pt x="217" y="185"/>
                  </a:lnTo>
                  <a:lnTo>
                    <a:pt x="215" y="183"/>
                  </a:lnTo>
                  <a:lnTo>
                    <a:pt x="211" y="181"/>
                  </a:lnTo>
                  <a:lnTo>
                    <a:pt x="200" y="173"/>
                  </a:lnTo>
                  <a:lnTo>
                    <a:pt x="188" y="165"/>
                  </a:lnTo>
                  <a:lnTo>
                    <a:pt x="186" y="163"/>
                  </a:lnTo>
                  <a:lnTo>
                    <a:pt x="182" y="162"/>
                  </a:lnTo>
                  <a:lnTo>
                    <a:pt x="180" y="158"/>
                  </a:lnTo>
                  <a:lnTo>
                    <a:pt x="178" y="156"/>
                  </a:lnTo>
                  <a:lnTo>
                    <a:pt x="175" y="154"/>
                  </a:lnTo>
                  <a:lnTo>
                    <a:pt x="173" y="152"/>
                  </a:lnTo>
                  <a:lnTo>
                    <a:pt x="154" y="152"/>
                  </a:lnTo>
                  <a:lnTo>
                    <a:pt x="134" y="152"/>
                  </a:lnTo>
                  <a:lnTo>
                    <a:pt x="132" y="154"/>
                  </a:lnTo>
                  <a:lnTo>
                    <a:pt x="130" y="156"/>
                  </a:lnTo>
                  <a:lnTo>
                    <a:pt x="123" y="158"/>
                  </a:lnTo>
                  <a:lnTo>
                    <a:pt x="115" y="162"/>
                  </a:lnTo>
                  <a:lnTo>
                    <a:pt x="113" y="163"/>
                  </a:lnTo>
                  <a:lnTo>
                    <a:pt x="111" y="165"/>
                  </a:lnTo>
                  <a:lnTo>
                    <a:pt x="106" y="165"/>
                  </a:lnTo>
                  <a:lnTo>
                    <a:pt x="102" y="165"/>
                  </a:lnTo>
                  <a:lnTo>
                    <a:pt x="98" y="163"/>
                  </a:lnTo>
                  <a:lnTo>
                    <a:pt x="96" y="162"/>
                  </a:lnTo>
                  <a:lnTo>
                    <a:pt x="88" y="158"/>
                  </a:lnTo>
                  <a:lnTo>
                    <a:pt x="81" y="156"/>
                  </a:lnTo>
                  <a:lnTo>
                    <a:pt x="79" y="154"/>
                  </a:lnTo>
                  <a:lnTo>
                    <a:pt x="77" y="152"/>
                  </a:lnTo>
                  <a:lnTo>
                    <a:pt x="59" y="148"/>
                  </a:lnTo>
                  <a:lnTo>
                    <a:pt x="42" y="146"/>
                  </a:lnTo>
                  <a:lnTo>
                    <a:pt x="40" y="144"/>
                  </a:lnTo>
                  <a:lnTo>
                    <a:pt x="38" y="142"/>
                  </a:lnTo>
                  <a:lnTo>
                    <a:pt x="31" y="138"/>
                  </a:lnTo>
                  <a:lnTo>
                    <a:pt x="23" y="137"/>
                  </a:lnTo>
                  <a:lnTo>
                    <a:pt x="21" y="135"/>
                  </a:lnTo>
                  <a:lnTo>
                    <a:pt x="19" y="133"/>
                  </a:lnTo>
                  <a:lnTo>
                    <a:pt x="12" y="129"/>
                  </a:lnTo>
                  <a:lnTo>
                    <a:pt x="4" y="127"/>
                  </a:lnTo>
                  <a:lnTo>
                    <a:pt x="2" y="125"/>
                  </a:lnTo>
                  <a:lnTo>
                    <a:pt x="0" y="123"/>
                  </a:lnTo>
                  <a:lnTo>
                    <a:pt x="2" y="119"/>
                  </a:lnTo>
                  <a:lnTo>
                    <a:pt x="4" y="117"/>
                  </a:lnTo>
                  <a:lnTo>
                    <a:pt x="6" y="110"/>
                  </a:lnTo>
                  <a:lnTo>
                    <a:pt x="10" y="104"/>
                  </a:lnTo>
                  <a:lnTo>
                    <a:pt x="12" y="100"/>
                  </a:lnTo>
                  <a:lnTo>
                    <a:pt x="13" y="98"/>
                  </a:lnTo>
                  <a:lnTo>
                    <a:pt x="15" y="96"/>
                  </a:lnTo>
                  <a:lnTo>
                    <a:pt x="19" y="92"/>
                  </a:lnTo>
                  <a:lnTo>
                    <a:pt x="21" y="91"/>
                  </a:lnTo>
                  <a:lnTo>
                    <a:pt x="23" y="89"/>
                  </a:lnTo>
                  <a:lnTo>
                    <a:pt x="25" y="85"/>
                  </a:lnTo>
                  <a:lnTo>
                    <a:pt x="29" y="83"/>
                  </a:lnTo>
                  <a:lnTo>
                    <a:pt x="31" y="81"/>
                  </a:lnTo>
                  <a:lnTo>
                    <a:pt x="33" y="79"/>
                  </a:lnTo>
                  <a:lnTo>
                    <a:pt x="36" y="77"/>
                  </a:lnTo>
                  <a:lnTo>
                    <a:pt x="38" y="73"/>
                  </a:lnTo>
                  <a:lnTo>
                    <a:pt x="40" y="71"/>
                  </a:lnTo>
                  <a:lnTo>
                    <a:pt x="42" y="69"/>
                  </a:lnTo>
                  <a:lnTo>
                    <a:pt x="46" y="64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2" y="31"/>
                  </a:lnTo>
                  <a:lnTo>
                    <a:pt x="40" y="27"/>
                  </a:lnTo>
                  <a:lnTo>
                    <a:pt x="38" y="25"/>
                  </a:lnTo>
                  <a:lnTo>
                    <a:pt x="40" y="23"/>
                  </a:lnTo>
                  <a:lnTo>
                    <a:pt x="42" y="21"/>
                  </a:lnTo>
                  <a:lnTo>
                    <a:pt x="46" y="18"/>
                  </a:lnTo>
                  <a:lnTo>
                    <a:pt x="48" y="16"/>
                  </a:lnTo>
                  <a:lnTo>
                    <a:pt x="50" y="14"/>
                  </a:lnTo>
                  <a:lnTo>
                    <a:pt x="52" y="12"/>
                  </a:lnTo>
                  <a:lnTo>
                    <a:pt x="65" y="8"/>
                  </a:lnTo>
                  <a:lnTo>
                    <a:pt x="77" y="6"/>
                  </a:lnTo>
                  <a:lnTo>
                    <a:pt x="79" y="4"/>
                  </a:lnTo>
                  <a:lnTo>
                    <a:pt x="81" y="0"/>
                  </a:lnTo>
                  <a:lnTo>
                    <a:pt x="86" y="0"/>
                  </a:lnTo>
                  <a:lnTo>
                    <a:pt x="90" y="0"/>
                  </a:lnTo>
                  <a:lnTo>
                    <a:pt x="94" y="4"/>
                  </a:lnTo>
                  <a:lnTo>
                    <a:pt x="96" y="6"/>
                  </a:lnTo>
                  <a:lnTo>
                    <a:pt x="113" y="8"/>
                  </a:lnTo>
                  <a:lnTo>
                    <a:pt x="130" y="12"/>
                  </a:lnTo>
                  <a:lnTo>
                    <a:pt x="132" y="14"/>
                  </a:lnTo>
                  <a:lnTo>
                    <a:pt x="134" y="16"/>
                  </a:lnTo>
                  <a:lnTo>
                    <a:pt x="157" y="18"/>
                  </a:lnTo>
                  <a:lnTo>
                    <a:pt x="178" y="21"/>
                  </a:lnTo>
                  <a:lnTo>
                    <a:pt x="180" y="23"/>
                  </a:lnTo>
                  <a:lnTo>
                    <a:pt x="182" y="25"/>
                  </a:lnTo>
                  <a:lnTo>
                    <a:pt x="186" y="33"/>
                  </a:lnTo>
                  <a:lnTo>
                    <a:pt x="188" y="41"/>
                  </a:lnTo>
                  <a:lnTo>
                    <a:pt x="190" y="43"/>
                  </a:lnTo>
                  <a:lnTo>
                    <a:pt x="194" y="44"/>
                  </a:lnTo>
                  <a:lnTo>
                    <a:pt x="205" y="46"/>
                  </a:lnTo>
                  <a:lnTo>
                    <a:pt x="217" y="50"/>
                  </a:lnTo>
                  <a:lnTo>
                    <a:pt x="219" y="52"/>
                  </a:lnTo>
                  <a:lnTo>
                    <a:pt x="223" y="54"/>
                  </a:lnTo>
                  <a:lnTo>
                    <a:pt x="224" y="71"/>
                  </a:lnTo>
                  <a:lnTo>
                    <a:pt x="226" y="89"/>
                  </a:lnTo>
                  <a:lnTo>
                    <a:pt x="228" y="91"/>
                  </a:lnTo>
                  <a:lnTo>
                    <a:pt x="232" y="92"/>
                  </a:lnTo>
                  <a:lnTo>
                    <a:pt x="234" y="96"/>
                  </a:lnTo>
                  <a:lnTo>
                    <a:pt x="236" y="98"/>
                  </a:lnTo>
                  <a:lnTo>
                    <a:pt x="238" y="100"/>
                  </a:lnTo>
                  <a:lnTo>
                    <a:pt x="242" y="104"/>
                  </a:lnTo>
                  <a:lnTo>
                    <a:pt x="244" y="106"/>
                  </a:lnTo>
                  <a:lnTo>
                    <a:pt x="246" y="108"/>
                  </a:lnTo>
                  <a:lnTo>
                    <a:pt x="248" y="110"/>
                  </a:lnTo>
                  <a:lnTo>
                    <a:pt x="251" y="112"/>
                  </a:lnTo>
                  <a:lnTo>
                    <a:pt x="251" y="121"/>
                  </a:lnTo>
                  <a:lnTo>
                    <a:pt x="251" y="133"/>
                  </a:lnTo>
                  <a:lnTo>
                    <a:pt x="248" y="135"/>
                  </a:lnTo>
                  <a:lnTo>
                    <a:pt x="246" y="137"/>
                  </a:lnTo>
                  <a:lnTo>
                    <a:pt x="246" y="146"/>
                  </a:lnTo>
                  <a:lnTo>
                    <a:pt x="246" y="156"/>
                  </a:lnTo>
                  <a:lnTo>
                    <a:pt x="248" y="158"/>
                  </a:lnTo>
                  <a:lnTo>
                    <a:pt x="251" y="162"/>
                  </a:lnTo>
                  <a:lnTo>
                    <a:pt x="253" y="177"/>
                  </a:lnTo>
                  <a:lnTo>
                    <a:pt x="255" y="194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7" name="Freeform 347">
              <a:extLst>
                <a:ext uri="{FF2B5EF4-FFF2-40B4-BE49-F238E27FC236}">
                  <a16:creationId xmlns:a16="http://schemas.microsoft.com/office/drawing/2014/main" xmlns="" id="{3046319E-9A2C-F744-B9B3-D85B9052E0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3788" y="3076391"/>
              <a:ext cx="287337" cy="446087"/>
            </a:xfrm>
            <a:custGeom>
              <a:avLst/>
              <a:gdLst>
                <a:gd name="T0" fmla="*/ 2147483647 w 185"/>
                <a:gd name="T1" fmla="*/ 2147483647 h 299"/>
                <a:gd name="T2" fmla="*/ 2147483647 w 185"/>
                <a:gd name="T3" fmla="*/ 2147483647 h 299"/>
                <a:gd name="T4" fmla="*/ 2147483647 w 185"/>
                <a:gd name="T5" fmla="*/ 2147483647 h 299"/>
                <a:gd name="T6" fmla="*/ 2147483647 w 185"/>
                <a:gd name="T7" fmla="*/ 2147483647 h 299"/>
                <a:gd name="T8" fmla="*/ 2147483647 w 185"/>
                <a:gd name="T9" fmla="*/ 2147483647 h 299"/>
                <a:gd name="T10" fmla="*/ 2147483647 w 185"/>
                <a:gd name="T11" fmla="*/ 2147483647 h 299"/>
                <a:gd name="T12" fmla="*/ 2147483647 w 185"/>
                <a:gd name="T13" fmla="*/ 2147483647 h 299"/>
                <a:gd name="T14" fmla="*/ 2147483647 w 185"/>
                <a:gd name="T15" fmla="*/ 2147483647 h 299"/>
                <a:gd name="T16" fmla="*/ 2147483647 w 185"/>
                <a:gd name="T17" fmla="*/ 2147483647 h 299"/>
                <a:gd name="T18" fmla="*/ 2147483647 w 185"/>
                <a:gd name="T19" fmla="*/ 2147483647 h 299"/>
                <a:gd name="T20" fmla="*/ 2147483647 w 185"/>
                <a:gd name="T21" fmla="*/ 2147483647 h 299"/>
                <a:gd name="T22" fmla="*/ 2147483647 w 185"/>
                <a:gd name="T23" fmla="*/ 2147483647 h 299"/>
                <a:gd name="T24" fmla="*/ 2147483647 w 185"/>
                <a:gd name="T25" fmla="*/ 2147483647 h 299"/>
                <a:gd name="T26" fmla="*/ 2147483647 w 185"/>
                <a:gd name="T27" fmla="*/ 2147483647 h 299"/>
                <a:gd name="T28" fmla="*/ 2147483647 w 185"/>
                <a:gd name="T29" fmla="*/ 2147483647 h 299"/>
                <a:gd name="T30" fmla="*/ 2147483647 w 185"/>
                <a:gd name="T31" fmla="*/ 2147483647 h 299"/>
                <a:gd name="T32" fmla="*/ 2147483647 w 185"/>
                <a:gd name="T33" fmla="*/ 2147483647 h 299"/>
                <a:gd name="T34" fmla="*/ 2147483647 w 185"/>
                <a:gd name="T35" fmla="*/ 2147483647 h 299"/>
                <a:gd name="T36" fmla="*/ 2147483647 w 185"/>
                <a:gd name="T37" fmla="*/ 2147483647 h 299"/>
                <a:gd name="T38" fmla="*/ 2147483647 w 185"/>
                <a:gd name="T39" fmla="*/ 2147483647 h 299"/>
                <a:gd name="T40" fmla="*/ 2147483647 w 185"/>
                <a:gd name="T41" fmla="*/ 2147483647 h 299"/>
                <a:gd name="T42" fmla="*/ 2147483647 w 185"/>
                <a:gd name="T43" fmla="*/ 2147483647 h 299"/>
                <a:gd name="T44" fmla="*/ 2147483647 w 185"/>
                <a:gd name="T45" fmla="*/ 2147483647 h 299"/>
                <a:gd name="T46" fmla="*/ 2147483647 w 185"/>
                <a:gd name="T47" fmla="*/ 2147483647 h 299"/>
                <a:gd name="T48" fmla="*/ 2147483647 w 185"/>
                <a:gd name="T49" fmla="*/ 0 h 299"/>
                <a:gd name="T50" fmla="*/ 2147483647 w 185"/>
                <a:gd name="T51" fmla="*/ 2147483647 h 299"/>
                <a:gd name="T52" fmla="*/ 2147483647 w 185"/>
                <a:gd name="T53" fmla="*/ 2147483647 h 299"/>
                <a:gd name="T54" fmla="*/ 2147483647 w 185"/>
                <a:gd name="T55" fmla="*/ 2147483647 h 299"/>
                <a:gd name="T56" fmla="*/ 2147483647 w 185"/>
                <a:gd name="T57" fmla="*/ 2147483647 h 299"/>
                <a:gd name="T58" fmla="*/ 2147483647 w 185"/>
                <a:gd name="T59" fmla="*/ 2147483647 h 299"/>
                <a:gd name="T60" fmla="*/ 2147483647 w 185"/>
                <a:gd name="T61" fmla="*/ 2147483647 h 299"/>
                <a:gd name="T62" fmla="*/ 2147483647 w 185"/>
                <a:gd name="T63" fmla="*/ 2147483647 h 299"/>
                <a:gd name="T64" fmla="*/ 2147483647 w 185"/>
                <a:gd name="T65" fmla="*/ 2147483647 h 299"/>
                <a:gd name="T66" fmla="*/ 2147483647 w 185"/>
                <a:gd name="T67" fmla="*/ 2147483647 h 299"/>
                <a:gd name="T68" fmla="*/ 2147483647 w 185"/>
                <a:gd name="T69" fmla="*/ 2147483647 h 299"/>
                <a:gd name="T70" fmla="*/ 2147483647 w 185"/>
                <a:gd name="T71" fmla="*/ 2147483647 h 299"/>
                <a:gd name="T72" fmla="*/ 2147483647 w 185"/>
                <a:gd name="T73" fmla="*/ 2147483647 h 299"/>
                <a:gd name="T74" fmla="*/ 2147483647 w 185"/>
                <a:gd name="T75" fmla="*/ 2147483647 h 299"/>
                <a:gd name="T76" fmla="*/ 2147483647 w 185"/>
                <a:gd name="T77" fmla="*/ 2147483647 h 299"/>
                <a:gd name="T78" fmla="*/ 2147483647 w 185"/>
                <a:gd name="T79" fmla="*/ 2147483647 h 299"/>
                <a:gd name="T80" fmla="*/ 2147483647 w 185"/>
                <a:gd name="T81" fmla="*/ 2147483647 h 299"/>
                <a:gd name="T82" fmla="*/ 2147483647 w 185"/>
                <a:gd name="T83" fmla="*/ 2147483647 h 299"/>
                <a:gd name="T84" fmla="*/ 2147483647 w 185"/>
                <a:gd name="T85" fmla="*/ 2147483647 h 299"/>
                <a:gd name="T86" fmla="*/ 2147483647 w 185"/>
                <a:gd name="T87" fmla="*/ 2147483647 h 299"/>
                <a:gd name="T88" fmla="*/ 2147483647 w 185"/>
                <a:gd name="T89" fmla="*/ 2147483647 h 299"/>
                <a:gd name="T90" fmla="*/ 2147483647 w 185"/>
                <a:gd name="T91" fmla="*/ 2147483647 h 299"/>
                <a:gd name="T92" fmla="*/ 2147483647 w 185"/>
                <a:gd name="T93" fmla="*/ 2147483647 h 299"/>
                <a:gd name="T94" fmla="*/ 2147483647 w 185"/>
                <a:gd name="T95" fmla="*/ 2147483647 h 299"/>
                <a:gd name="T96" fmla="*/ 2147483647 w 185"/>
                <a:gd name="T97" fmla="*/ 2147483647 h 299"/>
                <a:gd name="T98" fmla="*/ 2147483647 w 185"/>
                <a:gd name="T99" fmla="*/ 2147483647 h 299"/>
                <a:gd name="T100" fmla="*/ 2147483647 w 185"/>
                <a:gd name="T101" fmla="*/ 2147483647 h 299"/>
                <a:gd name="T102" fmla="*/ 2147483647 w 185"/>
                <a:gd name="T103" fmla="*/ 2147483647 h 299"/>
                <a:gd name="T104" fmla="*/ 2147483647 w 185"/>
                <a:gd name="T105" fmla="*/ 2147483647 h 299"/>
                <a:gd name="T106" fmla="*/ 2147483647 w 185"/>
                <a:gd name="T107" fmla="*/ 2147483647 h 299"/>
                <a:gd name="T108" fmla="*/ 2147483647 w 185"/>
                <a:gd name="T109" fmla="*/ 2147483647 h 299"/>
                <a:gd name="T110" fmla="*/ 2147483647 w 185"/>
                <a:gd name="T111" fmla="*/ 2147483647 h 299"/>
                <a:gd name="T112" fmla="*/ 2147483647 w 185"/>
                <a:gd name="T113" fmla="*/ 2147483647 h 29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85"/>
                <a:gd name="T172" fmla="*/ 0 h 299"/>
                <a:gd name="T173" fmla="*/ 185 w 185"/>
                <a:gd name="T174" fmla="*/ 299 h 29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85" h="299">
                  <a:moveTo>
                    <a:pt x="29" y="261"/>
                  </a:moveTo>
                  <a:lnTo>
                    <a:pt x="33" y="259"/>
                  </a:lnTo>
                  <a:lnTo>
                    <a:pt x="31" y="257"/>
                  </a:lnTo>
                  <a:lnTo>
                    <a:pt x="27" y="255"/>
                  </a:lnTo>
                  <a:lnTo>
                    <a:pt x="20" y="251"/>
                  </a:lnTo>
                  <a:lnTo>
                    <a:pt x="18" y="251"/>
                  </a:lnTo>
                  <a:lnTo>
                    <a:pt x="16" y="249"/>
                  </a:lnTo>
                  <a:lnTo>
                    <a:pt x="16" y="247"/>
                  </a:lnTo>
                  <a:lnTo>
                    <a:pt x="14" y="242"/>
                  </a:lnTo>
                  <a:lnTo>
                    <a:pt x="8" y="219"/>
                  </a:lnTo>
                  <a:lnTo>
                    <a:pt x="0" y="174"/>
                  </a:lnTo>
                  <a:lnTo>
                    <a:pt x="4" y="169"/>
                  </a:lnTo>
                  <a:lnTo>
                    <a:pt x="10" y="165"/>
                  </a:lnTo>
                  <a:lnTo>
                    <a:pt x="16" y="159"/>
                  </a:lnTo>
                  <a:lnTo>
                    <a:pt x="20" y="155"/>
                  </a:lnTo>
                  <a:lnTo>
                    <a:pt x="20" y="146"/>
                  </a:lnTo>
                  <a:lnTo>
                    <a:pt x="20" y="136"/>
                  </a:lnTo>
                  <a:lnTo>
                    <a:pt x="25" y="136"/>
                  </a:lnTo>
                  <a:lnTo>
                    <a:pt x="29" y="136"/>
                  </a:lnTo>
                  <a:lnTo>
                    <a:pt x="35" y="130"/>
                  </a:lnTo>
                  <a:lnTo>
                    <a:pt x="39" y="126"/>
                  </a:lnTo>
                  <a:lnTo>
                    <a:pt x="45" y="121"/>
                  </a:lnTo>
                  <a:lnTo>
                    <a:pt x="48" y="117"/>
                  </a:lnTo>
                  <a:lnTo>
                    <a:pt x="54" y="111"/>
                  </a:lnTo>
                  <a:lnTo>
                    <a:pt x="58" y="105"/>
                  </a:lnTo>
                  <a:lnTo>
                    <a:pt x="64" y="101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8" y="88"/>
                  </a:lnTo>
                  <a:lnTo>
                    <a:pt x="68" y="82"/>
                  </a:lnTo>
                  <a:lnTo>
                    <a:pt x="68" y="77"/>
                  </a:lnTo>
                  <a:lnTo>
                    <a:pt x="77" y="73"/>
                  </a:lnTo>
                  <a:lnTo>
                    <a:pt x="89" y="67"/>
                  </a:lnTo>
                  <a:lnTo>
                    <a:pt x="92" y="63"/>
                  </a:lnTo>
                  <a:lnTo>
                    <a:pt x="96" y="57"/>
                  </a:lnTo>
                  <a:lnTo>
                    <a:pt x="102" y="54"/>
                  </a:lnTo>
                  <a:lnTo>
                    <a:pt x="108" y="48"/>
                  </a:lnTo>
                  <a:lnTo>
                    <a:pt x="112" y="44"/>
                  </a:lnTo>
                  <a:lnTo>
                    <a:pt x="117" y="38"/>
                  </a:lnTo>
                  <a:lnTo>
                    <a:pt x="117" y="34"/>
                  </a:lnTo>
                  <a:lnTo>
                    <a:pt x="117" y="29"/>
                  </a:lnTo>
                  <a:lnTo>
                    <a:pt x="117" y="25"/>
                  </a:lnTo>
                  <a:lnTo>
                    <a:pt x="117" y="19"/>
                  </a:lnTo>
                  <a:lnTo>
                    <a:pt x="121" y="19"/>
                  </a:lnTo>
                  <a:lnTo>
                    <a:pt x="127" y="19"/>
                  </a:lnTo>
                  <a:lnTo>
                    <a:pt x="131" y="13"/>
                  </a:lnTo>
                  <a:lnTo>
                    <a:pt x="137" y="9"/>
                  </a:lnTo>
                  <a:lnTo>
                    <a:pt x="140" y="6"/>
                  </a:lnTo>
                  <a:lnTo>
                    <a:pt x="146" y="0"/>
                  </a:lnTo>
                  <a:lnTo>
                    <a:pt x="156" y="0"/>
                  </a:lnTo>
                  <a:lnTo>
                    <a:pt x="165" y="0"/>
                  </a:lnTo>
                  <a:lnTo>
                    <a:pt x="169" y="6"/>
                  </a:lnTo>
                  <a:lnTo>
                    <a:pt x="175" y="9"/>
                  </a:lnTo>
                  <a:lnTo>
                    <a:pt x="175" y="13"/>
                  </a:lnTo>
                  <a:lnTo>
                    <a:pt x="175" y="19"/>
                  </a:lnTo>
                  <a:lnTo>
                    <a:pt x="177" y="25"/>
                  </a:lnTo>
                  <a:lnTo>
                    <a:pt x="179" y="29"/>
                  </a:lnTo>
                  <a:lnTo>
                    <a:pt x="183" y="31"/>
                  </a:lnTo>
                  <a:lnTo>
                    <a:pt x="185" y="34"/>
                  </a:lnTo>
                  <a:lnTo>
                    <a:pt x="183" y="54"/>
                  </a:lnTo>
                  <a:lnTo>
                    <a:pt x="179" y="73"/>
                  </a:lnTo>
                  <a:lnTo>
                    <a:pt x="177" y="92"/>
                  </a:lnTo>
                  <a:lnTo>
                    <a:pt x="175" y="111"/>
                  </a:lnTo>
                  <a:lnTo>
                    <a:pt x="173" y="113"/>
                  </a:lnTo>
                  <a:lnTo>
                    <a:pt x="169" y="117"/>
                  </a:lnTo>
                  <a:lnTo>
                    <a:pt x="167" y="119"/>
                  </a:lnTo>
                  <a:lnTo>
                    <a:pt x="165" y="121"/>
                  </a:lnTo>
                  <a:lnTo>
                    <a:pt x="163" y="123"/>
                  </a:lnTo>
                  <a:lnTo>
                    <a:pt x="160" y="126"/>
                  </a:lnTo>
                  <a:lnTo>
                    <a:pt x="160" y="130"/>
                  </a:lnTo>
                  <a:lnTo>
                    <a:pt x="160" y="136"/>
                  </a:lnTo>
                  <a:lnTo>
                    <a:pt x="163" y="138"/>
                  </a:lnTo>
                  <a:lnTo>
                    <a:pt x="165" y="140"/>
                  </a:lnTo>
                  <a:lnTo>
                    <a:pt x="165" y="155"/>
                  </a:lnTo>
                  <a:lnTo>
                    <a:pt x="165" y="169"/>
                  </a:lnTo>
                  <a:lnTo>
                    <a:pt x="163" y="172"/>
                  </a:lnTo>
                  <a:lnTo>
                    <a:pt x="160" y="174"/>
                  </a:lnTo>
                  <a:lnTo>
                    <a:pt x="158" y="176"/>
                  </a:lnTo>
                  <a:lnTo>
                    <a:pt x="156" y="178"/>
                  </a:lnTo>
                  <a:lnTo>
                    <a:pt x="152" y="182"/>
                  </a:lnTo>
                  <a:lnTo>
                    <a:pt x="150" y="184"/>
                  </a:lnTo>
                  <a:lnTo>
                    <a:pt x="148" y="186"/>
                  </a:lnTo>
                  <a:lnTo>
                    <a:pt x="146" y="188"/>
                  </a:lnTo>
                  <a:lnTo>
                    <a:pt x="142" y="190"/>
                  </a:lnTo>
                  <a:lnTo>
                    <a:pt x="140" y="194"/>
                  </a:lnTo>
                  <a:lnTo>
                    <a:pt x="139" y="196"/>
                  </a:lnTo>
                  <a:lnTo>
                    <a:pt x="137" y="197"/>
                  </a:lnTo>
                  <a:lnTo>
                    <a:pt x="133" y="201"/>
                  </a:lnTo>
                  <a:lnTo>
                    <a:pt x="131" y="203"/>
                  </a:lnTo>
                  <a:lnTo>
                    <a:pt x="129" y="211"/>
                  </a:lnTo>
                  <a:lnTo>
                    <a:pt x="127" y="217"/>
                  </a:lnTo>
                  <a:lnTo>
                    <a:pt x="123" y="220"/>
                  </a:lnTo>
                  <a:lnTo>
                    <a:pt x="121" y="222"/>
                  </a:lnTo>
                  <a:lnTo>
                    <a:pt x="119" y="224"/>
                  </a:lnTo>
                  <a:lnTo>
                    <a:pt x="117" y="228"/>
                  </a:lnTo>
                  <a:lnTo>
                    <a:pt x="114" y="230"/>
                  </a:lnTo>
                  <a:lnTo>
                    <a:pt x="112" y="232"/>
                  </a:lnTo>
                  <a:lnTo>
                    <a:pt x="110" y="253"/>
                  </a:lnTo>
                  <a:lnTo>
                    <a:pt x="108" y="276"/>
                  </a:lnTo>
                  <a:lnTo>
                    <a:pt x="104" y="278"/>
                  </a:lnTo>
                  <a:lnTo>
                    <a:pt x="102" y="280"/>
                  </a:lnTo>
                  <a:lnTo>
                    <a:pt x="100" y="282"/>
                  </a:lnTo>
                  <a:lnTo>
                    <a:pt x="96" y="286"/>
                  </a:lnTo>
                  <a:lnTo>
                    <a:pt x="94" y="288"/>
                  </a:lnTo>
                  <a:lnTo>
                    <a:pt x="92" y="290"/>
                  </a:lnTo>
                  <a:lnTo>
                    <a:pt x="85" y="293"/>
                  </a:lnTo>
                  <a:lnTo>
                    <a:pt x="77" y="295"/>
                  </a:lnTo>
                  <a:lnTo>
                    <a:pt x="75" y="297"/>
                  </a:lnTo>
                  <a:lnTo>
                    <a:pt x="73" y="299"/>
                  </a:lnTo>
                  <a:lnTo>
                    <a:pt x="66" y="299"/>
                  </a:lnTo>
                  <a:lnTo>
                    <a:pt x="58" y="299"/>
                  </a:lnTo>
                  <a:lnTo>
                    <a:pt x="50" y="293"/>
                  </a:lnTo>
                  <a:lnTo>
                    <a:pt x="45" y="288"/>
                  </a:lnTo>
                  <a:lnTo>
                    <a:pt x="39" y="278"/>
                  </a:lnTo>
                  <a:lnTo>
                    <a:pt x="29" y="261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78" name="Freeform 348">
              <a:extLst>
                <a:ext uri="{FF2B5EF4-FFF2-40B4-BE49-F238E27FC236}">
                  <a16:creationId xmlns:a16="http://schemas.microsoft.com/office/drawing/2014/main" xmlns="" id="{A7C8832E-1110-5148-A674-94ACDFEB003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2588" y="2538228"/>
              <a:ext cx="612775" cy="765175"/>
            </a:xfrm>
            <a:custGeom>
              <a:avLst/>
              <a:gdLst>
                <a:gd name="T0" fmla="*/ 2147483647 w 395"/>
                <a:gd name="T1" fmla="*/ 2147483647 h 512"/>
                <a:gd name="T2" fmla="*/ 2147483647 w 395"/>
                <a:gd name="T3" fmla="*/ 2147483647 h 512"/>
                <a:gd name="T4" fmla="*/ 2147483647 w 395"/>
                <a:gd name="T5" fmla="*/ 2147483647 h 512"/>
                <a:gd name="T6" fmla="*/ 2147483647 w 395"/>
                <a:gd name="T7" fmla="*/ 2147483647 h 512"/>
                <a:gd name="T8" fmla="*/ 2147483647 w 395"/>
                <a:gd name="T9" fmla="*/ 2147483647 h 512"/>
                <a:gd name="T10" fmla="*/ 2147483647 w 395"/>
                <a:gd name="T11" fmla="*/ 2147483647 h 512"/>
                <a:gd name="T12" fmla="*/ 2147483647 w 395"/>
                <a:gd name="T13" fmla="*/ 2147483647 h 512"/>
                <a:gd name="T14" fmla="*/ 2147483647 w 395"/>
                <a:gd name="T15" fmla="*/ 0 h 512"/>
                <a:gd name="T16" fmla="*/ 2147483647 w 395"/>
                <a:gd name="T17" fmla="*/ 2147483647 h 512"/>
                <a:gd name="T18" fmla="*/ 2147483647 w 395"/>
                <a:gd name="T19" fmla="*/ 2147483647 h 512"/>
                <a:gd name="T20" fmla="*/ 2147483647 w 395"/>
                <a:gd name="T21" fmla="*/ 2147483647 h 512"/>
                <a:gd name="T22" fmla="*/ 2147483647 w 395"/>
                <a:gd name="T23" fmla="*/ 2147483647 h 512"/>
                <a:gd name="T24" fmla="*/ 2147483647 w 395"/>
                <a:gd name="T25" fmla="*/ 2147483647 h 512"/>
                <a:gd name="T26" fmla="*/ 2147483647 w 395"/>
                <a:gd name="T27" fmla="*/ 2147483647 h 512"/>
                <a:gd name="T28" fmla="*/ 2147483647 w 395"/>
                <a:gd name="T29" fmla="*/ 2147483647 h 512"/>
                <a:gd name="T30" fmla="*/ 2147483647 w 395"/>
                <a:gd name="T31" fmla="*/ 2147483647 h 512"/>
                <a:gd name="T32" fmla="*/ 2147483647 w 395"/>
                <a:gd name="T33" fmla="*/ 2147483647 h 512"/>
                <a:gd name="T34" fmla="*/ 2147483647 w 395"/>
                <a:gd name="T35" fmla="*/ 2147483647 h 512"/>
                <a:gd name="T36" fmla="*/ 2147483647 w 395"/>
                <a:gd name="T37" fmla="*/ 2147483647 h 512"/>
                <a:gd name="T38" fmla="*/ 2147483647 w 395"/>
                <a:gd name="T39" fmla="*/ 2147483647 h 512"/>
                <a:gd name="T40" fmla="*/ 2147483647 w 395"/>
                <a:gd name="T41" fmla="*/ 2147483647 h 512"/>
                <a:gd name="T42" fmla="*/ 2147483647 w 395"/>
                <a:gd name="T43" fmla="*/ 2147483647 h 512"/>
                <a:gd name="T44" fmla="*/ 2147483647 w 395"/>
                <a:gd name="T45" fmla="*/ 2147483647 h 512"/>
                <a:gd name="T46" fmla="*/ 2147483647 w 395"/>
                <a:gd name="T47" fmla="*/ 2147483647 h 512"/>
                <a:gd name="T48" fmla="*/ 2147483647 w 395"/>
                <a:gd name="T49" fmla="*/ 2147483647 h 512"/>
                <a:gd name="T50" fmla="*/ 0 w 395"/>
                <a:gd name="T51" fmla="*/ 2147483647 h 512"/>
                <a:gd name="T52" fmla="*/ 2147483647 w 395"/>
                <a:gd name="T53" fmla="*/ 2147483647 h 512"/>
                <a:gd name="T54" fmla="*/ 2147483647 w 395"/>
                <a:gd name="T55" fmla="*/ 2147483647 h 512"/>
                <a:gd name="T56" fmla="*/ 2147483647 w 395"/>
                <a:gd name="T57" fmla="*/ 2147483647 h 512"/>
                <a:gd name="T58" fmla="*/ 2147483647 w 395"/>
                <a:gd name="T59" fmla="*/ 2147483647 h 512"/>
                <a:gd name="T60" fmla="*/ 2147483647 w 395"/>
                <a:gd name="T61" fmla="*/ 2147483647 h 512"/>
                <a:gd name="T62" fmla="*/ 2147483647 w 395"/>
                <a:gd name="T63" fmla="*/ 2147483647 h 512"/>
                <a:gd name="T64" fmla="*/ 2147483647 w 395"/>
                <a:gd name="T65" fmla="*/ 2147483647 h 512"/>
                <a:gd name="T66" fmla="*/ 2147483647 w 395"/>
                <a:gd name="T67" fmla="*/ 2147483647 h 512"/>
                <a:gd name="T68" fmla="*/ 2147483647 w 395"/>
                <a:gd name="T69" fmla="*/ 2147483647 h 512"/>
                <a:gd name="T70" fmla="*/ 2147483647 w 395"/>
                <a:gd name="T71" fmla="*/ 2147483647 h 512"/>
                <a:gd name="T72" fmla="*/ 2147483647 w 395"/>
                <a:gd name="T73" fmla="*/ 2147483647 h 512"/>
                <a:gd name="T74" fmla="*/ 2147483647 w 395"/>
                <a:gd name="T75" fmla="*/ 2147483647 h 512"/>
                <a:gd name="T76" fmla="*/ 2147483647 w 395"/>
                <a:gd name="T77" fmla="*/ 2147483647 h 512"/>
                <a:gd name="T78" fmla="*/ 2147483647 w 395"/>
                <a:gd name="T79" fmla="*/ 2147483647 h 512"/>
                <a:gd name="T80" fmla="*/ 2147483647 w 395"/>
                <a:gd name="T81" fmla="*/ 2147483647 h 512"/>
                <a:gd name="T82" fmla="*/ 2147483647 w 395"/>
                <a:gd name="T83" fmla="*/ 2147483647 h 512"/>
                <a:gd name="T84" fmla="*/ 2147483647 w 395"/>
                <a:gd name="T85" fmla="*/ 2147483647 h 512"/>
                <a:gd name="T86" fmla="*/ 2147483647 w 395"/>
                <a:gd name="T87" fmla="*/ 2147483647 h 512"/>
                <a:gd name="T88" fmla="*/ 2147483647 w 395"/>
                <a:gd name="T89" fmla="*/ 2147483647 h 512"/>
                <a:gd name="T90" fmla="*/ 2147483647 w 395"/>
                <a:gd name="T91" fmla="*/ 2147483647 h 512"/>
                <a:gd name="T92" fmla="*/ 2147483647 w 395"/>
                <a:gd name="T93" fmla="*/ 2147483647 h 512"/>
                <a:gd name="T94" fmla="*/ 2147483647 w 395"/>
                <a:gd name="T95" fmla="*/ 2147483647 h 512"/>
                <a:gd name="T96" fmla="*/ 2147483647 w 395"/>
                <a:gd name="T97" fmla="*/ 2147483647 h 512"/>
                <a:gd name="T98" fmla="*/ 2147483647 w 395"/>
                <a:gd name="T99" fmla="*/ 2147483647 h 512"/>
                <a:gd name="T100" fmla="*/ 2147483647 w 395"/>
                <a:gd name="T101" fmla="*/ 2147483647 h 512"/>
                <a:gd name="T102" fmla="*/ 2147483647 w 395"/>
                <a:gd name="T103" fmla="*/ 2147483647 h 51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95"/>
                <a:gd name="T157" fmla="*/ 0 h 512"/>
                <a:gd name="T158" fmla="*/ 395 w 395"/>
                <a:gd name="T159" fmla="*/ 512 h 51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95" h="512">
                  <a:moveTo>
                    <a:pt x="311" y="330"/>
                  </a:moveTo>
                  <a:lnTo>
                    <a:pt x="321" y="330"/>
                  </a:lnTo>
                  <a:lnTo>
                    <a:pt x="328" y="330"/>
                  </a:lnTo>
                  <a:lnTo>
                    <a:pt x="326" y="303"/>
                  </a:lnTo>
                  <a:lnTo>
                    <a:pt x="326" y="276"/>
                  </a:lnTo>
                  <a:lnTo>
                    <a:pt x="324" y="249"/>
                  </a:lnTo>
                  <a:lnTo>
                    <a:pt x="322" y="223"/>
                  </a:lnTo>
                  <a:lnTo>
                    <a:pt x="347" y="186"/>
                  </a:lnTo>
                  <a:lnTo>
                    <a:pt x="370" y="157"/>
                  </a:lnTo>
                  <a:lnTo>
                    <a:pt x="378" y="144"/>
                  </a:lnTo>
                  <a:lnTo>
                    <a:pt x="386" y="127"/>
                  </a:lnTo>
                  <a:lnTo>
                    <a:pt x="392" y="106"/>
                  </a:lnTo>
                  <a:lnTo>
                    <a:pt x="395" y="79"/>
                  </a:lnTo>
                  <a:lnTo>
                    <a:pt x="395" y="77"/>
                  </a:lnTo>
                  <a:lnTo>
                    <a:pt x="395" y="73"/>
                  </a:lnTo>
                  <a:lnTo>
                    <a:pt x="393" y="71"/>
                  </a:lnTo>
                  <a:lnTo>
                    <a:pt x="392" y="69"/>
                  </a:lnTo>
                  <a:lnTo>
                    <a:pt x="388" y="52"/>
                  </a:lnTo>
                  <a:lnTo>
                    <a:pt x="386" y="35"/>
                  </a:lnTo>
                  <a:lnTo>
                    <a:pt x="384" y="33"/>
                  </a:lnTo>
                  <a:lnTo>
                    <a:pt x="382" y="31"/>
                  </a:lnTo>
                  <a:lnTo>
                    <a:pt x="374" y="27"/>
                  </a:lnTo>
                  <a:lnTo>
                    <a:pt x="367" y="25"/>
                  </a:lnTo>
                  <a:lnTo>
                    <a:pt x="365" y="23"/>
                  </a:lnTo>
                  <a:lnTo>
                    <a:pt x="363" y="21"/>
                  </a:lnTo>
                  <a:lnTo>
                    <a:pt x="359" y="17"/>
                  </a:lnTo>
                  <a:lnTo>
                    <a:pt x="357" y="15"/>
                  </a:lnTo>
                  <a:lnTo>
                    <a:pt x="355" y="13"/>
                  </a:lnTo>
                  <a:lnTo>
                    <a:pt x="353" y="12"/>
                  </a:lnTo>
                  <a:lnTo>
                    <a:pt x="349" y="6"/>
                  </a:lnTo>
                  <a:lnTo>
                    <a:pt x="347" y="0"/>
                  </a:lnTo>
                  <a:lnTo>
                    <a:pt x="342" y="0"/>
                  </a:lnTo>
                  <a:lnTo>
                    <a:pt x="338" y="0"/>
                  </a:lnTo>
                  <a:lnTo>
                    <a:pt x="332" y="0"/>
                  </a:lnTo>
                  <a:lnTo>
                    <a:pt x="328" y="0"/>
                  </a:lnTo>
                  <a:lnTo>
                    <a:pt x="322" y="6"/>
                  </a:lnTo>
                  <a:lnTo>
                    <a:pt x="319" y="12"/>
                  </a:lnTo>
                  <a:lnTo>
                    <a:pt x="319" y="21"/>
                  </a:lnTo>
                  <a:lnTo>
                    <a:pt x="319" y="31"/>
                  </a:lnTo>
                  <a:lnTo>
                    <a:pt x="313" y="31"/>
                  </a:lnTo>
                  <a:lnTo>
                    <a:pt x="309" y="31"/>
                  </a:lnTo>
                  <a:lnTo>
                    <a:pt x="303" y="31"/>
                  </a:lnTo>
                  <a:lnTo>
                    <a:pt x="299" y="31"/>
                  </a:lnTo>
                  <a:lnTo>
                    <a:pt x="299" y="35"/>
                  </a:lnTo>
                  <a:lnTo>
                    <a:pt x="299" y="40"/>
                  </a:lnTo>
                  <a:lnTo>
                    <a:pt x="294" y="40"/>
                  </a:lnTo>
                  <a:lnTo>
                    <a:pt x="290" y="40"/>
                  </a:lnTo>
                  <a:lnTo>
                    <a:pt x="284" y="40"/>
                  </a:lnTo>
                  <a:lnTo>
                    <a:pt x="280" y="40"/>
                  </a:lnTo>
                  <a:lnTo>
                    <a:pt x="275" y="44"/>
                  </a:lnTo>
                  <a:lnTo>
                    <a:pt x="271" y="50"/>
                  </a:lnTo>
                  <a:lnTo>
                    <a:pt x="265" y="54"/>
                  </a:lnTo>
                  <a:lnTo>
                    <a:pt x="261" y="59"/>
                  </a:lnTo>
                  <a:lnTo>
                    <a:pt x="255" y="69"/>
                  </a:lnTo>
                  <a:lnTo>
                    <a:pt x="252" y="79"/>
                  </a:lnTo>
                  <a:lnTo>
                    <a:pt x="246" y="79"/>
                  </a:lnTo>
                  <a:lnTo>
                    <a:pt x="242" y="79"/>
                  </a:lnTo>
                  <a:lnTo>
                    <a:pt x="242" y="83"/>
                  </a:lnTo>
                  <a:lnTo>
                    <a:pt x="242" y="88"/>
                  </a:lnTo>
                  <a:lnTo>
                    <a:pt x="236" y="92"/>
                  </a:lnTo>
                  <a:lnTo>
                    <a:pt x="232" y="98"/>
                  </a:lnTo>
                  <a:lnTo>
                    <a:pt x="227" y="107"/>
                  </a:lnTo>
                  <a:lnTo>
                    <a:pt x="223" y="117"/>
                  </a:lnTo>
                  <a:lnTo>
                    <a:pt x="217" y="123"/>
                  </a:lnTo>
                  <a:lnTo>
                    <a:pt x="211" y="127"/>
                  </a:lnTo>
                  <a:lnTo>
                    <a:pt x="211" y="132"/>
                  </a:lnTo>
                  <a:lnTo>
                    <a:pt x="211" y="136"/>
                  </a:lnTo>
                  <a:lnTo>
                    <a:pt x="204" y="152"/>
                  </a:lnTo>
                  <a:lnTo>
                    <a:pt x="194" y="165"/>
                  </a:lnTo>
                  <a:lnTo>
                    <a:pt x="188" y="171"/>
                  </a:lnTo>
                  <a:lnTo>
                    <a:pt x="182" y="175"/>
                  </a:lnTo>
                  <a:lnTo>
                    <a:pt x="179" y="180"/>
                  </a:lnTo>
                  <a:lnTo>
                    <a:pt x="173" y="184"/>
                  </a:lnTo>
                  <a:lnTo>
                    <a:pt x="169" y="184"/>
                  </a:lnTo>
                  <a:lnTo>
                    <a:pt x="163" y="184"/>
                  </a:lnTo>
                  <a:lnTo>
                    <a:pt x="163" y="190"/>
                  </a:lnTo>
                  <a:lnTo>
                    <a:pt x="163" y="194"/>
                  </a:lnTo>
                  <a:lnTo>
                    <a:pt x="163" y="213"/>
                  </a:lnTo>
                  <a:lnTo>
                    <a:pt x="163" y="232"/>
                  </a:lnTo>
                  <a:lnTo>
                    <a:pt x="163" y="238"/>
                  </a:lnTo>
                  <a:lnTo>
                    <a:pt x="163" y="244"/>
                  </a:lnTo>
                  <a:lnTo>
                    <a:pt x="159" y="248"/>
                  </a:lnTo>
                  <a:lnTo>
                    <a:pt x="154" y="253"/>
                  </a:lnTo>
                  <a:lnTo>
                    <a:pt x="150" y="257"/>
                  </a:lnTo>
                  <a:lnTo>
                    <a:pt x="144" y="263"/>
                  </a:lnTo>
                  <a:lnTo>
                    <a:pt x="140" y="263"/>
                  </a:lnTo>
                  <a:lnTo>
                    <a:pt x="134" y="263"/>
                  </a:lnTo>
                  <a:lnTo>
                    <a:pt x="131" y="267"/>
                  </a:lnTo>
                  <a:lnTo>
                    <a:pt x="125" y="272"/>
                  </a:lnTo>
                  <a:lnTo>
                    <a:pt x="111" y="272"/>
                  </a:lnTo>
                  <a:lnTo>
                    <a:pt x="96" y="272"/>
                  </a:lnTo>
                  <a:lnTo>
                    <a:pt x="90" y="276"/>
                  </a:lnTo>
                  <a:lnTo>
                    <a:pt x="87" y="282"/>
                  </a:lnTo>
                  <a:lnTo>
                    <a:pt x="77" y="282"/>
                  </a:lnTo>
                  <a:lnTo>
                    <a:pt x="67" y="282"/>
                  </a:lnTo>
                  <a:lnTo>
                    <a:pt x="62" y="282"/>
                  </a:lnTo>
                  <a:lnTo>
                    <a:pt x="58" y="282"/>
                  </a:lnTo>
                  <a:lnTo>
                    <a:pt x="48" y="282"/>
                  </a:lnTo>
                  <a:lnTo>
                    <a:pt x="39" y="282"/>
                  </a:lnTo>
                  <a:lnTo>
                    <a:pt x="33" y="282"/>
                  </a:lnTo>
                  <a:lnTo>
                    <a:pt x="29" y="282"/>
                  </a:lnTo>
                  <a:lnTo>
                    <a:pt x="14" y="282"/>
                  </a:lnTo>
                  <a:lnTo>
                    <a:pt x="0" y="282"/>
                  </a:lnTo>
                  <a:lnTo>
                    <a:pt x="0" y="286"/>
                  </a:lnTo>
                  <a:lnTo>
                    <a:pt x="0" y="292"/>
                  </a:lnTo>
                  <a:lnTo>
                    <a:pt x="4" y="295"/>
                  </a:lnTo>
                  <a:lnTo>
                    <a:pt x="10" y="301"/>
                  </a:lnTo>
                  <a:lnTo>
                    <a:pt x="10" y="305"/>
                  </a:lnTo>
                  <a:lnTo>
                    <a:pt x="10" y="311"/>
                  </a:lnTo>
                  <a:lnTo>
                    <a:pt x="14" y="311"/>
                  </a:lnTo>
                  <a:lnTo>
                    <a:pt x="19" y="311"/>
                  </a:lnTo>
                  <a:lnTo>
                    <a:pt x="29" y="305"/>
                  </a:lnTo>
                  <a:lnTo>
                    <a:pt x="39" y="301"/>
                  </a:lnTo>
                  <a:lnTo>
                    <a:pt x="52" y="305"/>
                  </a:lnTo>
                  <a:lnTo>
                    <a:pt x="67" y="311"/>
                  </a:lnTo>
                  <a:lnTo>
                    <a:pt x="71" y="311"/>
                  </a:lnTo>
                  <a:lnTo>
                    <a:pt x="77" y="311"/>
                  </a:lnTo>
                  <a:lnTo>
                    <a:pt x="81" y="315"/>
                  </a:lnTo>
                  <a:lnTo>
                    <a:pt x="87" y="320"/>
                  </a:lnTo>
                  <a:lnTo>
                    <a:pt x="81" y="330"/>
                  </a:lnTo>
                  <a:lnTo>
                    <a:pt x="77" y="340"/>
                  </a:lnTo>
                  <a:lnTo>
                    <a:pt x="71" y="340"/>
                  </a:lnTo>
                  <a:lnTo>
                    <a:pt x="67" y="340"/>
                  </a:lnTo>
                  <a:lnTo>
                    <a:pt x="65" y="355"/>
                  </a:lnTo>
                  <a:lnTo>
                    <a:pt x="67" y="366"/>
                  </a:lnTo>
                  <a:lnTo>
                    <a:pt x="67" y="370"/>
                  </a:lnTo>
                  <a:lnTo>
                    <a:pt x="65" y="374"/>
                  </a:lnTo>
                  <a:lnTo>
                    <a:pt x="63" y="380"/>
                  </a:lnTo>
                  <a:lnTo>
                    <a:pt x="65" y="384"/>
                  </a:lnTo>
                  <a:lnTo>
                    <a:pt x="69" y="388"/>
                  </a:lnTo>
                  <a:lnTo>
                    <a:pt x="67" y="391"/>
                  </a:lnTo>
                  <a:lnTo>
                    <a:pt x="65" y="395"/>
                  </a:lnTo>
                  <a:lnTo>
                    <a:pt x="62" y="397"/>
                  </a:lnTo>
                  <a:lnTo>
                    <a:pt x="58" y="401"/>
                  </a:lnTo>
                  <a:lnTo>
                    <a:pt x="56" y="405"/>
                  </a:lnTo>
                  <a:lnTo>
                    <a:pt x="58" y="411"/>
                  </a:lnTo>
                  <a:lnTo>
                    <a:pt x="65" y="416"/>
                  </a:lnTo>
                  <a:lnTo>
                    <a:pt x="58" y="420"/>
                  </a:lnTo>
                  <a:lnTo>
                    <a:pt x="52" y="426"/>
                  </a:lnTo>
                  <a:lnTo>
                    <a:pt x="60" y="432"/>
                  </a:lnTo>
                  <a:lnTo>
                    <a:pt x="73" y="437"/>
                  </a:lnTo>
                  <a:lnTo>
                    <a:pt x="77" y="439"/>
                  </a:lnTo>
                  <a:lnTo>
                    <a:pt x="81" y="443"/>
                  </a:lnTo>
                  <a:lnTo>
                    <a:pt x="88" y="443"/>
                  </a:lnTo>
                  <a:lnTo>
                    <a:pt x="96" y="445"/>
                  </a:lnTo>
                  <a:lnTo>
                    <a:pt x="100" y="443"/>
                  </a:lnTo>
                  <a:lnTo>
                    <a:pt x="106" y="443"/>
                  </a:lnTo>
                  <a:lnTo>
                    <a:pt x="108" y="439"/>
                  </a:lnTo>
                  <a:lnTo>
                    <a:pt x="110" y="436"/>
                  </a:lnTo>
                  <a:lnTo>
                    <a:pt x="115" y="436"/>
                  </a:lnTo>
                  <a:lnTo>
                    <a:pt x="119" y="436"/>
                  </a:lnTo>
                  <a:lnTo>
                    <a:pt x="127" y="443"/>
                  </a:lnTo>
                  <a:lnTo>
                    <a:pt x="134" y="451"/>
                  </a:lnTo>
                  <a:lnTo>
                    <a:pt x="144" y="459"/>
                  </a:lnTo>
                  <a:lnTo>
                    <a:pt x="152" y="466"/>
                  </a:lnTo>
                  <a:lnTo>
                    <a:pt x="156" y="470"/>
                  </a:lnTo>
                  <a:lnTo>
                    <a:pt x="156" y="474"/>
                  </a:lnTo>
                  <a:lnTo>
                    <a:pt x="152" y="482"/>
                  </a:lnTo>
                  <a:lnTo>
                    <a:pt x="148" y="487"/>
                  </a:lnTo>
                  <a:lnTo>
                    <a:pt x="148" y="491"/>
                  </a:lnTo>
                  <a:lnTo>
                    <a:pt x="148" y="493"/>
                  </a:lnTo>
                  <a:lnTo>
                    <a:pt x="146" y="499"/>
                  </a:lnTo>
                  <a:lnTo>
                    <a:pt x="146" y="503"/>
                  </a:lnTo>
                  <a:lnTo>
                    <a:pt x="150" y="508"/>
                  </a:lnTo>
                  <a:lnTo>
                    <a:pt x="157" y="510"/>
                  </a:lnTo>
                  <a:lnTo>
                    <a:pt x="167" y="512"/>
                  </a:lnTo>
                  <a:lnTo>
                    <a:pt x="179" y="510"/>
                  </a:lnTo>
                  <a:lnTo>
                    <a:pt x="181" y="507"/>
                  </a:lnTo>
                  <a:lnTo>
                    <a:pt x="182" y="503"/>
                  </a:lnTo>
                  <a:lnTo>
                    <a:pt x="188" y="499"/>
                  </a:lnTo>
                  <a:lnTo>
                    <a:pt x="194" y="493"/>
                  </a:lnTo>
                  <a:lnTo>
                    <a:pt x="211" y="493"/>
                  </a:lnTo>
                  <a:lnTo>
                    <a:pt x="221" y="495"/>
                  </a:lnTo>
                  <a:lnTo>
                    <a:pt x="227" y="499"/>
                  </a:lnTo>
                  <a:lnTo>
                    <a:pt x="236" y="505"/>
                  </a:lnTo>
                  <a:lnTo>
                    <a:pt x="246" y="505"/>
                  </a:lnTo>
                  <a:lnTo>
                    <a:pt x="255" y="505"/>
                  </a:lnTo>
                  <a:lnTo>
                    <a:pt x="257" y="501"/>
                  </a:lnTo>
                  <a:lnTo>
                    <a:pt x="261" y="499"/>
                  </a:lnTo>
                  <a:lnTo>
                    <a:pt x="263" y="491"/>
                  </a:lnTo>
                  <a:lnTo>
                    <a:pt x="265" y="485"/>
                  </a:lnTo>
                  <a:lnTo>
                    <a:pt x="267" y="482"/>
                  </a:lnTo>
                  <a:lnTo>
                    <a:pt x="271" y="480"/>
                  </a:lnTo>
                  <a:lnTo>
                    <a:pt x="273" y="478"/>
                  </a:lnTo>
                  <a:lnTo>
                    <a:pt x="275" y="476"/>
                  </a:lnTo>
                  <a:lnTo>
                    <a:pt x="278" y="472"/>
                  </a:lnTo>
                  <a:lnTo>
                    <a:pt x="280" y="470"/>
                  </a:lnTo>
                  <a:lnTo>
                    <a:pt x="282" y="462"/>
                  </a:lnTo>
                  <a:lnTo>
                    <a:pt x="284" y="455"/>
                  </a:lnTo>
                  <a:lnTo>
                    <a:pt x="286" y="453"/>
                  </a:lnTo>
                  <a:lnTo>
                    <a:pt x="290" y="451"/>
                  </a:lnTo>
                  <a:lnTo>
                    <a:pt x="292" y="449"/>
                  </a:lnTo>
                  <a:lnTo>
                    <a:pt x="294" y="447"/>
                  </a:lnTo>
                  <a:lnTo>
                    <a:pt x="296" y="443"/>
                  </a:lnTo>
                  <a:lnTo>
                    <a:pt x="299" y="441"/>
                  </a:lnTo>
                  <a:lnTo>
                    <a:pt x="296" y="439"/>
                  </a:lnTo>
                  <a:lnTo>
                    <a:pt x="294" y="436"/>
                  </a:lnTo>
                  <a:lnTo>
                    <a:pt x="292" y="434"/>
                  </a:lnTo>
                  <a:lnTo>
                    <a:pt x="290" y="432"/>
                  </a:lnTo>
                  <a:lnTo>
                    <a:pt x="286" y="428"/>
                  </a:lnTo>
                  <a:lnTo>
                    <a:pt x="284" y="426"/>
                  </a:lnTo>
                  <a:lnTo>
                    <a:pt x="282" y="416"/>
                  </a:lnTo>
                  <a:lnTo>
                    <a:pt x="280" y="407"/>
                  </a:lnTo>
                  <a:lnTo>
                    <a:pt x="280" y="403"/>
                  </a:lnTo>
                  <a:lnTo>
                    <a:pt x="280" y="397"/>
                  </a:lnTo>
                  <a:lnTo>
                    <a:pt x="284" y="386"/>
                  </a:lnTo>
                  <a:lnTo>
                    <a:pt x="296" y="365"/>
                  </a:lnTo>
                  <a:lnTo>
                    <a:pt x="307" y="342"/>
                  </a:lnTo>
                  <a:lnTo>
                    <a:pt x="311" y="330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grpSp>
          <p:nvGrpSpPr>
            <p:cNvPr id="79" name="Group 173">
              <a:extLst>
                <a:ext uri="{FF2B5EF4-FFF2-40B4-BE49-F238E27FC236}">
                  <a16:creationId xmlns:a16="http://schemas.microsoft.com/office/drawing/2014/main" xmlns="" id="{35C52160-0670-A649-9CDA-F8F8E0E9907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81125" y="2943041"/>
              <a:ext cx="506413" cy="463550"/>
              <a:chOff x="1381125" y="3325813"/>
              <a:chExt cx="506413" cy="463550"/>
            </a:xfrm>
            <a:grpFill/>
          </p:grpSpPr>
          <p:sp>
            <p:nvSpPr>
              <p:cNvPr id="94" name="Freeform 197">
                <a:extLst>
                  <a:ext uri="{FF2B5EF4-FFF2-40B4-BE49-F238E27FC236}">
                    <a16:creationId xmlns:a16="http://schemas.microsoft.com/office/drawing/2014/main" xmlns="" id="{0FA77354-6256-F342-94F1-7B20DAF513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125" y="3414713"/>
                <a:ext cx="506413" cy="374650"/>
              </a:xfrm>
              <a:custGeom>
                <a:avLst/>
                <a:gdLst/>
                <a:ahLst/>
                <a:cxnLst>
                  <a:cxn ang="0">
                    <a:pos x="193" y="238"/>
                  </a:cxn>
                  <a:cxn ang="0">
                    <a:pos x="186" y="230"/>
                  </a:cxn>
                  <a:cxn ang="0">
                    <a:pos x="178" y="223"/>
                  </a:cxn>
                  <a:cxn ang="0">
                    <a:pos x="170" y="200"/>
                  </a:cxn>
                  <a:cxn ang="0">
                    <a:pos x="165" y="178"/>
                  </a:cxn>
                  <a:cxn ang="0">
                    <a:pos x="138" y="171"/>
                  </a:cxn>
                  <a:cxn ang="0">
                    <a:pos x="130" y="155"/>
                  </a:cxn>
                  <a:cxn ang="0">
                    <a:pos x="103" y="148"/>
                  </a:cxn>
                  <a:cxn ang="0">
                    <a:pos x="76" y="140"/>
                  </a:cxn>
                  <a:cxn ang="0">
                    <a:pos x="40" y="132"/>
                  </a:cxn>
                  <a:cxn ang="0">
                    <a:pos x="28" y="127"/>
                  </a:cxn>
                  <a:cxn ang="0">
                    <a:pos x="17" y="132"/>
                  </a:cxn>
                  <a:cxn ang="0">
                    <a:pos x="11" y="134"/>
                  </a:cxn>
                  <a:cxn ang="0">
                    <a:pos x="7" y="102"/>
                  </a:cxn>
                  <a:cxn ang="0">
                    <a:pos x="0" y="54"/>
                  </a:cxn>
                  <a:cxn ang="0">
                    <a:pos x="0" y="42"/>
                  </a:cxn>
                  <a:cxn ang="0">
                    <a:pos x="0" y="29"/>
                  </a:cxn>
                  <a:cxn ang="0">
                    <a:pos x="13" y="25"/>
                  </a:cxn>
                  <a:cxn ang="0">
                    <a:pos x="28" y="10"/>
                  </a:cxn>
                  <a:cxn ang="0">
                    <a:pos x="32" y="0"/>
                  </a:cxn>
                  <a:cxn ang="0">
                    <a:pos x="57" y="10"/>
                  </a:cxn>
                  <a:cxn ang="0">
                    <a:pos x="76" y="25"/>
                  </a:cxn>
                  <a:cxn ang="0">
                    <a:pos x="76" y="48"/>
                  </a:cxn>
                  <a:cxn ang="0">
                    <a:pos x="109" y="71"/>
                  </a:cxn>
                  <a:cxn ang="0">
                    <a:pos x="143" y="58"/>
                  </a:cxn>
                  <a:cxn ang="0">
                    <a:pos x="140" y="83"/>
                  </a:cxn>
                  <a:cxn ang="0">
                    <a:pos x="143" y="96"/>
                  </a:cxn>
                  <a:cxn ang="0">
                    <a:pos x="163" y="111"/>
                  </a:cxn>
                  <a:cxn ang="0">
                    <a:pos x="178" y="125"/>
                  </a:cxn>
                  <a:cxn ang="0">
                    <a:pos x="203" y="115"/>
                  </a:cxn>
                  <a:cxn ang="0">
                    <a:pos x="222" y="96"/>
                  </a:cxn>
                  <a:cxn ang="0">
                    <a:pos x="228" y="98"/>
                  </a:cxn>
                  <a:cxn ang="0">
                    <a:pos x="247" y="106"/>
                  </a:cxn>
                  <a:cxn ang="0">
                    <a:pos x="255" y="113"/>
                  </a:cxn>
                  <a:cxn ang="0">
                    <a:pos x="280" y="111"/>
                  </a:cxn>
                  <a:cxn ang="0">
                    <a:pos x="289" y="106"/>
                  </a:cxn>
                  <a:cxn ang="0">
                    <a:pos x="299" y="111"/>
                  </a:cxn>
                  <a:cxn ang="0">
                    <a:pos x="307" y="119"/>
                  </a:cxn>
                  <a:cxn ang="0">
                    <a:pos x="314" y="125"/>
                  </a:cxn>
                  <a:cxn ang="0">
                    <a:pos x="324" y="132"/>
                  </a:cxn>
                  <a:cxn ang="0">
                    <a:pos x="328" y="155"/>
                  </a:cxn>
                  <a:cxn ang="0">
                    <a:pos x="314" y="169"/>
                  </a:cxn>
                  <a:cxn ang="0">
                    <a:pos x="289" y="178"/>
                  </a:cxn>
                  <a:cxn ang="0">
                    <a:pos x="282" y="186"/>
                  </a:cxn>
                  <a:cxn ang="0">
                    <a:pos x="276" y="194"/>
                  </a:cxn>
                  <a:cxn ang="0">
                    <a:pos x="268" y="201"/>
                  </a:cxn>
                  <a:cxn ang="0">
                    <a:pos x="261" y="207"/>
                  </a:cxn>
                  <a:cxn ang="0">
                    <a:pos x="253" y="226"/>
                  </a:cxn>
                  <a:cxn ang="0">
                    <a:pos x="232" y="246"/>
                  </a:cxn>
                  <a:cxn ang="0">
                    <a:pos x="213" y="246"/>
                  </a:cxn>
                </a:cxnLst>
                <a:rect l="0" t="0" r="r" b="b"/>
                <a:pathLst>
                  <a:path w="328" h="251">
                    <a:moveTo>
                      <a:pt x="197" y="242"/>
                    </a:moveTo>
                    <a:lnTo>
                      <a:pt x="195" y="240"/>
                    </a:lnTo>
                    <a:lnTo>
                      <a:pt x="193" y="238"/>
                    </a:lnTo>
                    <a:lnTo>
                      <a:pt x="190" y="234"/>
                    </a:lnTo>
                    <a:lnTo>
                      <a:pt x="188" y="232"/>
                    </a:lnTo>
                    <a:lnTo>
                      <a:pt x="186" y="230"/>
                    </a:lnTo>
                    <a:lnTo>
                      <a:pt x="184" y="226"/>
                    </a:lnTo>
                    <a:lnTo>
                      <a:pt x="180" y="225"/>
                    </a:lnTo>
                    <a:lnTo>
                      <a:pt x="178" y="223"/>
                    </a:lnTo>
                    <a:lnTo>
                      <a:pt x="176" y="219"/>
                    </a:lnTo>
                    <a:lnTo>
                      <a:pt x="174" y="217"/>
                    </a:lnTo>
                    <a:lnTo>
                      <a:pt x="170" y="200"/>
                    </a:lnTo>
                    <a:lnTo>
                      <a:pt x="168" y="184"/>
                    </a:lnTo>
                    <a:lnTo>
                      <a:pt x="166" y="180"/>
                    </a:lnTo>
                    <a:lnTo>
                      <a:pt x="165" y="178"/>
                    </a:lnTo>
                    <a:lnTo>
                      <a:pt x="151" y="177"/>
                    </a:lnTo>
                    <a:lnTo>
                      <a:pt x="140" y="175"/>
                    </a:lnTo>
                    <a:lnTo>
                      <a:pt x="138" y="171"/>
                    </a:lnTo>
                    <a:lnTo>
                      <a:pt x="136" y="169"/>
                    </a:lnTo>
                    <a:lnTo>
                      <a:pt x="132" y="161"/>
                    </a:lnTo>
                    <a:lnTo>
                      <a:pt x="130" y="155"/>
                    </a:lnTo>
                    <a:lnTo>
                      <a:pt x="128" y="152"/>
                    </a:lnTo>
                    <a:lnTo>
                      <a:pt x="124" y="150"/>
                    </a:lnTo>
                    <a:lnTo>
                      <a:pt x="103" y="148"/>
                    </a:lnTo>
                    <a:lnTo>
                      <a:pt x="82" y="146"/>
                    </a:lnTo>
                    <a:lnTo>
                      <a:pt x="78" y="142"/>
                    </a:lnTo>
                    <a:lnTo>
                      <a:pt x="76" y="140"/>
                    </a:lnTo>
                    <a:lnTo>
                      <a:pt x="59" y="138"/>
                    </a:lnTo>
                    <a:lnTo>
                      <a:pt x="44" y="134"/>
                    </a:lnTo>
                    <a:lnTo>
                      <a:pt x="40" y="132"/>
                    </a:lnTo>
                    <a:lnTo>
                      <a:pt x="38" y="130"/>
                    </a:lnTo>
                    <a:lnTo>
                      <a:pt x="36" y="129"/>
                    </a:lnTo>
                    <a:lnTo>
                      <a:pt x="28" y="127"/>
                    </a:lnTo>
                    <a:lnTo>
                      <a:pt x="23" y="129"/>
                    </a:lnTo>
                    <a:lnTo>
                      <a:pt x="19" y="130"/>
                    </a:lnTo>
                    <a:lnTo>
                      <a:pt x="17" y="132"/>
                    </a:lnTo>
                    <a:lnTo>
                      <a:pt x="15" y="134"/>
                    </a:lnTo>
                    <a:lnTo>
                      <a:pt x="13" y="134"/>
                    </a:lnTo>
                    <a:lnTo>
                      <a:pt x="11" y="134"/>
                    </a:lnTo>
                    <a:lnTo>
                      <a:pt x="9" y="130"/>
                    </a:lnTo>
                    <a:lnTo>
                      <a:pt x="9" y="125"/>
                    </a:lnTo>
                    <a:lnTo>
                      <a:pt x="7" y="102"/>
                    </a:lnTo>
                    <a:lnTo>
                      <a:pt x="3" y="58"/>
                    </a:lnTo>
                    <a:lnTo>
                      <a:pt x="1" y="56"/>
                    </a:lnTo>
                    <a:lnTo>
                      <a:pt x="0" y="54"/>
                    </a:lnTo>
                    <a:lnTo>
                      <a:pt x="0" y="50"/>
                    </a:lnTo>
                    <a:lnTo>
                      <a:pt x="0" y="48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5"/>
                    </a:lnTo>
                    <a:lnTo>
                      <a:pt x="0" y="29"/>
                    </a:lnTo>
                    <a:lnTo>
                      <a:pt x="3" y="29"/>
                    </a:lnTo>
                    <a:lnTo>
                      <a:pt x="9" y="29"/>
                    </a:lnTo>
                    <a:lnTo>
                      <a:pt x="13" y="25"/>
                    </a:lnTo>
                    <a:lnTo>
                      <a:pt x="19" y="19"/>
                    </a:lnTo>
                    <a:lnTo>
                      <a:pt x="23" y="13"/>
                    </a:lnTo>
                    <a:lnTo>
                      <a:pt x="28" y="10"/>
                    </a:lnTo>
                    <a:lnTo>
                      <a:pt x="28" y="4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38" y="0"/>
                    </a:lnTo>
                    <a:lnTo>
                      <a:pt x="48" y="4"/>
                    </a:lnTo>
                    <a:lnTo>
                      <a:pt x="57" y="10"/>
                    </a:lnTo>
                    <a:lnTo>
                      <a:pt x="67" y="13"/>
                    </a:lnTo>
                    <a:lnTo>
                      <a:pt x="76" y="19"/>
                    </a:lnTo>
                    <a:lnTo>
                      <a:pt x="76" y="25"/>
                    </a:lnTo>
                    <a:lnTo>
                      <a:pt x="76" y="29"/>
                    </a:lnTo>
                    <a:lnTo>
                      <a:pt x="76" y="38"/>
                    </a:lnTo>
                    <a:lnTo>
                      <a:pt x="76" y="48"/>
                    </a:lnTo>
                    <a:lnTo>
                      <a:pt x="84" y="60"/>
                    </a:lnTo>
                    <a:lnTo>
                      <a:pt x="94" y="71"/>
                    </a:lnTo>
                    <a:lnTo>
                      <a:pt x="109" y="71"/>
                    </a:lnTo>
                    <a:lnTo>
                      <a:pt x="120" y="71"/>
                    </a:lnTo>
                    <a:lnTo>
                      <a:pt x="132" y="67"/>
                    </a:lnTo>
                    <a:lnTo>
                      <a:pt x="143" y="58"/>
                    </a:lnTo>
                    <a:lnTo>
                      <a:pt x="143" y="67"/>
                    </a:lnTo>
                    <a:lnTo>
                      <a:pt x="143" y="77"/>
                    </a:lnTo>
                    <a:lnTo>
                      <a:pt x="140" y="83"/>
                    </a:lnTo>
                    <a:lnTo>
                      <a:pt x="136" y="86"/>
                    </a:lnTo>
                    <a:lnTo>
                      <a:pt x="140" y="92"/>
                    </a:lnTo>
                    <a:lnTo>
                      <a:pt x="143" y="96"/>
                    </a:lnTo>
                    <a:lnTo>
                      <a:pt x="149" y="102"/>
                    </a:lnTo>
                    <a:lnTo>
                      <a:pt x="153" y="106"/>
                    </a:lnTo>
                    <a:lnTo>
                      <a:pt x="163" y="111"/>
                    </a:lnTo>
                    <a:lnTo>
                      <a:pt x="174" y="117"/>
                    </a:lnTo>
                    <a:lnTo>
                      <a:pt x="174" y="121"/>
                    </a:lnTo>
                    <a:lnTo>
                      <a:pt x="178" y="125"/>
                    </a:lnTo>
                    <a:lnTo>
                      <a:pt x="186" y="125"/>
                    </a:lnTo>
                    <a:lnTo>
                      <a:pt x="203" y="125"/>
                    </a:lnTo>
                    <a:lnTo>
                      <a:pt x="203" y="115"/>
                    </a:lnTo>
                    <a:lnTo>
                      <a:pt x="203" y="106"/>
                    </a:lnTo>
                    <a:lnTo>
                      <a:pt x="213" y="102"/>
                    </a:lnTo>
                    <a:lnTo>
                      <a:pt x="222" y="96"/>
                    </a:lnTo>
                    <a:lnTo>
                      <a:pt x="224" y="96"/>
                    </a:lnTo>
                    <a:lnTo>
                      <a:pt x="226" y="96"/>
                    </a:lnTo>
                    <a:lnTo>
                      <a:pt x="228" y="98"/>
                    </a:lnTo>
                    <a:lnTo>
                      <a:pt x="232" y="102"/>
                    </a:lnTo>
                    <a:lnTo>
                      <a:pt x="237" y="104"/>
                    </a:lnTo>
                    <a:lnTo>
                      <a:pt x="247" y="106"/>
                    </a:lnTo>
                    <a:lnTo>
                      <a:pt x="249" y="109"/>
                    </a:lnTo>
                    <a:lnTo>
                      <a:pt x="251" y="111"/>
                    </a:lnTo>
                    <a:lnTo>
                      <a:pt x="255" y="113"/>
                    </a:lnTo>
                    <a:lnTo>
                      <a:pt x="264" y="115"/>
                    </a:lnTo>
                    <a:lnTo>
                      <a:pt x="276" y="113"/>
                    </a:lnTo>
                    <a:lnTo>
                      <a:pt x="280" y="111"/>
                    </a:lnTo>
                    <a:lnTo>
                      <a:pt x="282" y="109"/>
                    </a:lnTo>
                    <a:lnTo>
                      <a:pt x="285" y="106"/>
                    </a:lnTo>
                    <a:lnTo>
                      <a:pt x="289" y="106"/>
                    </a:lnTo>
                    <a:lnTo>
                      <a:pt x="295" y="106"/>
                    </a:lnTo>
                    <a:lnTo>
                      <a:pt x="297" y="109"/>
                    </a:lnTo>
                    <a:lnTo>
                      <a:pt x="299" y="111"/>
                    </a:lnTo>
                    <a:lnTo>
                      <a:pt x="301" y="113"/>
                    </a:lnTo>
                    <a:lnTo>
                      <a:pt x="305" y="117"/>
                    </a:lnTo>
                    <a:lnTo>
                      <a:pt x="307" y="119"/>
                    </a:lnTo>
                    <a:lnTo>
                      <a:pt x="308" y="121"/>
                    </a:lnTo>
                    <a:lnTo>
                      <a:pt x="310" y="123"/>
                    </a:lnTo>
                    <a:lnTo>
                      <a:pt x="314" y="125"/>
                    </a:lnTo>
                    <a:lnTo>
                      <a:pt x="316" y="129"/>
                    </a:lnTo>
                    <a:lnTo>
                      <a:pt x="318" y="130"/>
                    </a:lnTo>
                    <a:lnTo>
                      <a:pt x="324" y="132"/>
                    </a:lnTo>
                    <a:lnTo>
                      <a:pt x="328" y="134"/>
                    </a:lnTo>
                    <a:lnTo>
                      <a:pt x="328" y="144"/>
                    </a:lnTo>
                    <a:lnTo>
                      <a:pt x="328" y="155"/>
                    </a:lnTo>
                    <a:lnTo>
                      <a:pt x="324" y="159"/>
                    </a:lnTo>
                    <a:lnTo>
                      <a:pt x="318" y="165"/>
                    </a:lnTo>
                    <a:lnTo>
                      <a:pt x="314" y="169"/>
                    </a:lnTo>
                    <a:lnTo>
                      <a:pt x="308" y="175"/>
                    </a:lnTo>
                    <a:lnTo>
                      <a:pt x="299" y="177"/>
                    </a:lnTo>
                    <a:lnTo>
                      <a:pt x="289" y="178"/>
                    </a:lnTo>
                    <a:lnTo>
                      <a:pt x="287" y="180"/>
                    </a:lnTo>
                    <a:lnTo>
                      <a:pt x="285" y="184"/>
                    </a:lnTo>
                    <a:lnTo>
                      <a:pt x="282" y="186"/>
                    </a:lnTo>
                    <a:lnTo>
                      <a:pt x="280" y="188"/>
                    </a:lnTo>
                    <a:lnTo>
                      <a:pt x="278" y="190"/>
                    </a:lnTo>
                    <a:lnTo>
                      <a:pt x="276" y="194"/>
                    </a:lnTo>
                    <a:lnTo>
                      <a:pt x="272" y="196"/>
                    </a:lnTo>
                    <a:lnTo>
                      <a:pt x="270" y="198"/>
                    </a:lnTo>
                    <a:lnTo>
                      <a:pt x="268" y="201"/>
                    </a:lnTo>
                    <a:lnTo>
                      <a:pt x="264" y="203"/>
                    </a:lnTo>
                    <a:lnTo>
                      <a:pt x="262" y="205"/>
                    </a:lnTo>
                    <a:lnTo>
                      <a:pt x="261" y="207"/>
                    </a:lnTo>
                    <a:lnTo>
                      <a:pt x="259" y="211"/>
                    </a:lnTo>
                    <a:lnTo>
                      <a:pt x="255" y="213"/>
                    </a:lnTo>
                    <a:lnTo>
                      <a:pt x="253" y="226"/>
                    </a:lnTo>
                    <a:lnTo>
                      <a:pt x="251" y="242"/>
                    </a:lnTo>
                    <a:lnTo>
                      <a:pt x="241" y="244"/>
                    </a:lnTo>
                    <a:lnTo>
                      <a:pt x="232" y="246"/>
                    </a:lnTo>
                    <a:lnTo>
                      <a:pt x="228" y="249"/>
                    </a:lnTo>
                    <a:lnTo>
                      <a:pt x="226" y="251"/>
                    </a:lnTo>
                    <a:lnTo>
                      <a:pt x="213" y="246"/>
                    </a:lnTo>
                    <a:lnTo>
                      <a:pt x="197" y="242"/>
                    </a:lnTo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sz="1799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95" name="Freeform 198">
                <a:extLst>
                  <a:ext uri="{FF2B5EF4-FFF2-40B4-BE49-F238E27FC236}">
                    <a16:creationId xmlns:a16="http://schemas.microsoft.com/office/drawing/2014/main" xmlns="" id="{454B8130-F4DF-1D4E-8393-2C1BC7FA6A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8763" y="3325813"/>
                <a:ext cx="123825" cy="174625"/>
              </a:xfrm>
              <a:custGeom>
                <a:avLst/>
                <a:gdLst/>
                <a:ahLst/>
                <a:cxnLst>
                  <a:cxn ang="0">
                    <a:pos x="47" y="116"/>
                  </a:cxn>
                  <a:cxn ang="0">
                    <a:pos x="44" y="98"/>
                  </a:cxn>
                  <a:cxn ang="0">
                    <a:pos x="40" y="87"/>
                  </a:cxn>
                  <a:cxn ang="0">
                    <a:pos x="36" y="81"/>
                  </a:cxn>
                  <a:cxn ang="0">
                    <a:pos x="28" y="77"/>
                  </a:cxn>
                  <a:cxn ang="0">
                    <a:pos x="24" y="71"/>
                  </a:cxn>
                  <a:cxn ang="0">
                    <a:pos x="19" y="68"/>
                  </a:cxn>
                  <a:cxn ang="0">
                    <a:pos x="15" y="68"/>
                  </a:cxn>
                  <a:cxn ang="0">
                    <a:pos x="9" y="68"/>
                  </a:cxn>
                  <a:cxn ang="0">
                    <a:pos x="5" y="68"/>
                  </a:cxn>
                  <a:cxn ang="0">
                    <a:pos x="0" y="68"/>
                  </a:cxn>
                  <a:cxn ang="0">
                    <a:pos x="0" y="62"/>
                  </a:cxn>
                  <a:cxn ang="0">
                    <a:pos x="0" y="58"/>
                  </a:cxn>
                  <a:cxn ang="0">
                    <a:pos x="0" y="52"/>
                  </a:cxn>
                  <a:cxn ang="0">
                    <a:pos x="0" y="48"/>
                  </a:cxn>
                  <a:cxn ang="0">
                    <a:pos x="0" y="43"/>
                  </a:cxn>
                  <a:cxn ang="0">
                    <a:pos x="0" y="39"/>
                  </a:cxn>
                  <a:cxn ang="0">
                    <a:pos x="5" y="29"/>
                  </a:cxn>
                  <a:cxn ang="0">
                    <a:pos x="9" y="20"/>
                  </a:cxn>
                  <a:cxn ang="0">
                    <a:pos x="9" y="14"/>
                  </a:cxn>
                  <a:cxn ang="0">
                    <a:pos x="9" y="10"/>
                  </a:cxn>
                  <a:cxn ang="0">
                    <a:pos x="9" y="4"/>
                  </a:cxn>
                  <a:cxn ang="0">
                    <a:pos x="9" y="0"/>
                  </a:cxn>
                  <a:cxn ang="0">
                    <a:pos x="19" y="0"/>
                  </a:cxn>
                  <a:cxn ang="0">
                    <a:pos x="28" y="0"/>
                  </a:cxn>
                  <a:cxn ang="0">
                    <a:pos x="47" y="4"/>
                  </a:cxn>
                  <a:cxn ang="0">
                    <a:pos x="69" y="10"/>
                  </a:cxn>
                  <a:cxn ang="0">
                    <a:pos x="72" y="14"/>
                  </a:cxn>
                  <a:cxn ang="0">
                    <a:pos x="78" y="20"/>
                  </a:cxn>
                  <a:cxn ang="0">
                    <a:pos x="78" y="23"/>
                  </a:cxn>
                  <a:cxn ang="0">
                    <a:pos x="78" y="29"/>
                  </a:cxn>
                  <a:cxn ang="0">
                    <a:pos x="78" y="33"/>
                  </a:cxn>
                  <a:cxn ang="0">
                    <a:pos x="78" y="39"/>
                  </a:cxn>
                  <a:cxn ang="0">
                    <a:pos x="78" y="48"/>
                  </a:cxn>
                  <a:cxn ang="0">
                    <a:pos x="78" y="58"/>
                  </a:cxn>
                  <a:cxn ang="0">
                    <a:pos x="72" y="73"/>
                  </a:cxn>
                  <a:cxn ang="0">
                    <a:pos x="69" y="87"/>
                  </a:cxn>
                  <a:cxn ang="0">
                    <a:pos x="63" y="93"/>
                  </a:cxn>
                  <a:cxn ang="0">
                    <a:pos x="57" y="96"/>
                  </a:cxn>
                  <a:cxn ang="0">
                    <a:pos x="57" y="106"/>
                  </a:cxn>
                  <a:cxn ang="0">
                    <a:pos x="57" y="116"/>
                  </a:cxn>
                  <a:cxn ang="0">
                    <a:pos x="53" y="116"/>
                  </a:cxn>
                  <a:cxn ang="0">
                    <a:pos x="47" y="116"/>
                  </a:cxn>
                </a:cxnLst>
                <a:rect l="0" t="0" r="r" b="b"/>
                <a:pathLst>
                  <a:path w="78" h="116">
                    <a:moveTo>
                      <a:pt x="47" y="116"/>
                    </a:moveTo>
                    <a:lnTo>
                      <a:pt x="44" y="98"/>
                    </a:lnTo>
                    <a:lnTo>
                      <a:pt x="40" y="87"/>
                    </a:lnTo>
                    <a:lnTo>
                      <a:pt x="36" y="81"/>
                    </a:lnTo>
                    <a:lnTo>
                      <a:pt x="28" y="77"/>
                    </a:lnTo>
                    <a:lnTo>
                      <a:pt x="24" y="71"/>
                    </a:lnTo>
                    <a:lnTo>
                      <a:pt x="19" y="68"/>
                    </a:lnTo>
                    <a:lnTo>
                      <a:pt x="15" y="68"/>
                    </a:lnTo>
                    <a:lnTo>
                      <a:pt x="9" y="68"/>
                    </a:lnTo>
                    <a:lnTo>
                      <a:pt x="5" y="68"/>
                    </a:lnTo>
                    <a:lnTo>
                      <a:pt x="0" y="68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3"/>
                    </a:lnTo>
                    <a:lnTo>
                      <a:pt x="0" y="39"/>
                    </a:lnTo>
                    <a:lnTo>
                      <a:pt x="5" y="29"/>
                    </a:lnTo>
                    <a:lnTo>
                      <a:pt x="9" y="20"/>
                    </a:lnTo>
                    <a:lnTo>
                      <a:pt x="9" y="14"/>
                    </a:lnTo>
                    <a:lnTo>
                      <a:pt x="9" y="10"/>
                    </a:lnTo>
                    <a:lnTo>
                      <a:pt x="9" y="4"/>
                    </a:lnTo>
                    <a:lnTo>
                      <a:pt x="9" y="0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47" y="4"/>
                    </a:lnTo>
                    <a:lnTo>
                      <a:pt x="69" y="10"/>
                    </a:lnTo>
                    <a:lnTo>
                      <a:pt x="72" y="14"/>
                    </a:lnTo>
                    <a:lnTo>
                      <a:pt x="78" y="20"/>
                    </a:lnTo>
                    <a:lnTo>
                      <a:pt x="78" y="23"/>
                    </a:lnTo>
                    <a:lnTo>
                      <a:pt x="78" y="29"/>
                    </a:lnTo>
                    <a:lnTo>
                      <a:pt x="78" y="33"/>
                    </a:lnTo>
                    <a:lnTo>
                      <a:pt x="78" y="39"/>
                    </a:lnTo>
                    <a:lnTo>
                      <a:pt x="78" y="48"/>
                    </a:lnTo>
                    <a:lnTo>
                      <a:pt x="78" y="58"/>
                    </a:lnTo>
                    <a:lnTo>
                      <a:pt x="72" y="73"/>
                    </a:lnTo>
                    <a:lnTo>
                      <a:pt x="69" y="87"/>
                    </a:lnTo>
                    <a:lnTo>
                      <a:pt x="63" y="93"/>
                    </a:lnTo>
                    <a:lnTo>
                      <a:pt x="57" y="96"/>
                    </a:lnTo>
                    <a:lnTo>
                      <a:pt x="57" y="106"/>
                    </a:lnTo>
                    <a:lnTo>
                      <a:pt x="57" y="116"/>
                    </a:lnTo>
                    <a:lnTo>
                      <a:pt x="53" y="116"/>
                    </a:lnTo>
                    <a:lnTo>
                      <a:pt x="47" y="116"/>
                    </a:lnTo>
                  </a:path>
                </a:pathLst>
              </a:custGeom>
              <a:grpFill/>
              <a:ln w="63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n-GB" sz="1799">
                  <a:solidFill>
                    <a:prstClr val="black"/>
                  </a:solidFill>
                  <a:latin typeface="Arial" charset="0"/>
                  <a:cs typeface="Arial" charset="0"/>
                </a:endParaRPr>
              </a:p>
            </p:txBody>
          </p:sp>
        </p:grpSp>
        <p:sp>
          <p:nvSpPr>
            <p:cNvPr id="81" name="Freeform 351">
              <a:extLst>
                <a:ext uri="{FF2B5EF4-FFF2-40B4-BE49-F238E27FC236}">
                  <a16:creationId xmlns:a16="http://schemas.microsoft.com/office/drawing/2014/main" xmlns="" id="{27024E56-DE24-2F48-B775-0C55F9F436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76463" y="2277878"/>
              <a:ext cx="471487" cy="623888"/>
            </a:xfrm>
            <a:custGeom>
              <a:avLst/>
              <a:gdLst>
                <a:gd name="T0" fmla="*/ 2147483647 w 303"/>
                <a:gd name="T1" fmla="*/ 2147483647 h 417"/>
                <a:gd name="T2" fmla="*/ 2147483647 w 303"/>
                <a:gd name="T3" fmla="*/ 2147483647 h 417"/>
                <a:gd name="T4" fmla="*/ 2147483647 w 303"/>
                <a:gd name="T5" fmla="*/ 2147483647 h 417"/>
                <a:gd name="T6" fmla="*/ 2147483647 w 303"/>
                <a:gd name="T7" fmla="*/ 2147483647 h 417"/>
                <a:gd name="T8" fmla="*/ 2147483647 w 303"/>
                <a:gd name="T9" fmla="*/ 2147483647 h 417"/>
                <a:gd name="T10" fmla="*/ 2147483647 w 303"/>
                <a:gd name="T11" fmla="*/ 2147483647 h 417"/>
                <a:gd name="T12" fmla="*/ 2147483647 w 303"/>
                <a:gd name="T13" fmla="*/ 2147483647 h 417"/>
                <a:gd name="T14" fmla="*/ 2147483647 w 303"/>
                <a:gd name="T15" fmla="*/ 2147483647 h 417"/>
                <a:gd name="T16" fmla="*/ 2147483647 w 303"/>
                <a:gd name="T17" fmla="*/ 2147483647 h 417"/>
                <a:gd name="T18" fmla="*/ 2147483647 w 303"/>
                <a:gd name="T19" fmla="*/ 2147483647 h 417"/>
                <a:gd name="T20" fmla="*/ 2147483647 w 303"/>
                <a:gd name="T21" fmla="*/ 2147483647 h 417"/>
                <a:gd name="T22" fmla="*/ 2147483647 w 303"/>
                <a:gd name="T23" fmla="*/ 2147483647 h 417"/>
                <a:gd name="T24" fmla="*/ 2147483647 w 303"/>
                <a:gd name="T25" fmla="*/ 2147483647 h 417"/>
                <a:gd name="T26" fmla="*/ 2147483647 w 303"/>
                <a:gd name="T27" fmla="*/ 2147483647 h 417"/>
                <a:gd name="T28" fmla="*/ 2147483647 w 303"/>
                <a:gd name="T29" fmla="*/ 2147483647 h 417"/>
                <a:gd name="T30" fmla="*/ 2147483647 w 303"/>
                <a:gd name="T31" fmla="*/ 2147483647 h 417"/>
                <a:gd name="T32" fmla="*/ 0 w 303"/>
                <a:gd name="T33" fmla="*/ 2147483647 h 417"/>
                <a:gd name="T34" fmla="*/ 2147483647 w 303"/>
                <a:gd name="T35" fmla="*/ 2147483647 h 417"/>
                <a:gd name="T36" fmla="*/ 2147483647 w 303"/>
                <a:gd name="T37" fmla="*/ 2147483647 h 417"/>
                <a:gd name="T38" fmla="*/ 2147483647 w 303"/>
                <a:gd name="T39" fmla="*/ 2147483647 h 417"/>
                <a:gd name="T40" fmla="*/ 2147483647 w 303"/>
                <a:gd name="T41" fmla="*/ 2147483647 h 417"/>
                <a:gd name="T42" fmla="*/ 2147483647 w 303"/>
                <a:gd name="T43" fmla="*/ 2147483647 h 417"/>
                <a:gd name="T44" fmla="*/ 2147483647 w 303"/>
                <a:gd name="T45" fmla="*/ 2147483647 h 417"/>
                <a:gd name="T46" fmla="*/ 2147483647 w 303"/>
                <a:gd name="T47" fmla="*/ 2147483647 h 417"/>
                <a:gd name="T48" fmla="*/ 2147483647 w 303"/>
                <a:gd name="T49" fmla="*/ 2147483647 h 417"/>
                <a:gd name="T50" fmla="*/ 2147483647 w 303"/>
                <a:gd name="T51" fmla="*/ 2147483647 h 417"/>
                <a:gd name="T52" fmla="*/ 2147483647 w 303"/>
                <a:gd name="T53" fmla="*/ 0 h 417"/>
                <a:gd name="T54" fmla="*/ 2147483647 w 303"/>
                <a:gd name="T55" fmla="*/ 0 h 417"/>
                <a:gd name="T56" fmla="*/ 2147483647 w 303"/>
                <a:gd name="T57" fmla="*/ 2147483647 h 417"/>
                <a:gd name="T58" fmla="*/ 2147483647 w 303"/>
                <a:gd name="T59" fmla="*/ 2147483647 h 417"/>
                <a:gd name="T60" fmla="*/ 2147483647 w 303"/>
                <a:gd name="T61" fmla="*/ 2147483647 h 417"/>
                <a:gd name="T62" fmla="*/ 2147483647 w 303"/>
                <a:gd name="T63" fmla="*/ 2147483647 h 417"/>
                <a:gd name="T64" fmla="*/ 2147483647 w 303"/>
                <a:gd name="T65" fmla="*/ 2147483647 h 417"/>
                <a:gd name="T66" fmla="*/ 2147483647 w 303"/>
                <a:gd name="T67" fmla="*/ 2147483647 h 417"/>
                <a:gd name="T68" fmla="*/ 2147483647 w 303"/>
                <a:gd name="T69" fmla="*/ 2147483647 h 417"/>
                <a:gd name="T70" fmla="*/ 2147483647 w 303"/>
                <a:gd name="T71" fmla="*/ 2147483647 h 417"/>
                <a:gd name="T72" fmla="*/ 2147483647 w 303"/>
                <a:gd name="T73" fmla="*/ 2147483647 h 417"/>
                <a:gd name="T74" fmla="*/ 2147483647 w 303"/>
                <a:gd name="T75" fmla="*/ 2147483647 h 417"/>
                <a:gd name="T76" fmla="*/ 2147483647 w 303"/>
                <a:gd name="T77" fmla="*/ 2147483647 h 417"/>
                <a:gd name="T78" fmla="*/ 2147483647 w 303"/>
                <a:gd name="T79" fmla="*/ 2147483647 h 417"/>
                <a:gd name="T80" fmla="*/ 2147483647 w 303"/>
                <a:gd name="T81" fmla="*/ 2147483647 h 417"/>
                <a:gd name="T82" fmla="*/ 2147483647 w 303"/>
                <a:gd name="T83" fmla="*/ 2147483647 h 417"/>
                <a:gd name="T84" fmla="*/ 2147483647 w 303"/>
                <a:gd name="T85" fmla="*/ 2147483647 h 41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03"/>
                <a:gd name="T130" fmla="*/ 0 h 417"/>
                <a:gd name="T131" fmla="*/ 303 w 303"/>
                <a:gd name="T132" fmla="*/ 417 h 41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03" h="417">
                  <a:moveTo>
                    <a:pt x="165" y="376"/>
                  </a:moveTo>
                  <a:lnTo>
                    <a:pt x="159" y="369"/>
                  </a:lnTo>
                  <a:lnTo>
                    <a:pt x="157" y="365"/>
                  </a:lnTo>
                  <a:lnTo>
                    <a:pt x="155" y="365"/>
                  </a:lnTo>
                  <a:lnTo>
                    <a:pt x="155" y="367"/>
                  </a:lnTo>
                  <a:lnTo>
                    <a:pt x="150" y="367"/>
                  </a:lnTo>
                  <a:lnTo>
                    <a:pt x="146" y="367"/>
                  </a:lnTo>
                  <a:lnTo>
                    <a:pt x="140" y="353"/>
                  </a:lnTo>
                  <a:lnTo>
                    <a:pt x="136" y="338"/>
                  </a:lnTo>
                  <a:lnTo>
                    <a:pt x="130" y="325"/>
                  </a:lnTo>
                  <a:lnTo>
                    <a:pt x="126" y="309"/>
                  </a:lnTo>
                  <a:lnTo>
                    <a:pt x="121" y="284"/>
                  </a:lnTo>
                  <a:lnTo>
                    <a:pt x="117" y="261"/>
                  </a:lnTo>
                  <a:lnTo>
                    <a:pt x="117" y="256"/>
                  </a:lnTo>
                  <a:lnTo>
                    <a:pt x="117" y="252"/>
                  </a:lnTo>
                  <a:lnTo>
                    <a:pt x="117" y="236"/>
                  </a:lnTo>
                  <a:lnTo>
                    <a:pt x="117" y="223"/>
                  </a:lnTo>
                  <a:lnTo>
                    <a:pt x="119" y="221"/>
                  </a:lnTo>
                  <a:lnTo>
                    <a:pt x="119" y="219"/>
                  </a:lnTo>
                  <a:lnTo>
                    <a:pt x="115" y="217"/>
                  </a:lnTo>
                  <a:lnTo>
                    <a:pt x="105" y="213"/>
                  </a:lnTo>
                  <a:lnTo>
                    <a:pt x="109" y="206"/>
                  </a:lnTo>
                  <a:lnTo>
                    <a:pt x="113" y="200"/>
                  </a:lnTo>
                  <a:lnTo>
                    <a:pt x="98" y="200"/>
                  </a:lnTo>
                  <a:lnTo>
                    <a:pt x="90" y="200"/>
                  </a:lnTo>
                  <a:lnTo>
                    <a:pt x="88" y="200"/>
                  </a:lnTo>
                  <a:lnTo>
                    <a:pt x="88" y="204"/>
                  </a:lnTo>
                  <a:lnTo>
                    <a:pt x="77" y="204"/>
                  </a:lnTo>
                  <a:lnTo>
                    <a:pt x="67" y="204"/>
                  </a:lnTo>
                  <a:lnTo>
                    <a:pt x="67" y="215"/>
                  </a:lnTo>
                  <a:lnTo>
                    <a:pt x="67" y="219"/>
                  </a:lnTo>
                  <a:lnTo>
                    <a:pt x="63" y="223"/>
                  </a:lnTo>
                  <a:lnTo>
                    <a:pt x="57" y="223"/>
                  </a:lnTo>
                  <a:lnTo>
                    <a:pt x="55" y="213"/>
                  </a:lnTo>
                  <a:lnTo>
                    <a:pt x="54" y="204"/>
                  </a:lnTo>
                  <a:lnTo>
                    <a:pt x="50" y="200"/>
                  </a:lnTo>
                  <a:lnTo>
                    <a:pt x="48" y="198"/>
                  </a:lnTo>
                  <a:lnTo>
                    <a:pt x="40" y="196"/>
                  </a:lnTo>
                  <a:lnTo>
                    <a:pt x="34" y="194"/>
                  </a:lnTo>
                  <a:lnTo>
                    <a:pt x="31" y="190"/>
                  </a:lnTo>
                  <a:lnTo>
                    <a:pt x="29" y="188"/>
                  </a:lnTo>
                  <a:lnTo>
                    <a:pt x="27" y="186"/>
                  </a:lnTo>
                  <a:lnTo>
                    <a:pt x="25" y="185"/>
                  </a:lnTo>
                  <a:lnTo>
                    <a:pt x="21" y="181"/>
                  </a:lnTo>
                  <a:lnTo>
                    <a:pt x="19" y="179"/>
                  </a:lnTo>
                  <a:lnTo>
                    <a:pt x="13" y="177"/>
                  </a:lnTo>
                  <a:lnTo>
                    <a:pt x="9" y="173"/>
                  </a:lnTo>
                  <a:lnTo>
                    <a:pt x="4" y="169"/>
                  </a:lnTo>
                  <a:lnTo>
                    <a:pt x="0" y="163"/>
                  </a:lnTo>
                  <a:lnTo>
                    <a:pt x="0" y="160"/>
                  </a:lnTo>
                  <a:lnTo>
                    <a:pt x="0" y="156"/>
                  </a:lnTo>
                  <a:lnTo>
                    <a:pt x="4" y="150"/>
                  </a:lnTo>
                  <a:lnTo>
                    <a:pt x="9" y="144"/>
                  </a:lnTo>
                  <a:lnTo>
                    <a:pt x="9" y="135"/>
                  </a:lnTo>
                  <a:lnTo>
                    <a:pt x="9" y="125"/>
                  </a:lnTo>
                  <a:lnTo>
                    <a:pt x="23" y="123"/>
                  </a:lnTo>
                  <a:lnTo>
                    <a:pt x="38" y="121"/>
                  </a:lnTo>
                  <a:lnTo>
                    <a:pt x="54" y="119"/>
                  </a:lnTo>
                  <a:lnTo>
                    <a:pt x="67" y="115"/>
                  </a:lnTo>
                  <a:lnTo>
                    <a:pt x="73" y="115"/>
                  </a:lnTo>
                  <a:lnTo>
                    <a:pt x="77" y="115"/>
                  </a:lnTo>
                  <a:lnTo>
                    <a:pt x="82" y="112"/>
                  </a:lnTo>
                  <a:lnTo>
                    <a:pt x="88" y="106"/>
                  </a:lnTo>
                  <a:lnTo>
                    <a:pt x="88" y="102"/>
                  </a:lnTo>
                  <a:lnTo>
                    <a:pt x="88" y="96"/>
                  </a:lnTo>
                  <a:lnTo>
                    <a:pt x="88" y="87"/>
                  </a:lnTo>
                  <a:lnTo>
                    <a:pt x="88" y="77"/>
                  </a:lnTo>
                  <a:lnTo>
                    <a:pt x="88" y="73"/>
                  </a:lnTo>
                  <a:lnTo>
                    <a:pt x="88" y="67"/>
                  </a:lnTo>
                  <a:lnTo>
                    <a:pt x="92" y="54"/>
                  </a:lnTo>
                  <a:lnTo>
                    <a:pt x="96" y="39"/>
                  </a:lnTo>
                  <a:lnTo>
                    <a:pt x="96" y="29"/>
                  </a:lnTo>
                  <a:lnTo>
                    <a:pt x="96" y="19"/>
                  </a:lnTo>
                  <a:lnTo>
                    <a:pt x="102" y="19"/>
                  </a:lnTo>
                  <a:lnTo>
                    <a:pt x="105" y="19"/>
                  </a:lnTo>
                  <a:lnTo>
                    <a:pt x="105" y="14"/>
                  </a:lnTo>
                  <a:lnTo>
                    <a:pt x="105" y="10"/>
                  </a:lnTo>
                  <a:lnTo>
                    <a:pt x="115" y="10"/>
                  </a:lnTo>
                  <a:lnTo>
                    <a:pt x="126" y="10"/>
                  </a:lnTo>
                  <a:lnTo>
                    <a:pt x="130" y="4"/>
                  </a:lnTo>
                  <a:lnTo>
                    <a:pt x="136" y="0"/>
                  </a:lnTo>
                  <a:lnTo>
                    <a:pt x="146" y="0"/>
                  </a:lnTo>
                  <a:lnTo>
                    <a:pt x="155" y="0"/>
                  </a:lnTo>
                  <a:lnTo>
                    <a:pt x="169" y="0"/>
                  </a:lnTo>
                  <a:lnTo>
                    <a:pt x="184" y="0"/>
                  </a:lnTo>
                  <a:lnTo>
                    <a:pt x="194" y="4"/>
                  </a:lnTo>
                  <a:lnTo>
                    <a:pt x="203" y="10"/>
                  </a:lnTo>
                  <a:lnTo>
                    <a:pt x="207" y="16"/>
                  </a:lnTo>
                  <a:lnTo>
                    <a:pt x="209" y="21"/>
                  </a:lnTo>
                  <a:lnTo>
                    <a:pt x="236" y="25"/>
                  </a:lnTo>
                  <a:lnTo>
                    <a:pt x="261" y="29"/>
                  </a:lnTo>
                  <a:lnTo>
                    <a:pt x="267" y="33"/>
                  </a:lnTo>
                  <a:lnTo>
                    <a:pt x="270" y="39"/>
                  </a:lnTo>
                  <a:lnTo>
                    <a:pt x="270" y="43"/>
                  </a:lnTo>
                  <a:lnTo>
                    <a:pt x="270" y="48"/>
                  </a:lnTo>
                  <a:lnTo>
                    <a:pt x="267" y="48"/>
                  </a:lnTo>
                  <a:lnTo>
                    <a:pt x="261" y="48"/>
                  </a:lnTo>
                  <a:lnTo>
                    <a:pt x="257" y="48"/>
                  </a:lnTo>
                  <a:lnTo>
                    <a:pt x="251" y="48"/>
                  </a:lnTo>
                  <a:lnTo>
                    <a:pt x="240" y="52"/>
                  </a:lnTo>
                  <a:lnTo>
                    <a:pt x="230" y="56"/>
                  </a:lnTo>
                  <a:lnTo>
                    <a:pt x="230" y="81"/>
                  </a:lnTo>
                  <a:lnTo>
                    <a:pt x="232" y="106"/>
                  </a:lnTo>
                  <a:lnTo>
                    <a:pt x="236" y="112"/>
                  </a:lnTo>
                  <a:lnTo>
                    <a:pt x="242" y="115"/>
                  </a:lnTo>
                  <a:lnTo>
                    <a:pt x="245" y="115"/>
                  </a:lnTo>
                  <a:lnTo>
                    <a:pt x="251" y="115"/>
                  </a:lnTo>
                  <a:lnTo>
                    <a:pt x="270" y="125"/>
                  </a:lnTo>
                  <a:lnTo>
                    <a:pt x="290" y="135"/>
                  </a:lnTo>
                  <a:lnTo>
                    <a:pt x="290" y="140"/>
                  </a:lnTo>
                  <a:lnTo>
                    <a:pt x="290" y="144"/>
                  </a:lnTo>
                  <a:lnTo>
                    <a:pt x="282" y="154"/>
                  </a:lnTo>
                  <a:lnTo>
                    <a:pt x="272" y="161"/>
                  </a:lnTo>
                  <a:lnTo>
                    <a:pt x="290" y="232"/>
                  </a:lnTo>
                  <a:lnTo>
                    <a:pt x="301" y="296"/>
                  </a:lnTo>
                  <a:lnTo>
                    <a:pt x="303" y="311"/>
                  </a:lnTo>
                  <a:lnTo>
                    <a:pt x="303" y="326"/>
                  </a:lnTo>
                  <a:lnTo>
                    <a:pt x="301" y="340"/>
                  </a:lnTo>
                  <a:lnTo>
                    <a:pt x="299" y="355"/>
                  </a:lnTo>
                  <a:lnTo>
                    <a:pt x="295" y="371"/>
                  </a:lnTo>
                  <a:lnTo>
                    <a:pt x="290" y="386"/>
                  </a:lnTo>
                  <a:lnTo>
                    <a:pt x="280" y="401"/>
                  </a:lnTo>
                  <a:lnTo>
                    <a:pt x="270" y="417"/>
                  </a:lnTo>
                  <a:lnTo>
                    <a:pt x="253" y="413"/>
                  </a:lnTo>
                  <a:lnTo>
                    <a:pt x="236" y="411"/>
                  </a:lnTo>
                  <a:lnTo>
                    <a:pt x="220" y="409"/>
                  </a:lnTo>
                  <a:lnTo>
                    <a:pt x="203" y="405"/>
                  </a:lnTo>
                  <a:lnTo>
                    <a:pt x="203" y="397"/>
                  </a:lnTo>
                  <a:lnTo>
                    <a:pt x="203" y="388"/>
                  </a:lnTo>
                  <a:lnTo>
                    <a:pt x="184" y="382"/>
                  </a:lnTo>
                  <a:lnTo>
                    <a:pt x="165" y="376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2" name="Freeform 352">
              <a:extLst>
                <a:ext uri="{FF2B5EF4-FFF2-40B4-BE49-F238E27FC236}">
                  <a16:creationId xmlns:a16="http://schemas.microsoft.com/office/drawing/2014/main" xmlns="" id="{82D5D39C-A176-6742-ADDC-8612E5A48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9800" y="4798828"/>
              <a:ext cx="368300" cy="900113"/>
            </a:xfrm>
            <a:custGeom>
              <a:avLst/>
              <a:gdLst>
                <a:gd name="T0" fmla="*/ 2147483647 w 237"/>
                <a:gd name="T1" fmla="*/ 2147483647 h 601"/>
                <a:gd name="T2" fmla="*/ 2147483647 w 237"/>
                <a:gd name="T3" fmla="*/ 2147483647 h 601"/>
                <a:gd name="T4" fmla="*/ 0 w 237"/>
                <a:gd name="T5" fmla="*/ 2147483647 h 601"/>
                <a:gd name="T6" fmla="*/ 2147483647 w 237"/>
                <a:gd name="T7" fmla="*/ 2147483647 h 601"/>
                <a:gd name="T8" fmla="*/ 2147483647 w 237"/>
                <a:gd name="T9" fmla="*/ 2147483647 h 601"/>
                <a:gd name="T10" fmla="*/ 2147483647 w 237"/>
                <a:gd name="T11" fmla="*/ 2147483647 h 601"/>
                <a:gd name="T12" fmla="*/ 2147483647 w 237"/>
                <a:gd name="T13" fmla="*/ 2147483647 h 601"/>
                <a:gd name="T14" fmla="*/ 2147483647 w 237"/>
                <a:gd name="T15" fmla="*/ 2147483647 h 601"/>
                <a:gd name="T16" fmla="*/ 2147483647 w 237"/>
                <a:gd name="T17" fmla="*/ 2147483647 h 601"/>
                <a:gd name="T18" fmla="*/ 2147483647 w 237"/>
                <a:gd name="T19" fmla="*/ 2147483647 h 601"/>
                <a:gd name="T20" fmla="*/ 2147483647 w 237"/>
                <a:gd name="T21" fmla="*/ 2147483647 h 601"/>
                <a:gd name="T22" fmla="*/ 2147483647 w 237"/>
                <a:gd name="T23" fmla="*/ 2147483647 h 601"/>
                <a:gd name="T24" fmla="*/ 2147483647 w 237"/>
                <a:gd name="T25" fmla="*/ 2147483647 h 601"/>
                <a:gd name="T26" fmla="*/ 2147483647 w 237"/>
                <a:gd name="T27" fmla="*/ 2147483647 h 601"/>
                <a:gd name="T28" fmla="*/ 2147483647 w 237"/>
                <a:gd name="T29" fmla="*/ 2147483647 h 601"/>
                <a:gd name="T30" fmla="*/ 2147483647 w 237"/>
                <a:gd name="T31" fmla="*/ 2147483647 h 601"/>
                <a:gd name="T32" fmla="*/ 2147483647 w 237"/>
                <a:gd name="T33" fmla="*/ 2147483647 h 601"/>
                <a:gd name="T34" fmla="*/ 2147483647 w 237"/>
                <a:gd name="T35" fmla="*/ 2147483647 h 601"/>
                <a:gd name="T36" fmla="*/ 2147483647 w 237"/>
                <a:gd name="T37" fmla="*/ 2147483647 h 601"/>
                <a:gd name="T38" fmla="*/ 2147483647 w 237"/>
                <a:gd name="T39" fmla="*/ 2147483647 h 601"/>
                <a:gd name="T40" fmla="*/ 2147483647 w 237"/>
                <a:gd name="T41" fmla="*/ 2147483647 h 601"/>
                <a:gd name="T42" fmla="*/ 2147483647 w 237"/>
                <a:gd name="T43" fmla="*/ 2147483647 h 601"/>
                <a:gd name="T44" fmla="*/ 2147483647 w 237"/>
                <a:gd name="T45" fmla="*/ 2147483647 h 601"/>
                <a:gd name="T46" fmla="*/ 2147483647 w 237"/>
                <a:gd name="T47" fmla="*/ 2147483647 h 601"/>
                <a:gd name="T48" fmla="*/ 2147483647 w 237"/>
                <a:gd name="T49" fmla="*/ 2147483647 h 601"/>
                <a:gd name="T50" fmla="*/ 2147483647 w 237"/>
                <a:gd name="T51" fmla="*/ 2147483647 h 601"/>
                <a:gd name="T52" fmla="*/ 2147483647 w 237"/>
                <a:gd name="T53" fmla="*/ 2147483647 h 601"/>
                <a:gd name="T54" fmla="*/ 2147483647 w 237"/>
                <a:gd name="T55" fmla="*/ 2147483647 h 601"/>
                <a:gd name="T56" fmla="*/ 2147483647 w 237"/>
                <a:gd name="T57" fmla="*/ 2147483647 h 601"/>
                <a:gd name="T58" fmla="*/ 2147483647 w 237"/>
                <a:gd name="T59" fmla="*/ 2147483647 h 601"/>
                <a:gd name="T60" fmla="*/ 2147483647 w 237"/>
                <a:gd name="T61" fmla="*/ 2147483647 h 601"/>
                <a:gd name="T62" fmla="*/ 2147483647 w 237"/>
                <a:gd name="T63" fmla="*/ 2147483647 h 601"/>
                <a:gd name="T64" fmla="*/ 2147483647 w 237"/>
                <a:gd name="T65" fmla="*/ 2147483647 h 601"/>
                <a:gd name="T66" fmla="*/ 2147483647 w 237"/>
                <a:gd name="T67" fmla="*/ 2147483647 h 601"/>
                <a:gd name="T68" fmla="*/ 2147483647 w 237"/>
                <a:gd name="T69" fmla="*/ 0 h 601"/>
                <a:gd name="T70" fmla="*/ 2147483647 w 237"/>
                <a:gd name="T71" fmla="*/ 2147483647 h 601"/>
                <a:gd name="T72" fmla="*/ 2147483647 w 237"/>
                <a:gd name="T73" fmla="*/ 2147483647 h 601"/>
                <a:gd name="T74" fmla="*/ 2147483647 w 237"/>
                <a:gd name="T75" fmla="*/ 2147483647 h 601"/>
                <a:gd name="T76" fmla="*/ 2147483647 w 237"/>
                <a:gd name="T77" fmla="*/ 2147483647 h 601"/>
                <a:gd name="T78" fmla="*/ 2147483647 w 237"/>
                <a:gd name="T79" fmla="*/ 2147483647 h 601"/>
                <a:gd name="T80" fmla="*/ 2147483647 w 237"/>
                <a:gd name="T81" fmla="*/ 2147483647 h 601"/>
                <a:gd name="T82" fmla="*/ 2147483647 w 237"/>
                <a:gd name="T83" fmla="*/ 2147483647 h 601"/>
                <a:gd name="T84" fmla="*/ 2147483647 w 237"/>
                <a:gd name="T85" fmla="*/ 2147483647 h 601"/>
                <a:gd name="T86" fmla="*/ 2147483647 w 237"/>
                <a:gd name="T87" fmla="*/ 2147483647 h 601"/>
                <a:gd name="T88" fmla="*/ 2147483647 w 237"/>
                <a:gd name="T89" fmla="*/ 2147483647 h 601"/>
                <a:gd name="T90" fmla="*/ 2147483647 w 237"/>
                <a:gd name="T91" fmla="*/ 2147483647 h 601"/>
                <a:gd name="T92" fmla="*/ 2147483647 w 237"/>
                <a:gd name="T93" fmla="*/ 2147483647 h 601"/>
                <a:gd name="T94" fmla="*/ 2147483647 w 237"/>
                <a:gd name="T95" fmla="*/ 2147483647 h 601"/>
                <a:gd name="T96" fmla="*/ 2147483647 w 237"/>
                <a:gd name="T97" fmla="*/ 2147483647 h 60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37"/>
                <a:gd name="T148" fmla="*/ 0 h 601"/>
                <a:gd name="T149" fmla="*/ 237 w 237"/>
                <a:gd name="T150" fmla="*/ 601 h 60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37" h="601">
                  <a:moveTo>
                    <a:pt x="69" y="560"/>
                  </a:moveTo>
                  <a:lnTo>
                    <a:pt x="61" y="543"/>
                  </a:lnTo>
                  <a:lnTo>
                    <a:pt x="53" y="528"/>
                  </a:lnTo>
                  <a:lnTo>
                    <a:pt x="46" y="510"/>
                  </a:lnTo>
                  <a:lnTo>
                    <a:pt x="40" y="493"/>
                  </a:lnTo>
                  <a:lnTo>
                    <a:pt x="25" y="493"/>
                  </a:lnTo>
                  <a:lnTo>
                    <a:pt x="9" y="493"/>
                  </a:lnTo>
                  <a:lnTo>
                    <a:pt x="5" y="478"/>
                  </a:lnTo>
                  <a:lnTo>
                    <a:pt x="0" y="464"/>
                  </a:lnTo>
                  <a:lnTo>
                    <a:pt x="0" y="455"/>
                  </a:lnTo>
                  <a:lnTo>
                    <a:pt x="0" y="445"/>
                  </a:lnTo>
                  <a:lnTo>
                    <a:pt x="5" y="445"/>
                  </a:lnTo>
                  <a:lnTo>
                    <a:pt x="9" y="445"/>
                  </a:lnTo>
                  <a:lnTo>
                    <a:pt x="15" y="439"/>
                  </a:lnTo>
                  <a:lnTo>
                    <a:pt x="19" y="436"/>
                  </a:lnTo>
                  <a:lnTo>
                    <a:pt x="38" y="430"/>
                  </a:lnTo>
                  <a:lnTo>
                    <a:pt x="57" y="426"/>
                  </a:lnTo>
                  <a:lnTo>
                    <a:pt x="63" y="426"/>
                  </a:lnTo>
                  <a:lnTo>
                    <a:pt x="69" y="426"/>
                  </a:lnTo>
                  <a:lnTo>
                    <a:pt x="78" y="426"/>
                  </a:lnTo>
                  <a:lnTo>
                    <a:pt x="88" y="426"/>
                  </a:lnTo>
                  <a:lnTo>
                    <a:pt x="78" y="386"/>
                  </a:lnTo>
                  <a:lnTo>
                    <a:pt x="69" y="347"/>
                  </a:lnTo>
                  <a:lnTo>
                    <a:pt x="59" y="309"/>
                  </a:lnTo>
                  <a:lnTo>
                    <a:pt x="49" y="271"/>
                  </a:lnTo>
                  <a:lnTo>
                    <a:pt x="53" y="269"/>
                  </a:lnTo>
                  <a:lnTo>
                    <a:pt x="57" y="265"/>
                  </a:lnTo>
                  <a:lnTo>
                    <a:pt x="61" y="263"/>
                  </a:lnTo>
                  <a:lnTo>
                    <a:pt x="63" y="261"/>
                  </a:lnTo>
                  <a:lnTo>
                    <a:pt x="63" y="251"/>
                  </a:lnTo>
                  <a:lnTo>
                    <a:pt x="63" y="242"/>
                  </a:lnTo>
                  <a:lnTo>
                    <a:pt x="61" y="240"/>
                  </a:lnTo>
                  <a:lnTo>
                    <a:pt x="57" y="236"/>
                  </a:lnTo>
                  <a:lnTo>
                    <a:pt x="57" y="226"/>
                  </a:lnTo>
                  <a:lnTo>
                    <a:pt x="57" y="217"/>
                  </a:lnTo>
                  <a:lnTo>
                    <a:pt x="61" y="215"/>
                  </a:lnTo>
                  <a:lnTo>
                    <a:pt x="63" y="213"/>
                  </a:lnTo>
                  <a:lnTo>
                    <a:pt x="65" y="211"/>
                  </a:lnTo>
                  <a:lnTo>
                    <a:pt x="69" y="207"/>
                  </a:lnTo>
                  <a:lnTo>
                    <a:pt x="71" y="205"/>
                  </a:lnTo>
                  <a:lnTo>
                    <a:pt x="72" y="203"/>
                  </a:lnTo>
                  <a:lnTo>
                    <a:pt x="74" y="200"/>
                  </a:lnTo>
                  <a:lnTo>
                    <a:pt x="78" y="198"/>
                  </a:lnTo>
                  <a:lnTo>
                    <a:pt x="80" y="196"/>
                  </a:lnTo>
                  <a:lnTo>
                    <a:pt x="82" y="194"/>
                  </a:lnTo>
                  <a:lnTo>
                    <a:pt x="97" y="192"/>
                  </a:lnTo>
                  <a:lnTo>
                    <a:pt x="113" y="190"/>
                  </a:lnTo>
                  <a:lnTo>
                    <a:pt x="128" y="190"/>
                  </a:lnTo>
                  <a:lnTo>
                    <a:pt x="145" y="188"/>
                  </a:lnTo>
                  <a:lnTo>
                    <a:pt x="147" y="186"/>
                  </a:lnTo>
                  <a:lnTo>
                    <a:pt x="149" y="184"/>
                  </a:lnTo>
                  <a:lnTo>
                    <a:pt x="153" y="180"/>
                  </a:lnTo>
                  <a:lnTo>
                    <a:pt x="155" y="178"/>
                  </a:lnTo>
                  <a:lnTo>
                    <a:pt x="157" y="177"/>
                  </a:lnTo>
                  <a:lnTo>
                    <a:pt x="161" y="175"/>
                  </a:lnTo>
                  <a:lnTo>
                    <a:pt x="163" y="171"/>
                  </a:lnTo>
                  <a:lnTo>
                    <a:pt x="165" y="169"/>
                  </a:lnTo>
                  <a:lnTo>
                    <a:pt x="167" y="167"/>
                  </a:lnTo>
                  <a:lnTo>
                    <a:pt x="168" y="165"/>
                  </a:lnTo>
                  <a:lnTo>
                    <a:pt x="172" y="161"/>
                  </a:lnTo>
                  <a:lnTo>
                    <a:pt x="172" y="155"/>
                  </a:lnTo>
                  <a:lnTo>
                    <a:pt x="172" y="148"/>
                  </a:lnTo>
                  <a:lnTo>
                    <a:pt x="168" y="146"/>
                  </a:lnTo>
                  <a:lnTo>
                    <a:pt x="167" y="142"/>
                  </a:lnTo>
                  <a:lnTo>
                    <a:pt x="165" y="140"/>
                  </a:lnTo>
                  <a:lnTo>
                    <a:pt x="165" y="131"/>
                  </a:lnTo>
                  <a:lnTo>
                    <a:pt x="165" y="121"/>
                  </a:lnTo>
                  <a:lnTo>
                    <a:pt x="167" y="119"/>
                  </a:lnTo>
                  <a:lnTo>
                    <a:pt x="168" y="115"/>
                  </a:lnTo>
                  <a:lnTo>
                    <a:pt x="172" y="113"/>
                  </a:lnTo>
                  <a:lnTo>
                    <a:pt x="174" y="111"/>
                  </a:lnTo>
                  <a:lnTo>
                    <a:pt x="176" y="109"/>
                  </a:lnTo>
                  <a:lnTo>
                    <a:pt x="178" y="106"/>
                  </a:lnTo>
                  <a:lnTo>
                    <a:pt x="182" y="104"/>
                  </a:lnTo>
                  <a:lnTo>
                    <a:pt x="184" y="102"/>
                  </a:lnTo>
                  <a:lnTo>
                    <a:pt x="186" y="100"/>
                  </a:lnTo>
                  <a:lnTo>
                    <a:pt x="190" y="96"/>
                  </a:lnTo>
                  <a:lnTo>
                    <a:pt x="190" y="83"/>
                  </a:lnTo>
                  <a:lnTo>
                    <a:pt x="190" y="67"/>
                  </a:lnTo>
                  <a:lnTo>
                    <a:pt x="186" y="65"/>
                  </a:lnTo>
                  <a:lnTo>
                    <a:pt x="184" y="63"/>
                  </a:lnTo>
                  <a:lnTo>
                    <a:pt x="163" y="60"/>
                  </a:lnTo>
                  <a:lnTo>
                    <a:pt x="140" y="58"/>
                  </a:lnTo>
                  <a:lnTo>
                    <a:pt x="138" y="56"/>
                  </a:lnTo>
                  <a:lnTo>
                    <a:pt x="136" y="54"/>
                  </a:lnTo>
                  <a:lnTo>
                    <a:pt x="134" y="50"/>
                  </a:lnTo>
                  <a:lnTo>
                    <a:pt x="130" y="48"/>
                  </a:lnTo>
                  <a:lnTo>
                    <a:pt x="128" y="46"/>
                  </a:lnTo>
                  <a:lnTo>
                    <a:pt x="126" y="44"/>
                  </a:lnTo>
                  <a:lnTo>
                    <a:pt x="126" y="38"/>
                  </a:lnTo>
                  <a:lnTo>
                    <a:pt x="126" y="33"/>
                  </a:lnTo>
                  <a:lnTo>
                    <a:pt x="128" y="31"/>
                  </a:lnTo>
                  <a:lnTo>
                    <a:pt x="130" y="29"/>
                  </a:lnTo>
                  <a:lnTo>
                    <a:pt x="134" y="27"/>
                  </a:lnTo>
                  <a:lnTo>
                    <a:pt x="136" y="25"/>
                  </a:lnTo>
                  <a:lnTo>
                    <a:pt x="138" y="21"/>
                  </a:lnTo>
                  <a:lnTo>
                    <a:pt x="140" y="19"/>
                  </a:lnTo>
                  <a:lnTo>
                    <a:pt x="142" y="17"/>
                  </a:lnTo>
                  <a:lnTo>
                    <a:pt x="145" y="15"/>
                  </a:lnTo>
                  <a:lnTo>
                    <a:pt x="147" y="12"/>
                  </a:lnTo>
                  <a:lnTo>
                    <a:pt x="149" y="10"/>
                  </a:lnTo>
                  <a:lnTo>
                    <a:pt x="153" y="8"/>
                  </a:lnTo>
                  <a:lnTo>
                    <a:pt x="155" y="4"/>
                  </a:lnTo>
                  <a:lnTo>
                    <a:pt x="157" y="2"/>
                  </a:lnTo>
                  <a:lnTo>
                    <a:pt x="161" y="0"/>
                  </a:lnTo>
                  <a:lnTo>
                    <a:pt x="165" y="0"/>
                  </a:lnTo>
                  <a:lnTo>
                    <a:pt x="168" y="0"/>
                  </a:lnTo>
                  <a:lnTo>
                    <a:pt x="172" y="2"/>
                  </a:lnTo>
                  <a:lnTo>
                    <a:pt x="174" y="4"/>
                  </a:lnTo>
                  <a:lnTo>
                    <a:pt x="176" y="8"/>
                  </a:lnTo>
                  <a:lnTo>
                    <a:pt x="178" y="10"/>
                  </a:lnTo>
                  <a:lnTo>
                    <a:pt x="182" y="12"/>
                  </a:lnTo>
                  <a:lnTo>
                    <a:pt x="184" y="15"/>
                  </a:lnTo>
                  <a:lnTo>
                    <a:pt x="186" y="17"/>
                  </a:lnTo>
                  <a:lnTo>
                    <a:pt x="190" y="19"/>
                  </a:lnTo>
                  <a:lnTo>
                    <a:pt x="191" y="21"/>
                  </a:lnTo>
                  <a:lnTo>
                    <a:pt x="193" y="25"/>
                  </a:lnTo>
                  <a:lnTo>
                    <a:pt x="197" y="27"/>
                  </a:lnTo>
                  <a:lnTo>
                    <a:pt x="203" y="29"/>
                  </a:lnTo>
                  <a:lnTo>
                    <a:pt x="203" y="38"/>
                  </a:lnTo>
                  <a:lnTo>
                    <a:pt x="203" y="48"/>
                  </a:lnTo>
                  <a:lnTo>
                    <a:pt x="216" y="107"/>
                  </a:lnTo>
                  <a:lnTo>
                    <a:pt x="228" y="171"/>
                  </a:lnTo>
                  <a:lnTo>
                    <a:pt x="232" y="203"/>
                  </a:lnTo>
                  <a:lnTo>
                    <a:pt x="236" y="236"/>
                  </a:lnTo>
                  <a:lnTo>
                    <a:pt x="237" y="271"/>
                  </a:lnTo>
                  <a:lnTo>
                    <a:pt x="237" y="305"/>
                  </a:lnTo>
                  <a:lnTo>
                    <a:pt x="236" y="338"/>
                  </a:lnTo>
                  <a:lnTo>
                    <a:pt x="234" y="370"/>
                  </a:lnTo>
                  <a:lnTo>
                    <a:pt x="228" y="403"/>
                  </a:lnTo>
                  <a:lnTo>
                    <a:pt x="222" y="436"/>
                  </a:lnTo>
                  <a:lnTo>
                    <a:pt x="214" y="464"/>
                  </a:lnTo>
                  <a:lnTo>
                    <a:pt x="203" y="493"/>
                  </a:lnTo>
                  <a:lnTo>
                    <a:pt x="190" y="522"/>
                  </a:lnTo>
                  <a:lnTo>
                    <a:pt x="174" y="547"/>
                  </a:lnTo>
                  <a:lnTo>
                    <a:pt x="155" y="545"/>
                  </a:lnTo>
                  <a:lnTo>
                    <a:pt x="136" y="543"/>
                  </a:lnTo>
                  <a:lnTo>
                    <a:pt x="117" y="543"/>
                  </a:lnTo>
                  <a:lnTo>
                    <a:pt x="97" y="541"/>
                  </a:lnTo>
                  <a:lnTo>
                    <a:pt x="97" y="551"/>
                  </a:lnTo>
                  <a:lnTo>
                    <a:pt x="97" y="560"/>
                  </a:lnTo>
                  <a:lnTo>
                    <a:pt x="88" y="564"/>
                  </a:lnTo>
                  <a:lnTo>
                    <a:pt x="80" y="568"/>
                  </a:lnTo>
                  <a:lnTo>
                    <a:pt x="84" y="583"/>
                  </a:lnTo>
                  <a:lnTo>
                    <a:pt x="88" y="601"/>
                  </a:lnTo>
                  <a:lnTo>
                    <a:pt x="78" y="580"/>
                  </a:lnTo>
                  <a:lnTo>
                    <a:pt x="69" y="560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3" name="Freeform 93">
              <a:extLst>
                <a:ext uri="{FF2B5EF4-FFF2-40B4-BE49-F238E27FC236}">
                  <a16:creationId xmlns:a16="http://schemas.microsoft.com/office/drawing/2014/main" xmlns="" id="{98C352F1-C33E-D14F-B43C-4C982288A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0400" y="1857191"/>
              <a:ext cx="2295525" cy="2751137"/>
            </a:xfrm>
            <a:custGeom>
              <a:avLst/>
              <a:gdLst>
                <a:gd name="T0" fmla="*/ 2147483647 w 1479"/>
                <a:gd name="T1" fmla="*/ 2147483647 h 1836"/>
                <a:gd name="T2" fmla="*/ 2147483647 w 1479"/>
                <a:gd name="T3" fmla="*/ 2147483647 h 1836"/>
                <a:gd name="T4" fmla="*/ 2147483647 w 1479"/>
                <a:gd name="T5" fmla="*/ 2147483647 h 1836"/>
                <a:gd name="T6" fmla="*/ 2147483647 w 1479"/>
                <a:gd name="T7" fmla="*/ 2147483647 h 1836"/>
                <a:gd name="T8" fmla="*/ 2147483647 w 1479"/>
                <a:gd name="T9" fmla="*/ 2147483647 h 1836"/>
                <a:gd name="T10" fmla="*/ 2147483647 w 1479"/>
                <a:gd name="T11" fmla="*/ 2147483647 h 1836"/>
                <a:gd name="T12" fmla="*/ 2147483647 w 1479"/>
                <a:gd name="T13" fmla="*/ 2147483647 h 1836"/>
                <a:gd name="T14" fmla="*/ 2147483647 w 1479"/>
                <a:gd name="T15" fmla="*/ 2147483647 h 1836"/>
                <a:gd name="T16" fmla="*/ 2147483647 w 1479"/>
                <a:gd name="T17" fmla="*/ 2147483647 h 1836"/>
                <a:gd name="T18" fmla="*/ 2147483647 w 1479"/>
                <a:gd name="T19" fmla="*/ 2147483647 h 1836"/>
                <a:gd name="T20" fmla="*/ 2147483647 w 1479"/>
                <a:gd name="T21" fmla="*/ 2147483647 h 1836"/>
                <a:gd name="T22" fmla="*/ 2147483647 w 1479"/>
                <a:gd name="T23" fmla="*/ 2147483647 h 1836"/>
                <a:gd name="T24" fmla="*/ 2147483647 w 1479"/>
                <a:gd name="T25" fmla="*/ 2147483647 h 1836"/>
                <a:gd name="T26" fmla="*/ 2147483647 w 1479"/>
                <a:gd name="T27" fmla="*/ 2147483647 h 1836"/>
                <a:gd name="T28" fmla="*/ 2147483647 w 1479"/>
                <a:gd name="T29" fmla="*/ 2147483647 h 1836"/>
                <a:gd name="T30" fmla="*/ 2147483647 w 1479"/>
                <a:gd name="T31" fmla="*/ 2147483647 h 1836"/>
                <a:gd name="T32" fmla="*/ 2147483647 w 1479"/>
                <a:gd name="T33" fmla="*/ 2147483647 h 1836"/>
                <a:gd name="T34" fmla="*/ 2147483647 w 1479"/>
                <a:gd name="T35" fmla="*/ 2147483647 h 1836"/>
                <a:gd name="T36" fmla="*/ 2147483647 w 1479"/>
                <a:gd name="T37" fmla="*/ 2147483647 h 1836"/>
                <a:gd name="T38" fmla="*/ 2147483647 w 1479"/>
                <a:gd name="T39" fmla="*/ 2147483647 h 1836"/>
                <a:gd name="T40" fmla="*/ 2147483647 w 1479"/>
                <a:gd name="T41" fmla="*/ 2147483647 h 1836"/>
                <a:gd name="T42" fmla="*/ 2147483647 w 1479"/>
                <a:gd name="T43" fmla="*/ 2147483647 h 1836"/>
                <a:gd name="T44" fmla="*/ 2147483647 w 1479"/>
                <a:gd name="T45" fmla="*/ 2147483647 h 1836"/>
                <a:gd name="T46" fmla="*/ 2147483647 w 1479"/>
                <a:gd name="T47" fmla="*/ 2147483647 h 1836"/>
                <a:gd name="T48" fmla="*/ 2147483647 w 1479"/>
                <a:gd name="T49" fmla="*/ 2147483647 h 1836"/>
                <a:gd name="T50" fmla="*/ 2147483647 w 1479"/>
                <a:gd name="T51" fmla="*/ 2147483647 h 1836"/>
                <a:gd name="T52" fmla="*/ 2147483647 w 1479"/>
                <a:gd name="T53" fmla="*/ 2147483647 h 1836"/>
                <a:gd name="T54" fmla="*/ 2147483647 w 1479"/>
                <a:gd name="T55" fmla="*/ 2147483647 h 1836"/>
                <a:gd name="T56" fmla="*/ 2147483647 w 1479"/>
                <a:gd name="T57" fmla="*/ 2147483647 h 1836"/>
                <a:gd name="T58" fmla="*/ 2147483647 w 1479"/>
                <a:gd name="T59" fmla="*/ 2147483647 h 1836"/>
                <a:gd name="T60" fmla="*/ 2147483647 w 1479"/>
                <a:gd name="T61" fmla="*/ 2147483647 h 1836"/>
                <a:gd name="T62" fmla="*/ 2147483647 w 1479"/>
                <a:gd name="T63" fmla="*/ 2147483647 h 1836"/>
                <a:gd name="T64" fmla="*/ 2147483647 w 1479"/>
                <a:gd name="T65" fmla="*/ 2147483647 h 1836"/>
                <a:gd name="T66" fmla="*/ 2147483647 w 1479"/>
                <a:gd name="T67" fmla="*/ 2147483647 h 1836"/>
                <a:gd name="T68" fmla="*/ 2147483647 w 1479"/>
                <a:gd name="T69" fmla="*/ 2147483647 h 1836"/>
                <a:gd name="T70" fmla="*/ 2147483647 w 1479"/>
                <a:gd name="T71" fmla="*/ 2147483647 h 1836"/>
                <a:gd name="T72" fmla="*/ 2147483647 w 1479"/>
                <a:gd name="T73" fmla="*/ 2147483647 h 1836"/>
                <a:gd name="T74" fmla="*/ 2147483647 w 1479"/>
                <a:gd name="T75" fmla="*/ 2147483647 h 1836"/>
                <a:gd name="T76" fmla="*/ 2147483647 w 1479"/>
                <a:gd name="T77" fmla="*/ 2147483647 h 1836"/>
                <a:gd name="T78" fmla="*/ 2147483647 w 1479"/>
                <a:gd name="T79" fmla="*/ 2147483647 h 1836"/>
                <a:gd name="T80" fmla="*/ 2147483647 w 1479"/>
                <a:gd name="T81" fmla="*/ 2147483647 h 1836"/>
                <a:gd name="T82" fmla="*/ 2147483647 w 1479"/>
                <a:gd name="T83" fmla="*/ 2147483647 h 1836"/>
                <a:gd name="T84" fmla="*/ 2147483647 w 1479"/>
                <a:gd name="T85" fmla="*/ 2147483647 h 1836"/>
                <a:gd name="T86" fmla="*/ 2147483647 w 1479"/>
                <a:gd name="T87" fmla="*/ 2147483647 h 1836"/>
                <a:gd name="T88" fmla="*/ 2147483647 w 1479"/>
                <a:gd name="T89" fmla="*/ 2147483647 h 1836"/>
                <a:gd name="T90" fmla="*/ 2147483647 w 1479"/>
                <a:gd name="T91" fmla="*/ 2147483647 h 1836"/>
                <a:gd name="T92" fmla="*/ 2147483647 w 1479"/>
                <a:gd name="T93" fmla="*/ 2147483647 h 1836"/>
                <a:gd name="T94" fmla="*/ 2147483647 w 1479"/>
                <a:gd name="T95" fmla="*/ 2147483647 h 1836"/>
                <a:gd name="T96" fmla="*/ 2147483647 w 1479"/>
                <a:gd name="T97" fmla="*/ 2147483647 h 1836"/>
                <a:gd name="T98" fmla="*/ 2147483647 w 1479"/>
                <a:gd name="T99" fmla="*/ 2147483647 h 1836"/>
                <a:gd name="T100" fmla="*/ 2147483647 w 1479"/>
                <a:gd name="T101" fmla="*/ 2147483647 h 1836"/>
                <a:gd name="T102" fmla="*/ 2147483647 w 1479"/>
                <a:gd name="T103" fmla="*/ 2147483647 h 1836"/>
                <a:gd name="T104" fmla="*/ 2147483647 w 1479"/>
                <a:gd name="T105" fmla="*/ 2147483647 h 1836"/>
                <a:gd name="T106" fmla="*/ 2147483647 w 1479"/>
                <a:gd name="T107" fmla="*/ 2147483647 h 1836"/>
                <a:gd name="T108" fmla="*/ 2147483647 w 1479"/>
                <a:gd name="T109" fmla="*/ 2147483647 h 1836"/>
                <a:gd name="T110" fmla="*/ 2147483647 w 1479"/>
                <a:gd name="T111" fmla="*/ 2147483647 h 1836"/>
                <a:gd name="T112" fmla="*/ 2147483647 w 1479"/>
                <a:gd name="T113" fmla="*/ 2147483647 h 1836"/>
                <a:gd name="T114" fmla="*/ 2147483647 w 1479"/>
                <a:gd name="T115" fmla="*/ 2147483647 h 1836"/>
                <a:gd name="T116" fmla="*/ 2147483647 w 1479"/>
                <a:gd name="T117" fmla="*/ 2147483647 h 1836"/>
                <a:gd name="T118" fmla="*/ 2147483647 w 1479"/>
                <a:gd name="T119" fmla="*/ 2147483647 h 1836"/>
                <a:gd name="T120" fmla="*/ 2147483647 w 1479"/>
                <a:gd name="T121" fmla="*/ 2147483647 h 1836"/>
                <a:gd name="T122" fmla="*/ 2147483647 w 1479"/>
                <a:gd name="T123" fmla="*/ 2147483647 h 1836"/>
                <a:gd name="T124" fmla="*/ 2147483647 w 1479"/>
                <a:gd name="T125" fmla="*/ 2147483647 h 18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479"/>
                <a:gd name="T190" fmla="*/ 0 h 1836"/>
                <a:gd name="T191" fmla="*/ 1479 w 1479"/>
                <a:gd name="T192" fmla="*/ 1836 h 18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479" h="1836">
                  <a:moveTo>
                    <a:pt x="1410" y="831"/>
                  </a:moveTo>
                  <a:lnTo>
                    <a:pt x="1414" y="841"/>
                  </a:lnTo>
                  <a:lnTo>
                    <a:pt x="1416" y="850"/>
                  </a:lnTo>
                  <a:lnTo>
                    <a:pt x="1418" y="852"/>
                  </a:lnTo>
                  <a:lnTo>
                    <a:pt x="1421" y="856"/>
                  </a:lnTo>
                  <a:lnTo>
                    <a:pt x="1423" y="862"/>
                  </a:lnTo>
                  <a:lnTo>
                    <a:pt x="1425" y="869"/>
                  </a:lnTo>
                  <a:lnTo>
                    <a:pt x="1427" y="873"/>
                  </a:lnTo>
                  <a:lnTo>
                    <a:pt x="1431" y="875"/>
                  </a:lnTo>
                  <a:lnTo>
                    <a:pt x="1435" y="892"/>
                  </a:lnTo>
                  <a:lnTo>
                    <a:pt x="1441" y="908"/>
                  </a:lnTo>
                  <a:lnTo>
                    <a:pt x="1423" y="908"/>
                  </a:lnTo>
                  <a:lnTo>
                    <a:pt x="1414" y="910"/>
                  </a:lnTo>
                  <a:lnTo>
                    <a:pt x="1412" y="910"/>
                  </a:lnTo>
                  <a:lnTo>
                    <a:pt x="1410" y="913"/>
                  </a:lnTo>
                  <a:lnTo>
                    <a:pt x="1408" y="915"/>
                  </a:lnTo>
                  <a:lnTo>
                    <a:pt x="1406" y="917"/>
                  </a:lnTo>
                  <a:lnTo>
                    <a:pt x="1398" y="921"/>
                  </a:lnTo>
                  <a:lnTo>
                    <a:pt x="1393" y="923"/>
                  </a:lnTo>
                  <a:lnTo>
                    <a:pt x="1389" y="925"/>
                  </a:lnTo>
                  <a:lnTo>
                    <a:pt x="1387" y="929"/>
                  </a:lnTo>
                  <a:lnTo>
                    <a:pt x="1385" y="935"/>
                  </a:lnTo>
                  <a:lnTo>
                    <a:pt x="1381" y="942"/>
                  </a:lnTo>
                  <a:lnTo>
                    <a:pt x="1379" y="944"/>
                  </a:lnTo>
                  <a:lnTo>
                    <a:pt x="1377" y="948"/>
                  </a:lnTo>
                  <a:lnTo>
                    <a:pt x="1356" y="948"/>
                  </a:lnTo>
                  <a:lnTo>
                    <a:pt x="1335" y="950"/>
                  </a:lnTo>
                  <a:lnTo>
                    <a:pt x="1316" y="952"/>
                  </a:lnTo>
                  <a:lnTo>
                    <a:pt x="1295" y="952"/>
                  </a:lnTo>
                  <a:lnTo>
                    <a:pt x="1293" y="954"/>
                  </a:lnTo>
                  <a:lnTo>
                    <a:pt x="1289" y="958"/>
                  </a:lnTo>
                  <a:lnTo>
                    <a:pt x="1289" y="977"/>
                  </a:lnTo>
                  <a:lnTo>
                    <a:pt x="1289" y="996"/>
                  </a:lnTo>
                  <a:lnTo>
                    <a:pt x="1293" y="998"/>
                  </a:lnTo>
                  <a:lnTo>
                    <a:pt x="1295" y="1000"/>
                  </a:lnTo>
                  <a:lnTo>
                    <a:pt x="1297" y="1013"/>
                  </a:lnTo>
                  <a:lnTo>
                    <a:pt x="1300" y="1025"/>
                  </a:lnTo>
                  <a:lnTo>
                    <a:pt x="1302" y="1027"/>
                  </a:lnTo>
                  <a:lnTo>
                    <a:pt x="1304" y="1029"/>
                  </a:lnTo>
                  <a:lnTo>
                    <a:pt x="1304" y="1054"/>
                  </a:lnTo>
                  <a:lnTo>
                    <a:pt x="1304" y="1079"/>
                  </a:lnTo>
                  <a:lnTo>
                    <a:pt x="1302" y="1080"/>
                  </a:lnTo>
                  <a:lnTo>
                    <a:pt x="1300" y="1082"/>
                  </a:lnTo>
                  <a:lnTo>
                    <a:pt x="1300" y="1102"/>
                  </a:lnTo>
                  <a:lnTo>
                    <a:pt x="1300" y="1121"/>
                  </a:lnTo>
                  <a:lnTo>
                    <a:pt x="1302" y="1125"/>
                  </a:lnTo>
                  <a:lnTo>
                    <a:pt x="1304" y="1126"/>
                  </a:lnTo>
                  <a:lnTo>
                    <a:pt x="1306" y="1138"/>
                  </a:lnTo>
                  <a:lnTo>
                    <a:pt x="1310" y="1149"/>
                  </a:lnTo>
                  <a:lnTo>
                    <a:pt x="1312" y="1153"/>
                  </a:lnTo>
                  <a:lnTo>
                    <a:pt x="1314" y="1155"/>
                  </a:lnTo>
                  <a:lnTo>
                    <a:pt x="1316" y="1157"/>
                  </a:lnTo>
                  <a:lnTo>
                    <a:pt x="1320" y="1161"/>
                  </a:lnTo>
                  <a:lnTo>
                    <a:pt x="1322" y="1163"/>
                  </a:lnTo>
                  <a:lnTo>
                    <a:pt x="1323" y="1165"/>
                  </a:lnTo>
                  <a:lnTo>
                    <a:pt x="1325" y="1167"/>
                  </a:lnTo>
                  <a:lnTo>
                    <a:pt x="1329" y="1171"/>
                  </a:lnTo>
                  <a:lnTo>
                    <a:pt x="1331" y="1173"/>
                  </a:lnTo>
                  <a:lnTo>
                    <a:pt x="1333" y="1174"/>
                  </a:lnTo>
                  <a:lnTo>
                    <a:pt x="1335" y="1176"/>
                  </a:lnTo>
                  <a:lnTo>
                    <a:pt x="1339" y="1180"/>
                  </a:lnTo>
                  <a:lnTo>
                    <a:pt x="1341" y="1182"/>
                  </a:lnTo>
                  <a:lnTo>
                    <a:pt x="1343" y="1184"/>
                  </a:lnTo>
                  <a:lnTo>
                    <a:pt x="1348" y="1203"/>
                  </a:lnTo>
                  <a:lnTo>
                    <a:pt x="1352" y="1222"/>
                  </a:lnTo>
                  <a:lnTo>
                    <a:pt x="1350" y="1226"/>
                  </a:lnTo>
                  <a:lnTo>
                    <a:pt x="1348" y="1228"/>
                  </a:lnTo>
                  <a:lnTo>
                    <a:pt x="1345" y="1249"/>
                  </a:lnTo>
                  <a:lnTo>
                    <a:pt x="1343" y="1270"/>
                  </a:lnTo>
                  <a:lnTo>
                    <a:pt x="1341" y="1274"/>
                  </a:lnTo>
                  <a:lnTo>
                    <a:pt x="1339" y="1276"/>
                  </a:lnTo>
                  <a:lnTo>
                    <a:pt x="1335" y="1278"/>
                  </a:lnTo>
                  <a:lnTo>
                    <a:pt x="1333" y="1282"/>
                  </a:lnTo>
                  <a:lnTo>
                    <a:pt x="1331" y="1284"/>
                  </a:lnTo>
                  <a:lnTo>
                    <a:pt x="1329" y="1286"/>
                  </a:lnTo>
                  <a:lnTo>
                    <a:pt x="1318" y="1288"/>
                  </a:lnTo>
                  <a:lnTo>
                    <a:pt x="1304" y="1291"/>
                  </a:lnTo>
                  <a:lnTo>
                    <a:pt x="1302" y="1293"/>
                  </a:lnTo>
                  <a:lnTo>
                    <a:pt x="1300" y="1295"/>
                  </a:lnTo>
                  <a:lnTo>
                    <a:pt x="1297" y="1297"/>
                  </a:lnTo>
                  <a:lnTo>
                    <a:pt x="1295" y="1299"/>
                  </a:lnTo>
                  <a:lnTo>
                    <a:pt x="1293" y="1303"/>
                  </a:lnTo>
                  <a:lnTo>
                    <a:pt x="1289" y="1305"/>
                  </a:lnTo>
                  <a:lnTo>
                    <a:pt x="1287" y="1322"/>
                  </a:lnTo>
                  <a:lnTo>
                    <a:pt x="1285" y="1339"/>
                  </a:lnTo>
                  <a:lnTo>
                    <a:pt x="1283" y="1341"/>
                  </a:lnTo>
                  <a:lnTo>
                    <a:pt x="1281" y="1343"/>
                  </a:lnTo>
                  <a:lnTo>
                    <a:pt x="1274" y="1345"/>
                  </a:lnTo>
                  <a:lnTo>
                    <a:pt x="1266" y="1349"/>
                  </a:lnTo>
                  <a:lnTo>
                    <a:pt x="1264" y="1351"/>
                  </a:lnTo>
                  <a:lnTo>
                    <a:pt x="1260" y="1353"/>
                  </a:lnTo>
                  <a:lnTo>
                    <a:pt x="1258" y="1357"/>
                  </a:lnTo>
                  <a:lnTo>
                    <a:pt x="1256" y="1359"/>
                  </a:lnTo>
                  <a:lnTo>
                    <a:pt x="1254" y="1361"/>
                  </a:lnTo>
                  <a:lnTo>
                    <a:pt x="1251" y="1364"/>
                  </a:lnTo>
                  <a:lnTo>
                    <a:pt x="1249" y="1366"/>
                  </a:lnTo>
                  <a:lnTo>
                    <a:pt x="1247" y="1368"/>
                  </a:lnTo>
                  <a:lnTo>
                    <a:pt x="1245" y="1370"/>
                  </a:lnTo>
                  <a:lnTo>
                    <a:pt x="1243" y="1372"/>
                  </a:lnTo>
                  <a:lnTo>
                    <a:pt x="1233" y="1376"/>
                  </a:lnTo>
                  <a:lnTo>
                    <a:pt x="1228" y="1378"/>
                  </a:lnTo>
                  <a:lnTo>
                    <a:pt x="1224" y="1380"/>
                  </a:lnTo>
                  <a:lnTo>
                    <a:pt x="1222" y="1382"/>
                  </a:lnTo>
                  <a:lnTo>
                    <a:pt x="1222" y="1407"/>
                  </a:lnTo>
                  <a:lnTo>
                    <a:pt x="1222" y="1432"/>
                  </a:lnTo>
                  <a:lnTo>
                    <a:pt x="1224" y="1433"/>
                  </a:lnTo>
                  <a:lnTo>
                    <a:pt x="1228" y="1435"/>
                  </a:lnTo>
                  <a:lnTo>
                    <a:pt x="1228" y="1460"/>
                  </a:lnTo>
                  <a:lnTo>
                    <a:pt x="1228" y="1483"/>
                  </a:lnTo>
                  <a:lnTo>
                    <a:pt x="1224" y="1487"/>
                  </a:lnTo>
                  <a:lnTo>
                    <a:pt x="1222" y="1489"/>
                  </a:lnTo>
                  <a:lnTo>
                    <a:pt x="1214" y="1491"/>
                  </a:lnTo>
                  <a:lnTo>
                    <a:pt x="1208" y="1493"/>
                  </a:lnTo>
                  <a:lnTo>
                    <a:pt x="1214" y="1501"/>
                  </a:lnTo>
                  <a:lnTo>
                    <a:pt x="1222" y="1508"/>
                  </a:lnTo>
                  <a:lnTo>
                    <a:pt x="1224" y="1510"/>
                  </a:lnTo>
                  <a:lnTo>
                    <a:pt x="1228" y="1514"/>
                  </a:lnTo>
                  <a:lnTo>
                    <a:pt x="1233" y="1516"/>
                  </a:lnTo>
                  <a:lnTo>
                    <a:pt x="1243" y="1518"/>
                  </a:lnTo>
                  <a:lnTo>
                    <a:pt x="1245" y="1520"/>
                  </a:lnTo>
                  <a:lnTo>
                    <a:pt x="1247" y="1524"/>
                  </a:lnTo>
                  <a:lnTo>
                    <a:pt x="1251" y="1533"/>
                  </a:lnTo>
                  <a:lnTo>
                    <a:pt x="1256" y="1543"/>
                  </a:lnTo>
                  <a:lnTo>
                    <a:pt x="1254" y="1545"/>
                  </a:lnTo>
                  <a:lnTo>
                    <a:pt x="1251" y="1547"/>
                  </a:lnTo>
                  <a:lnTo>
                    <a:pt x="1251" y="1562"/>
                  </a:lnTo>
                  <a:lnTo>
                    <a:pt x="1251" y="1575"/>
                  </a:lnTo>
                  <a:lnTo>
                    <a:pt x="1254" y="1577"/>
                  </a:lnTo>
                  <a:lnTo>
                    <a:pt x="1256" y="1581"/>
                  </a:lnTo>
                  <a:lnTo>
                    <a:pt x="1264" y="1583"/>
                  </a:lnTo>
                  <a:lnTo>
                    <a:pt x="1272" y="1585"/>
                  </a:lnTo>
                  <a:lnTo>
                    <a:pt x="1274" y="1587"/>
                  </a:lnTo>
                  <a:lnTo>
                    <a:pt x="1276" y="1591"/>
                  </a:lnTo>
                  <a:lnTo>
                    <a:pt x="1283" y="1593"/>
                  </a:lnTo>
                  <a:lnTo>
                    <a:pt x="1289" y="1597"/>
                  </a:lnTo>
                  <a:lnTo>
                    <a:pt x="1293" y="1598"/>
                  </a:lnTo>
                  <a:lnTo>
                    <a:pt x="1295" y="1600"/>
                  </a:lnTo>
                  <a:lnTo>
                    <a:pt x="1297" y="1622"/>
                  </a:lnTo>
                  <a:lnTo>
                    <a:pt x="1300" y="1645"/>
                  </a:lnTo>
                  <a:lnTo>
                    <a:pt x="1302" y="1646"/>
                  </a:lnTo>
                  <a:lnTo>
                    <a:pt x="1304" y="1648"/>
                  </a:lnTo>
                  <a:lnTo>
                    <a:pt x="1306" y="1650"/>
                  </a:lnTo>
                  <a:lnTo>
                    <a:pt x="1310" y="1654"/>
                  </a:lnTo>
                  <a:lnTo>
                    <a:pt x="1312" y="1656"/>
                  </a:lnTo>
                  <a:lnTo>
                    <a:pt x="1314" y="1658"/>
                  </a:lnTo>
                  <a:lnTo>
                    <a:pt x="1316" y="1660"/>
                  </a:lnTo>
                  <a:lnTo>
                    <a:pt x="1320" y="1664"/>
                  </a:lnTo>
                  <a:lnTo>
                    <a:pt x="1322" y="1666"/>
                  </a:lnTo>
                  <a:lnTo>
                    <a:pt x="1323" y="1668"/>
                  </a:lnTo>
                  <a:lnTo>
                    <a:pt x="1323" y="1673"/>
                  </a:lnTo>
                  <a:lnTo>
                    <a:pt x="1323" y="1677"/>
                  </a:lnTo>
                  <a:lnTo>
                    <a:pt x="1322" y="1679"/>
                  </a:lnTo>
                  <a:lnTo>
                    <a:pt x="1320" y="1683"/>
                  </a:lnTo>
                  <a:lnTo>
                    <a:pt x="1306" y="1685"/>
                  </a:lnTo>
                  <a:lnTo>
                    <a:pt x="1295" y="1687"/>
                  </a:lnTo>
                  <a:lnTo>
                    <a:pt x="1293" y="1689"/>
                  </a:lnTo>
                  <a:lnTo>
                    <a:pt x="1289" y="1693"/>
                  </a:lnTo>
                  <a:lnTo>
                    <a:pt x="1277" y="1698"/>
                  </a:lnTo>
                  <a:lnTo>
                    <a:pt x="1266" y="1706"/>
                  </a:lnTo>
                  <a:lnTo>
                    <a:pt x="1264" y="1710"/>
                  </a:lnTo>
                  <a:lnTo>
                    <a:pt x="1260" y="1712"/>
                  </a:lnTo>
                  <a:lnTo>
                    <a:pt x="1258" y="1714"/>
                  </a:lnTo>
                  <a:lnTo>
                    <a:pt x="1256" y="1716"/>
                  </a:lnTo>
                  <a:lnTo>
                    <a:pt x="1254" y="1719"/>
                  </a:lnTo>
                  <a:lnTo>
                    <a:pt x="1251" y="1721"/>
                  </a:lnTo>
                  <a:lnTo>
                    <a:pt x="1249" y="1723"/>
                  </a:lnTo>
                  <a:lnTo>
                    <a:pt x="1247" y="1725"/>
                  </a:lnTo>
                  <a:lnTo>
                    <a:pt x="1245" y="1729"/>
                  </a:lnTo>
                  <a:lnTo>
                    <a:pt x="1243" y="1731"/>
                  </a:lnTo>
                  <a:lnTo>
                    <a:pt x="1239" y="1733"/>
                  </a:lnTo>
                  <a:lnTo>
                    <a:pt x="1237" y="1735"/>
                  </a:lnTo>
                  <a:lnTo>
                    <a:pt x="1233" y="1739"/>
                  </a:lnTo>
                  <a:lnTo>
                    <a:pt x="1231" y="1740"/>
                  </a:lnTo>
                  <a:lnTo>
                    <a:pt x="1229" y="1742"/>
                  </a:lnTo>
                  <a:lnTo>
                    <a:pt x="1228" y="1746"/>
                  </a:lnTo>
                  <a:lnTo>
                    <a:pt x="1224" y="1748"/>
                  </a:lnTo>
                  <a:lnTo>
                    <a:pt x="1222" y="1750"/>
                  </a:lnTo>
                  <a:lnTo>
                    <a:pt x="1220" y="1752"/>
                  </a:lnTo>
                  <a:lnTo>
                    <a:pt x="1218" y="1756"/>
                  </a:lnTo>
                  <a:lnTo>
                    <a:pt x="1216" y="1758"/>
                  </a:lnTo>
                  <a:lnTo>
                    <a:pt x="1212" y="1760"/>
                  </a:lnTo>
                  <a:lnTo>
                    <a:pt x="1201" y="1762"/>
                  </a:lnTo>
                  <a:lnTo>
                    <a:pt x="1189" y="1763"/>
                  </a:lnTo>
                  <a:lnTo>
                    <a:pt x="1185" y="1767"/>
                  </a:lnTo>
                  <a:lnTo>
                    <a:pt x="1183" y="1769"/>
                  </a:lnTo>
                  <a:lnTo>
                    <a:pt x="1176" y="1771"/>
                  </a:lnTo>
                  <a:lnTo>
                    <a:pt x="1170" y="1775"/>
                  </a:lnTo>
                  <a:lnTo>
                    <a:pt x="1166" y="1777"/>
                  </a:lnTo>
                  <a:lnTo>
                    <a:pt x="1164" y="1779"/>
                  </a:lnTo>
                  <a:lnTo>
                    <a:pt x="1162" y="1781"/>
                  </a:lnTo>
                  <a:lnTo>
                    <a:pt x="1160" y="1785"/>
                  </a:lnTo>
                  <a:lnTo>
                    <a:pt x="1157" y="1787"/>
                  </a:lnTo>
                  <a:lnTo>
                    <a:pt x="1155" y="1788"/>
                  </a:lnTo>
                  <a:lnTo>
                    <a:pt x="1153" y="1790"/>
                  </a:lnTo>
                  <a:lnTo>
                    <a:pt x="1149" y="1794"/>
                  </a:lnTo>
                  <a:lnTo>
                    <a:pt x="1147" y="1796"/>
                  </a:lnTo>
                  <a:lnTo>
                    <a:pt x="1145" y="1798"/>
                  </a:lnTo>
                  <a:lnTo>
                    <a:pt x="1137" y="1802"/>
                  </a:lnTo>
                  <a:lnTo>
                    <a:pt x="1130" y="1804"/>
                  </a:lnTo>
                  <a:lnTo>
                    <a:pt x="1128" y="1806"/>
                  </a:lnTo>
                  <a:lnTo>
                    <a:pt x="1126" y="1808"/>
                  </a:lnTo>
                  <a:lnTo>
                    <a:pt x="1114" y="1810"/>
                  </a:lnTo>
                  <a:lnTo>
                    <a:pt x="1101" y="1813"/>
                  </a:lnTo>
                  <a:lnTo>
                    <a:pt x="1099" y="1815"/>
                  </a:lnTo>
                  <a:lnTo>
                    <a:pt x="1097" y="1817"/>
                  </a:lnTo>
                  <a:lnTo>
                    <a:pt x="1080" y="1819"/>
                  </a:lnTo>
                  <a:lnTo>
                    <a:pt x="1063" y="1823"/>
                  </a:lnTo>
                  <a:lnTo>
                    <a:pt x="1061" y="1825"/>
                  </a:lnTo>
                  <a:lnTo>
                    <a:pt x="1059" y="1827"/>
                  </a:lnTo>
                  <a:lnTo>
                    <a:pt x="1049" y="1827"/>
                  </a:lnTo>
                  <a:lnTo>
                    <a:pt x="1040" y="1827"/>
                  </a:lnTo>
                  <a:lnTo>
                    <a:pt x="1036" y="1825"/>
                  </a:lnTo>
                  <a:lnTo>
                    <a:pt x="1034" y="1823"/>
                  </a:lnTo>
                  <a:lnTo>
                    <a:pt x="1026" y="1819"/>
                  </a:lnTo>
                  <a:lnTo>
                    <a:pt x="1018" y="1817"/>
                  </a:lnTo>
                  <a:lnTo>
                    <a:pt x="1017" y="1815"/>
                  </a:lnTo>
                  <a:lnTo>
                    <a:pt x="1015" y="1813"/>
                  </a:lnTo>
                  <a:lnTo>
                    <a:pt x="1007" y="1810"/>
                  </a:lnTo>
                  <a:lnTo>
                    <a:pt x="999" y="1808"/>
                  </a:lnTo>
                  <a:lnTo>
                    <a:pt x="997" y="1806"/>
                  </a:lnTo>
                  <a:lnTo>
                    <a:pt x="995" y="1804"/>
                  </a:lnTo>
                  <a:lnTo>
                    <a:pt x="990" y="1804"/>
                  </a:lnTo>
                  <a:lnTo>
                    <a:pt x="986" y="1804"/>
                  </a:lnTo>
                  <a:lnTo>
                    <a:pt x="984" y="1806"/>
                  </a:lnTo>
                  <a:lnTo>
                    <a:pt x="980" y="1808"/>
                  </a:lnTo>
                  <a:lnTo>
                    <a:pt x="965" y="1810"/>
                  </a:lnTo>
                  <a:lnTo>
                    <a:pt x="949" y="1810"/>
                  </a:lnTo>
                  <a:lnTo>
                    <a:pt x="934" y="1811"/>
                  </a:lnTo>
                  <a:lnTo>
                    <a:pt x="917" y="1813"/>
                  </a:lnTo>
                  <a:lnTo>
                    <a:pt x="915" y="1815"/>
                  </a:lnTo>
                  <a:lnTo>
                    <a:pt x="913" y="1817"/>
                  </a:lnTo>
                  <a:lnTo>
                    <a:pt x="898" y="1817"/>
                  </a:lnTo>
                  <a:lnTo>
                    <a:pt x="884" y="1817"/>
                  </a:lnTo>
                  <a:lnTo>
                    <a:pt x="880" y="1815"/>
                  </a:lnTo>
                  <a:lnTo>
                    <a:pt x="878" y="1813"/>
                  </a:lnTo>
                  <a:lnTo>
                    <a:pt x="869" y="1813"/>
                  </a:lnTo>
                  <a:lnTo>
                    <a:pt x="859" y="1813"/>
                  </a:lnTo>
                  <a:lnTo>
                    <a:pt x="857" y="1815"/>
                  </a:lnTo>
                  <a:lnTo>
                    <a:pt x="855" y="1817"/>
                  </a:lnTo>
                  <a:lnTo>
                    <a:pt x="848" y="1819"/>
                  </a:lnTo>
                  <a:lnTo>
                    <a:pt x="840" y="1823"/>
                  </a:lnTo>
                  <a:lnTo>
                    <a:pt x="838" y="1825"/>
                  </a:lnTo>
                  <a:lnTo>
                    <a:pt x="836" y="1827"/>
                  </a:lnTo>
                  <a:lnTo>
                    <a:pt x="832" y="1831"/>
                  </a:lnTo>
                  <a:lnTo>
                    <a:pt x="830" y="1833"/>
                  </a:lnTo>
                  <a:lnTo>
                    <a:pt x="828" y="1834"/>
                  </a:lnTo>
                  <a:lnTo>
                    <a:pt x="827" y="1836"/>
                  </a:lnTo>
                  <a:lnTo>
                    <a:pt x="817" y="1836"/>
                  </a:lnTo>
                  <a:lnTo>
                    <a:pt x="807" y="1836"/>
                  </a:lnTo>
                  <a:lnTo>
                    <a:pt x="804" y="1834"/>
                  </a:lnTo>
                  <a:lnTo>
                    <a:pt x="802" y="1833"/>
                  </a:lnTo>
                  <a:lnTo>
                    <a:pt x="800" y="1831"/>
                  </a:lnTo>
                  <a:lnTo>
                    <a:pt x="796" y="1827"/>
                  </a:lnTo>
                  <a:lnTo>
                    <a:pt x="794" y="1825"/>
                  </a:lnTo>
                  <a:lnTo>
                    <a:pt x="792" y="1823"/>
                  </a:lnTo>
                  <a:lnTo>
                    <a:pt x="790" y="1819"/>
                  </a:lnTo>
                  <a:lnTo>
                    <a:pt x="786" y="1817"/>
                  </a:lnTo>
                  <a:lnTo>
                    <a:pt x="784" y="1815"/>
                  </a:lnTo>
                  <a:lnTo>
                    <a:pt x="782" y="1813"/>
                  </a:lnTo>
                  <a:lnTo>
                    <a:pt x="781" y="1806"/>
                  </a:lnTo>
                  <a:lnTo>
                    <a:pt x="779" y="1798"/>
                  </a:lnTo>
                  <a:lnTo>
                    <a:pt x="775" y="1796"/>
                  </a:lnTo>
                  <a:lnTo>
                    <a:pt x="773" y="1794"/>
                  </a:lnTo>
                  <a:lnTo>
                    <a:pt x="771" y="1790"/>
                  </a:lnTo>
                  <a:lnTo>
                    <a:pt x="767" y="1788"/>
                  </a:lnTo>
                  <a:lnTo>
                    <a:pt x="765" y="1787"/>
                  </a:lnTo>
                  <a:lnTo>
                    <a:pt x="763" y="1785"/>
                  </a:lnTo>
                  <a:lnTo>
                    <a:pt x="759" y="1777"/>
                  </a:lnTo>
                  <a:lnTo>
                    <a:pt x="757" y="1769"/>
                  </a:lnTo>
                  <a:lnTo>
                    <a:pt x="756" y="1767"/>
                  </a:lnTo>
                  <a:lnTo>
                    <a:pt x="754" y="1763"/>
                  </a:lnTo>
                  <a:lnTo>
                    <a:pt x="752" y="1762"/>
                  </a:lnTo>
                  <a:lnTo>
                    <a:pt x="748" y="1760"/>
                  </a:lnTo>
                  <a:lnTo>
                    <a:pt x="746" y="1758"/>
                  </a:lnTo>
                  <a:lnTo>
                    <a:pt x="744" y="1756"/>
                  </a:lnTo>
                  <a:lnTo>
                    <a:pt x="740" y="1752"/>
                  </a:lnTo>
                  <a:lnTo>
                    <a:pt x="738" y="1750"/>
                  </a:lnTo>
                  <a:lnTo>
                    <a:pt x="736" y="1748"/>
                  </a:lnTo>
                  <a:lnTo>
                    <a:pt x="734" y="1746"/>
                  </a:lnTo>
                  <a:lnTo>
                    <a:pt x="727" y="1739"/>
                  </a:lnTo>
                  <a:lnTo>
                    <a:pt x="719" y="1731"/>
                  </a:lnTo>
                  <a:lnTo>
                    <a:pt x="717" y="1729"/>
                  </a:lnTo>
                  <a:lnTo>
                    <a:pt x="715" y="1725"/>
                  </a:lnTo>
                  <a:lnTo>
                    <a:pt x="711" y="1723"/>
                  </a:lnTo>
                  <a:lnTo>
                    <a:pt x="710" y="1721"/>
                  </a:lnTo>
                  <a:lnTo>
                    <a:pt x="708" y="1719"/>
                  </a:lnTo>
                  <a:lnTo>
                    <a:pt x="706" y="1716"/>
                  </a:lnTo>
                  <a:lnTo>
                    <a:pt x="702" y="1714"/>
                  </a:lnTo>
                  <a:lnTo>
                    <a:pt x="700" y="1712"/>
                  </a:lnTo>
                  <a:lnTo>
                    <a:pt x="698" y="1710"/>
                  </a:lnTo>
                  <a:lnTo>
                    <a:pt x="696" y="1706"/>
                  </a:lnTo>
                  <a:lnTo>
                    <a:pt x="692" y="1704"/>
                  </a:lnTo>
                  <a:lnTo>
                    <a:pt x="690" y="1702"/>
                  </a:lnTo>
                  <a:lnTo>
                    <a:pt x="688" y="1698"/>
                  </a:lnTo>
                  <a:lnTo>
                    <a:pt x="686" y="1696"/>
                  </a:lnTo>
                  <a:lnTo>
                    <a:pt x="683" y="1685"/>
                  </a:lnTo>
                  <a:lnTo>
                    <a:pt x="681" y="1673"/>
                  </a:lnTo>
                  <a:lnTo>
                    <a:pt x="679" y="1669"/>
                  </a:lnTo>
                  <a:lnTo>
                    <a:pt x="675" y="1668"/>
                  </a:lnTo>
                  <a:lnTo>
                    <a:pt x="671" y="1668"/>
                  </a:lnTo>
                  <a:lnTo>
                    <a:pt x="665" y="1668"/>
                  </a:lnTo>
                  <a:lnTo>
                    <a:pt x="663" y="1669"/>
                  </a:lnTo>
                  <a:lnTo>
                    <a:pt x="662" y="1673"/>
                  </a:lnTo>
                  <a:lnTo>
                    <a:pt x="660" y="1675"/>
                  </a:lnTo>
                  <a:lnTo>
                    <a:pt x="658" y="1677"/>
                  </a:lnTo>
                  <a:lnTo>
                    <a:pt x="654" y="1679"/>
                  </a:lnTo>
                  <a:lnTo>
                    <a:pt x="652" y="1683"/>
                  </a:lnTo>
                  <a:lnTo>
                    <a:pt x="648" y="1685"/>
                  </a:lnTo>
                  <a:lnTo>
                    <a:pt x="646" y="1687"/>
                  </a:lnTo>
                  <a:lnTo>
                    <a:pt x="644" y="1689"/>
                  </a:lnTo>
                  <a:lnTo>
                    <a:pt x="642" y="1693"/>
                  </a:lnTo>
                  <a:lnTo>
                    <a:pt x="637" y="1693"/>
                  </a:lnTo>
                  <a:lnTo>
                    <a:pt x="633" y="1693"/>
                  </a:lnTo>
                  <a:lnTo>
                    <a:pt x="631" y="1689"/>
                  </a:lnTo>
                  <a:lnTo>
                    <a:pt x="627" y="1687"/>
                  </a:lnTo>
                  <a:lnTo>
                    <a:pt x="625" y="1685"/>
                  </a:lnTo>
                  <a:lnTo>
                    <a:pt x="623" y="1683"/>
                  </a:lnTo>
                  <a:lnTo>
                    <a:pt x="619" y="1679"/>
                  </a:lnTo>
                  <a:lnTo>
                    <a:pt x="617" y="1677"/>
                  </a:lnTo>
                  <a:lnTo>
                    <a:pt x="616" y="1669"/>
                  </a:lnTo>
                  <a:lnTo>
                    <a:pt x="614" y="1664"/>
                  </a:lnTo>
                  <a:lnTo>
                    <a:pt x="610" y="1660"/>
                  </a:lnTo>
                  <a:lnTo>
                    <a:pt x="608" y="1658"/>
                  </a:lnTo>
                  <a:lnTo>
                    <a:pt x="606" y="1656"/>
                  </a:lnTo>
                  <a:lnTo>
                    <a:pt x="604" y="1654"/>
                  </a:lnTo>
                  <a:lnTo>
                    <a:pt x="600" y="1650"/>
                  </a:lnTo>
                  <a:lnTo>
                    <a:pt x="598" y="1648"/>
                  </a:lnTo>
                  <a:lnTo>
                    <a:pt x="596" y="1646"/>
                  </a:lnTo>
                  <a:lnTo>
                    <a:pt x="594" y="1645"/>
                  </a:lnTo>
                  <a:lnTo>
                    <a:pt x="591" y="1641"/>
                  </a:lnTo>
                  <a:lnTo>
                    <a:pt x="589" y="1639"/>
                  </a:lnTo>
                  <a:lnTo>
                    <a:pt x="581" y="1637"/>
                  </a:lnTo>
                  <a:lnTo>
                    <a:pt x="575" y="1635"/>
                  </a:lnTo>
                  <a:lnTo>
                    <a:pt x="571" y="1631"/>
                  </a:lnTo>
                  <a:lnTo>
                    <a:pt x="569" y="1629"/>
                  </a:lnTo>
                  <a:lnTo>
                    <a:pt x="560" y="1629"/>
                  </a:lnTo>
                  <a:lnTo>
                    <a:pt x="550" y="1629"/>
                  </a:lnTo>
                  <a:lnTo>
                    <a:pt x="548" y="1631"/>
                  </a:lnTo>
                  <a:lnTo>
                    <a:pt x="546" y="1635"/>
                  </a:lnTo>
                  <a:lnTo>
                    <a:pt x="533" y="1637"/>
                  </a:lnTo>
                  <a:lnTo>
                    <a:pt x="521" y="1639"/>
                  </a:lnTo>
                  <a:lnTo>
                    <a:pt x="520" y="1641"/>
                  </a:lnTo>
                  <a:lnTo>
                    <a:pt x="516" y="1645"/>
                  </a:lnTo>
                  <a:lnTo>
                    <a:pt x="514" y="1656"/>
                  </a:lnTo>
                  <a:lnTo>
                    <a:pt x="512" y="1668"/>
                  </a:lnTo>
                  <a:lnTo>
                    <a:pt x="510" y="1669"/>
                  </a:lnTo>
                  <a:lnTo>
                    <a:pt x="506" y="1673"/>
                  </a:lnTo>
                  <a:lnTo>
                    <a:pt x="504" y="1694"/>
                  </a:lnTo>
                  <a:lnTo>
                    <a:pt x="502" y="1716"/>
                  </a:lnTo>
                  <a:lnTo>
                    <a:pt x="498" y="1719"/>
                  </a:lnTo>
                  <a:lnTo>
                    <a:pt x="497" y="1721"/>
                  </a:lnTo>
                  <a:lnTo>
                    <a:pt x="495" y="1729"/>
                  </a:lnTo>
                  <a:lnTo>
                    <a:pt x="493" y="1735"/>
                  </a:lnTo>
                  <a:lnTo>
                    <a:pt x="489" y="1739"/>
                  </a:lnTo>
                  <a:lnTo>
                    <a:pt x="487" y="1740"/>
                  </a:lnTo>
                  <a:lnTo>
                    <a:pt x="485" y="1748"/>
                  </a:lnTo>
                  <a:lnTo>
                    <a:pt x="483" y="1756"/>
                  </a:lnTo>
                  <a:lnTo>
                    <a:pt x="479" y="1758"/>
                  </a:lnTo>
                  <a:lnTo>
                    <a:pt x="477" y="1760"/>
                  </a:lnTo>
                  <a:lnTo>
                    <a:pt x="475" y="1767"/>
                  </a:lnTo>
                  <a:lnTo>
                    <a:pt x="474" y="1775"/>
                  </a:lnTo>
                  <a:lnTo>
                    <a:pt x="470" y="1777"/>
                  </a:lnTo>
                  <a:lnTo>
                    <a:pt x="468" y="1779"/>
                  </a:lnTo>
                  <a:lnTo>
                    <a:pt x="466" y="1781"/>
                  </a:lnTo>
                  <a:lnTo>
                    <a:pt x="464" y="1785"/>
                  </a:lnTo>
                  <a:lnTo>
                    <a:pt x="460" y="1787"/>
                  </a:lnTo>
                  <a:lnTo>
                    <a:pt x="458" y="1788"/>
                  </a:lnTo>
                  <a:lnTo>
                    <a:pt x="452" y="1788"/>
                  </a:lnTo>
                  <a:lnTo>
                    <a:pt x="449" y="1788"/>
                  </a:lnTo>
                  <a:lnTo>
                    <a:pt x="447" y="1787"/>
                  </a:lnTo>
                  <a:lnTo>
                    <a:pt x="443" y="1785"/>
                  </a:lnTo>
                  <a:lnTo>
                    <a:pt x="441" y="1781"/>
                  </a:lnTo>
                  <a:lnTo>
                    <a:pt x="439" y="1779"/>
                  </a:lnTo>
                  <a:lnTo>
                    <a:pt x="437" y="1777"/>
                  </a:lnTo>
                  <a:lnTo>
                    <a:pt x="433" y="1775"/>
                  </a:lnTo>
                  <a:lnTo>
                    <a:pt x="429" y="1775"/>
                  </a:lnTo>
                  <a:lnTo>
                    <a:pt x="426" y="1775"/>
                  </a:lnTo>
                  <a:lnTo>
                    <a:pt x="422" y="1777"/>
                  </a:lnTo>
                  <a:lnTo>
                    <a:pt x="420" y="1779"/>
                  </a:lnTo>
                  <a:lnTo>
                    <a:pt x="412" y="1781"/>
                  </a:lnTo>
                  <a:lnTo>
                    <a:pt x="404" y="1785"/>
                  </a:lnTo>
                  <a:lnTo>
                    <a:pt x="403" y="1787"/>
                  </a:lnTo>
                  <a:lnTo>
                    <a:pt x="401" y="1788"/>
                  </a:lnTo>
                  <a:lnTo>
                    <a:pt x="399" y="1790"/>
                  </a:lnTo>
                  <a:lnTo>
                    <a:pt x="395" y="1794"/>
                  </a:lnTo>
                  <a:lnTo>
                    <a:pt x="393" y="1796"/>
                  </a:lnTo>
                  <a:lnTo>
                    <a:pt x="391" y="1798"/>
                  </a:lnTo>
                  <a:lnTo>
                    <a:pt x="389" y="1802"/>
                  </a:lnTo>
                  <a:lnTo>
                    <a:pt x="385" y="1804"/>
                  </a:lnTo>
                  <a:lnTo>
                    <a:pt x="383" y="1806"/>
                  </a:lnTo>
                  <a:lnTo>
                    <a:pt x="381" y="1808"/>
                  </a:lnTo>
                  <a:lnTo>
                    <a:pt x="378" y="1810"/>
                  </a:lnTo>
                  <a:lnTo>
                    <a:pt x="376" y="1813"/>
                  </a:lnTo>
                  <a:lnTo>
                    <a:pt x="374" y="1815"/>
                  </a:lnTo>
                  <a:lnTo>
                    <a:pt x="372" y="1817"/>
                  </a:lnTo>
                  <a:lnTo>
                    <a:pt x="368" y="1819"/>
                  </a:lnTo>
                  <a:lnTo>
                    <a:pt x="366" y="1823"/>
                  </a:lnTo>
                  <a:lnTo>
                    <a:pt x="364" y="1825"/>
                  </a:lnTo>
                  <a:lnTo>
                    <a:pt x="362" y="1827"/>
                  </a:lnTo>
                  <a:lnTo>
                    <a:pt x="355" y="1831"/>
                  </a:lnTo>
                  <a:lnTo>
                    <a:pt x="347" y="1833"/>
                  </a:lnTo>
                  <a:lnTo>
                    <a:pt x="345" y="1834"/>
                  </a:lnTo>
                  <a:lnTo>
                    <a:pt x="343" y="1836"/>
                  </a:lnTo>
                  <a:lnTo>
                    <a:pt x="337" y="1836"/>
                  </a:lnTo>
                  <a:lnTo>
                    <a:pt x="332" y="1836"/>
                  </a:lnTo>
                  <a:lnTo>
                    <a:pt x="330" y="1834"/>
                  </a:lnTo>
                  <a:lnTo>
                    <a:pt x="328" y="1833"/>
                  </a:lnTo>
                  <a:lnTo>
                    <a:pt x="326" y="1831"/>
                  </a:lnTo>
                  <a:lnTo>
                    <a:pt x="322" y="1827"/>
                  </a:lnTo>
                  <a:lnTo>
                    <a:pt x="320" y="1825"/>
                  </a:lnTo>
                  <a:lnTo>
                    <a:pt x="318" y="1823"/>
                  </a:lnTo>
                  <a:lnTo>
                    <a:pt x="318" y="1790"/>
                  </a:lnTo>
                  <a:lnTo>
                    <a:pt x="318" y="1760"/>
                  </a:lnTo>
                  <a:lnTo>
                    <a:pt x="318" y="1729"/>
                  </a:lnTo>
                  <a:lnTo>
                    <a:pt x="318" y="1696"/>
                  </a:lnTo>
                  <a:lnTo>
                    <a:pt x="320" y="1694"/>
                  </a:lnTo>
                  <a:lnTo>
                    <a:pt x="322" y="1693"/>
                  </a:lnTo>
                  <a:lnTo>
                    <a:pt x="326" y="1685"/>
                  </a:lnTo>
                  <a:lnTo>
                    <a:pt x="326" y="1673"/>
                  </a:lnTo>
                  <a:lnTo>
                    <a:pt x="326" y="1660"/>
                  </a:lnTo>
                  <a:lnTo>
                    <a:pt x="322" y="1654"/>
                  </a:lnTo>
                  <a:lnTo>
                    <a:pt x="320" y="1650"/>
                  </a:lnTo>
                  <a:lnTo>
                    <a:pt x="318" y="1648"/>
                  </a:lnTo>
                  <a:lnTo>
                    <a:pt x="310" y="1646"/>
                  </a:lnTo>
                  <a:lnTo>
                    <a:pt x="303" y="1645"/>
                  </a:lnTo>
                  <a:lnTo>
                    <a:pt x="301" y="1641"/>
                  </a:lnTo>
                  <a:lnTo>
                    <a:pt x="299" y="1639"/>
                  </a:lnTo>
                  <a:lnTo>
                    <a:pt x="295" y="1637"/>
                  </a:lnTo>
                  <a:lnTo>
                    <a:pt x="293" y="1635"/>
                  </a:lnTo>
                  <a:lnTo>
                    <a:pt x="291" y="1631"/>
                  </a:lnTo>
                  <a:lnTo>
                    <a:pt x="289" y="1629"/>
                  </a:lnTo>
                  <a:lnTo>
                    <a:pt x="287" y="1627"/>
                  </a:lnTo>
                  <a:lnTo>
                    <a:pt x="284" y="1625"/>
                  </a:lnTo>
                  <a:lnTo>
                    <a:pt x="282" y="1622"/>
                  </a:lnTo>
                  <a:lnTo>
                    <a:pt x="280" y="1620"/>
                  </a:lnTo>
                  <a:lnTo>
                    <a:pt x="278" y="1593"/>
                  </a:lnTo>
                  <a:lnTo>
                    <a:pt x="274" y="1566"/>
                  </a:lnTo>
                  <a:lnTo>
                    <a:pt x="272" y="1564"/>
                  </a:lnTo>
                  <a:lnTo>
                    <a:pt x="270" y="1562"/>
                  </a:lnTo>
                  <a:lnTo>
                    <a:pt x="262" y="1558"/>
                  </a:lnTo>
                  <a:lnTo>
                    <a:pt x="255" y="1556"/>
                  </a:lnTo>
                  <a:lnTo>
                    <a:pt x="253" y="1554"/>
                  </a:lnTo>
                  <a:lnTo>
                    <a:pt x="251" y="1552"/>
                  </a:lnTo>
                  <a:lnTo>
                    <a:pt x="247" y="1545"/>
                  </a:lnTo>
                  <a:lnTo>
                    <a:pt x="245" y="1537"/>
                  </a:lnTo>
                  <a:lnTo>
                    <a:pt x="243" y="1535"/>
                  </a:lnTo>
                  <a:lnTo>
                    <a:pt x="241" y="1531"/>
                  </a:lnTo>
                  <a:lnTo>
                    <a:pt x="238" y="1520"/>
                  </a:lnTo>
                  <a:lnTo>
                    <a:pt x="236" y="1508"/>
                  </a:lnTo>
                  <a:lnTo>
                    <a:pt x="234" y="1506"/>
                  </a:lnTo>
                  <a:lnTo>
                    <a:pt x="232" y="1503"/>
                  </a:lnTo>
                  <a:lnTo>
                    <a:pt x="228" y="1497"/>
                  </a:lnTo>
                  <a:lnTo>
                    <a:pt x="226" y="1489"/>
                  </a:lnTo>
                  <a:lnTo>
                    <a:pt x="224" y="1487"/>
                  </a:lnTo>
                  <a:lnTo>
                    <a:pt x="222" y="1483"/>
                  </a:lnTo>
                  <a:lnTo>
                    <a:pt x="218" y="1481"/>
                  </a:lnTo>
                  <a:lnTo>
                    <a:pt x="216" y="1480"/>
                  </a:lnTo>
                  <a:lnTo>
                    <a:pt x="215" y="1478"/>
                  </a:lnTo>
                  <a:lnTo>
                    <a:pt x="211" y="1474"/>
                  </a:lnTo>
                  <a:lnTo>
                    <a:pt x="199" y="1472"/>
                  </a:lnTo>
                  <a:lnTo>
                    <a:pt x="188" y="1470"/>
                  </a:lnTo>
                  <a:lnTo>
                    <a:pt x="186" y="1466"/>
                  </a:lnTo>
                  <a:lnTo>
                    <a:pt x="182" y="1464"/>
                  </a:lnTo>
                  <a:lnTo>
                    <a:pt x="182" y="1460"/>
                  </a:lnTo>
                  <a:lnTo>
                    <a:pt x="182" y="1455"/>
                  </a:lnTo>
                  <a:lnTo>
                    <a:pt x="186" y="1453"/>
                  </a:lnTo>
                  <a:lnTo>
                    <a:pt x="188" y="1451"/>
                  </a:lnTo>
                  <a:lnTo>
                    <a:pt x="188" y="1445"/>
                  </a:lnTo>
                  <a:lnTo>
                    <a:pt x="188" y="1441"/>
                  </a:lnTo>
                  <a:lnTo>
                    <a:pt x="186" y="1437"/>
                  </a:lnTo>
                  <a:lnTo>
                    <a:pt x="182" y="1435"/>
                  </a:lnTo>
                  <a:lnTo>
                    <a:pt x="178" y="1432"/>
                  </a:lnTo>
                  <a:lnTo>
                    <a:pt x="168" y="1428"/>
                  </a:lnTo>
                  <a:lnTo>
                    <a:pt x="151" y="1426"/>
                  </a:lnTo>
                  <a:lnTo>
                    <a:pt x="120" y="1422"/>
                  </a:lnTo>
                  <a:lnTo>
                    <a:pt x="117" y="1418"/>
                  </a:lnTo>
                  <a:lnTo>
                    <a:pt x="115" y="1416"/>
                  </a:lnTo>
                  <a:lnTo>
                    <a:pt x="96" y="1414"/>
                  </a:lnTo>
                  <a:lnTo>
                    <a:pt x="76" y="1412"/>
                  </a:lnTo>
                  <a:lnTo>
                    <a:pt x="76" y="1389"/>
                  </a:lnTo>
                  <a:lnTo>
                    <a:pt x="76" y="1368"/>
                  </a:lnTo>
                  <a:lnTo>
                    <a:pt x="78" y="1366"/>
                  </a:lnTo>
                  <a:lnTo>
                    <a:pt x="82" y="1364"/>
                  </a:lnTo>
                  <a:lnTo>
                    <a:pt x="84" y="1357"/>
                  </a:lnTo>
                  <a:lnTo>
                    <a:pt x="86" y="1349"/>
                  </a:lnTo>
                  <a:lnTo>
                    <a:pt x="88" y="1345"/>
                  </a:lnTo>
                  <a:lnTo>
                    <a:pt x="90" y="1343"/>
                  </a:lnTo>
                  <a:lnTo>
                    <a:pt x="94" y="1341"/>
                  </a:lnTo>
                  <a:lnTo>
                    <a:pt x="94" y="1334"/>
                  </a:lnTo>
                  <a:lnTo>
                    <a:pt x="94" y="1328"/>
                  </a:lnTo>
                  <a:lnTo>
                    <a:pt x="90" y="1324"/>
                  </a:lnTo>
                  <a:lnTo>
                    <a:pt x="88" y="1322"/>
                  </a:lnTo>
                  <a:lnTo>
                    <a:pt x="86" y="1320"/>
                  </a:lnTo>
                  <a:lnTo>
                    <a:pt x="84" y="1313"/>
                  </a:lnTo>
                  <a:lnTo>
                    <a:pt x="82" y="1305"/>
                  </a:lnTo>
                  <a:lnTo>
                    <a:pt x="78" y="1303"/>
                  </a:lnTo>
                  <a:lnTo>
                    <a:pt x="76" y="1299"/>
                  </a:lnTo>
                  <a:lnTo>
                    <a:pt x="74" y="1293"/>
                  </a:lnTo>
                  <a:lnTo>
                    <a:pt x="73" y="1286"/>
                  </a:lnTo>
                  <a:lnTo>
                    <a:pt x="69" y="1284"/>
                  </a:lnTo>
                  <a:lnTo>
                    <a:pt x="67" y="1282"/>
                  </a:lnTo>
                  <a:lnTo>
                    <a:pt x="63" y="1278"/>
                  </a:lnTo>
                  <a:lnTo>
                    <a:pt x="61" y="1276"/>
                  </a:lnTo>
                  <a:lnTo>
                    <a:pt x="59" y="1274"/>
                  </a:lnTo>
                  <a:lnTo>
                    <a:pt x="57" y="1270"/>
                  </a:lnTo>
                  <a:lnTo>
                    <a:pt x="55" y="1249"/>
                  </a:lnTo>
                  <a:lnTo>
                    <a:pt x="51" y="1228"/>
                  </a:lnTo>
                  <a:lnTo>
                    <a:pt x="50" y="1226"/>
                  </a:lnTo>
                  <a:lnTo>
                    <a:pt x="48" y="1222"/>
                  </a:lnTo>
                  <a:lnTo>
                    <a:pt x="40" y="1220"/>
                  </a:lnTo>
                  <a:lnTo>
                    <a:pt x="32" y="1219"/>
                  </a:lnTo>
                  <a:lnTo>
                    <a:pt x="30" y="1217"/>
                  </a:lnTo>
                  <a:lnTo>
                    <a:pt x="28" y="1213"/>
                  </a:lnTo>
                  <a:lnTo>
                    <a:pt x="28" y="1209"/>
                  </a:lnTo>
                  <a:lnTo>
                    <a:pt x="28" y="1203"/>
                  </a:lnTo>
                  <a:lnTo>
                    <a:pt x="30" y="1201"/>
                  </a:lnTo>
                  <a:lnTo>
                    <a:pt x="32" y="1199"/>
                  </a:lnTo>
                  <a:lnTo>
                    <a:pt x="34" y="1192"/>
                  </a:lnTo>
                  <a:lnTo>
                    <a:pt x="38" y="1184"/>
                  </a:lnTo>
                  <a:lnTo>
                    <a:pt x="40" y="1182"/>
                  </a:lnTo>
                  <a:lnTo>
                    <a:pt x="42" y="1180"/>
                  </a:lnTo>
                  <a:lnTo>
                    <a:pt x="46" y="1165"/>
                  </a:lnTo>
                  <a:lnTo>
                    <a:pt x="46" y="1132"/>
                  </a:lnTo>
                  <a:lnTo>
                    <a:pt x="46" y="1098"/>
                  </a:lnTo>
                  <a:lnTo>
                    <a:pt x="42" y="1082"/>
                  </a:lnTo>
                  <a:lnTo>
                    <a:pt x="40" y="1080"/>
                  </a:lnTo>
                  <a:lnTo>
                    <a:pt x="38" y="1079"/>
                  </a:lnTo>
                  <a:lnTo>
                    <a:pt x="36" y="1071"/>
                  </a:lnTo>
                  <a:lnTo>
                    <a:pt x="32" y="1063"/>
                  </a:lnTo>
                  <a:lnTo>
                    <a:pt x="26" y="1055"/>
                  </a:lnTo>
                  <a:lnTo>
                    <a:pt x="21" y="1048"/>
                  </a:lnTo>
                  <a:lnTo>
                    <a:pt x="21" y="1040"/>
                  </a:lnTo>
                  <a:lnTo>
                    <a:pt x="17" y="1036"/>
                  </a:lnTo>
                  <a:lnTo>
                    <a:pt x="9" y="1036"/>
                  </a:lnTo>
                  <a:lnTo>
                    <a:pt x="7" y="1036"/>
                  </a:lnTo>
                  <a:lnTo>
                    <a:pt x="5" y="1032"/>
                  </a:lnTo>
                  <a:lnTo>
                    <a:pt x="7" y="1029"/>
                  </a:lnTo>
                  <a:lnTo>
                    <a:pt x="11" y="1021"/>
                  </a:lnTo>
                  <a:lnTo>
                    <a:pt x="13" y="1015"/>
                  </a:lnTo>
                  <a:lnTo>
                    <a:pt x="7" y="1015"/>
                  </a:lnTo>
                  <a:lnTo>
                    <a:pt x="5" y="1015"/>
                  </a:lnTo>
                  <a:lnTo>
                    <a:pt x="5" y="1013"/>
                  </a:lnTo>
                  <a:lnTo>
                    <a:pt x="7" y="1011"/>
                  </a:lnTo>
                  <a:lnTo>
                    <a:pt x="11" y="1009"/>
                  </a:lnTo>
                  <a:lnTo>
                    <a:pt x="11" y="1008"/>
                  </a:lnTo>
                  <a:lnTo>
                    <a:pt x="5" y="1006"/>
                  </a:lnTo>
                  <a:lnTo>
                    <a:pt x="2" y="1006"/>
                  </a:lnTo>
                  <a:lnTo>
                    <a:pt x="0" y="1004"/>
                  </a:lnTo>
                  <a:lnTo>
                    <a:pt x="2" y="1004"/>
                  </a:lnTo>
                  <a:lnTo>
                    <a:pt x="3" y="1000"/>
                  </a:lnTo>
                  <a:lnTo>
                    <a:pt x="3" y="996"/>
                  </a:lnTo>
                  <a:lnTo>
                    <a:pt x="2" y="994"/>
                  </a:lnTo>
                  <a:lnTo>
                    <a:pt x="0" y="990"/>
                  </a:lnTo>
                  <a:lnTo>
                    <a:pt x="3" y="986"/>
                  </a:lnTo>
                  <a:lnTo>
                    <a:pt x="9" y="981"/>
                  </a:lnTo>
                  <a:lnTo>
                    <a:pt x="11" y="979"/>
                  </a:lnTo>
                  <a:lnTo>
                    <a:pt x="13" y="977"/>
                  </a:lnTo>
                  <a:lnTo>
                    <a:pt x="21" y="969"/>
                  </a:lnTo>
                  <a:lnTo>
                    <a:pt x="28" y="961"/>
                  </a:lnTo>
                  <a:lnTo>
                    <a:pt x="30" y="960"/>
                  </a:lnTo>
                  <a:lnTo>
                    <a:pt x="32" y="958"/>
                  </a:lnTo>
                  <a:lnTo>
                    <a:pt x="34" y="954"/>
                  </a:lnTo>
                  <a:lnTo>
                    <a:pt x="38" y="952"/>
                  </a:lnTo>
                  <a:lnTo>
                    <a:pt x="40" y="950"/>
                  </a:lnTo>
                  <a:lnTo>
                    <a:pt x="42" y="948"/>
                  </a:lnTo>
                  <a:lnTo>
                    <a:pt x="55" y="944"/>
                  </a:lnTo>
                  <a:lnTo>
                    <a:pt x="67" y="942"/>
                  </a:lnTo>
                  <a:lnTo>
                    <a:pt x="69" y="940"/>
                  </a:lnTo>
                  <a:lnTo>
                    <a:pt x="73" y="938"/>
                  </a:lnTo>
                  <a:lnTo>
                    <a:pt x="73" y="927"/>
                  </a:lnTo>
                  <a:lnTo>
                    <a:pt x="73" y="917"/>
                  </a:lnTo>
                  <a:lnTo>
                    <a:pt x="69" y="915"/>
                  </a:lnTo>
                  <a:lnTo>
                    <a:pt x="67" y="913"/>
                  </a:lnTo>
                  <a:lnTo>
                    <a:pt x="67" y="898"/>
                  </a:lnTo>
                  <a:lnTo>
                    <a:pt x="67" y="885"/>
                  </a:lnTo>
                  <a:lnTo>
                    <a:pt x="69" y="881"/>
                  </a:lnTo>
                  <a:lnTo>
                    <a:pt x="73" y="879"/>
                  </a:lnTo>
                  <a:lnTo>
                    <a:pt x="74" y="871"/>
                  </a:lnTo>
                  <a:lnTo>
                    <a:pt x="76" y="866"/>
                  </a:lnTo>
                  <a:lnTo>
                    <a:pt x="78" y="862"/>
                  </a:lnTo>
                  <a:lnTo>
                    <a:pt x="82" y="860"/>
                  </a:lnTo>
                  <a:lnTo>
                    <a:pt x="84" y="848"/>
                  </a:lnTo>
                  <a:lnTo>
                    <a:pt x="86" y="837"/>
                  </a:lnTo>
                  <a:lnTo>
                    <a:pt x="88" y="833"/>
                  </a:lnTo>
                  <a:lnTo>
                    <a:pt x="90" y="831"/>
                  </a:lnTo>
                  <a:lnTo>
                    <a:pt x="94" y="829"/>
                  </a:lnTo>
                  <a:lnTo>
                    <a:pt x="96" y="827"/>
                  </a:lnTo>
                  <a:lnTo>
                    <a:pt x="97" y="823"/>
                  </a:lnTo>
                  <a:lnTo>
                    <a:pt x="101" y="821"/>
                  </a:lnTo>
                  <a:lnTo>
                    <a:pt x="103" y="819"/>
                  </a:lnTo>
                  <a:lnTo>
                    <a:pt x="105" y="818"/>
                  </a:lnTo>
                  <a:lnTo>
                    <a:pt x="107" y="814"/>
                  </a:lnTo>
                  <a:lnTo>
                    <a:pt x="111" y="812"/>
                  </a:lnTo>
                  <a:lnTo>
                    <a:pt x="117" y="810"/>
                  </a:lnTo>
                  <a:lnTo>
                    <a:pt x="124" y="808"/>
                  </a:lnTo>
                  <a:lnTo>
                    <a:pt x="126" y="804"/>
                  </a:lnTo>
                  <a:lnTo>
                    <a:pt x="130" y="802"/>
                  </a:lnTo>
                  <a:lnTo>
                    <a:pt x="130" y="796"/>
                  </a:lnTo>
                  <a:lnTo>
                    <a:pt x="130" y="793"/>
                  </a:lnTo>
                  <a:lnTo>
                    <a:pt x="126" y="791"/>
                  </a:lnTo>
                  <a:lnTo>
                    <a:pt x="124" y="789"/>
                  </a:lnTo>
                  <a:lnTo>
                    <a:pt x="122" y="785"/>
                  </a:lnTo>
                  <a:lnTo>
                    <a:pt x="120" y="783"/>
                  </a:lnTo>
                  <a:lnTo>
                    <a:pt x="117" y="781"/>
                  </a:lnTo>
                  <a:lnTo>
                    <a:pt x="115" y="779"/>
                  </a:lnTo>
                  <a:lnTo>
                    <a:pt x="113" y="775"/>
                  </a:lnTo>
                  <a:lnTo>
                    <a:pt x="111" y="773"/>
                  </a:lnTo>
                  <a:lnTo>
                    <a:pt x="107" y="770"/>
                  </a:lnTo>
                  <a:lnTo>
                    <a:pt x="105" y="768"/>
                  </a:lnTo>
                  <a:lnTo>
                    <a:pt x="103" y="750"/>
                  </a:lnTo>
                  <a:lnTo>
                    <a:pt x="101" y="735"/>
                  </a:lnTo>
                  <a:lnTo>
                    <a:pt x="97" y="731"/>
                  </a:lnTo>
                  <a:lnTo>
                    <a:pt x="96" y="729"/>
                  </a:lnTo>
                  <a:lnTo>
                    <a:pt x="94" y="727"/>
                  </a:lnTo>
                  <a:lnTo>
                    <a:pt x="90" y="725"/>
                  </a:lnTo>
                  <a:lnTo>
                    <a:pt x="88" y="722"/>
                  </a:lnTo>
                  <a:lnTo>
                    <a:pt x="86" y="720"/>
                  </a:lnTo>
                  <a:lnTo>
                    <a:pt x="84" y="718"/>
                  </a:lnTo>
                  <a:lnTo>
                    <a:pt x="82" y="716"/>
                  </a:lnTo>
                  <a:lnTo>
                    <a:pt x="78" y="712"/>
                  </a:lnTo>
                  <a:lnTo>
                    <a:pt x="76" y="710"/>
                  </a:lnTo>
                  <a:lnTo>
                    <a:pt x="74" y="708"/>
                  </a:lnTo>
                  <a:lnTo>
                    <a:pt x="73" y="706"/>
                  </a:lnTo>
                  <a:lnTo>
                    <a:pt x="69" y="702"/>
                  </a:lnTo>
                  <a:lnTo>
                    <a:pt x="67" y="701"/>
                  </a:lnTo>
                  <a:lnTo>
                    <a:pt x="63" y="693"/>
                  </a:lnTo>
                  <a:lnTo>
                    <a:pt x="61" y="685"/>
                  </a:lnTo>
                  <a:lnTo>
                    <a:pt x="59" y="683"/>
                  </a:lnTo>
                  <a:lnTo>
                    <a:pt x="57" y="681"/>
                  </a:lnTo>
                  <a:lnTo>
                    <a:pt x="55" y="679"/>
                  </a:lnTo>
                  <a:lnTo>
                    <a:pt x="51" y="676"/>
                  </a:lnTo>
                  <a:lnTo>
                    <a:pt x="50" y="674"/>
                  </a:lnTo>
                  <a:lnTo>
                    <a:pt x="48" y="672"/>
                  </a:lnTo>
                  <a:lnTo>
                    <a:pt x="46" y="670"/>
                  </a:lnTo>
                  <a:lnTo>
                    <a:pt x="42" y="668"/>
                  </a:lnTo>
                  <a:lnTo>
                    <a:pt x="40" y="664"/>
                  </a:lnTo>
                  <a:lnTo>
                    <a:pt x="38" y="662"/>
                  </a:lnTo>
                  <a:lnTo>
                    <a:pt x="34" y="654"/>
                  </a:lnTo>
                  <a:lnTo>
                    <a:pt x="32" y="647"/>
                  </a:lnTo>
                  <a:lnTo>
                    <a:pt x="30" y="645"/>
                  </a:lnTo>
                  <a:lnTo>
                    <a:pt x="28" y="643"/>
                  </a:lnTo>
                  <a:lnTo>
                    <a:pt x="25" y="641"/>
                  </a:lnTo>
                  <a:lnTo>
                    <a:pt x="23" y="637"/>
                  </a:lnTo>
                  <a:lnTo>
                    <a:pt x="21" y="635"/>
                  </a:lnTo>
                  <a:lnTo>
                    <a:pt x="19" y="633"/>
                  </a:lnTo>
                  <a:lnTo>
                    <a:pt x="19" y="616"/>
                  </a:lnTo>
                  <a:lnTo>
                    <a:pt x="19" y="599"/>
                  </a:lnTo>
                  <a:lnTo>
                    <a:pt x="23" y="593"/>
                  </a:lnTo>
                  <a:lnTo>
                    <a:pt x="28" y="589"/>
                  </a:lnTo>
                  <a:lnTo>
                    <a:pt x="28" y="585"/>
                  </a:lnTo>
                  <a:lnTo>
                    <a:pt x="28" y="580"/>
                  </a:lnTo>
                  <a:lnTo>
                    <a:pt x="32" y="576"/>
                  </a:lnTo>
                  <a:lnTo>
                    <a:pt x="38" y="570"/>
                  </a:lnTo>
                  <a:lnTo>
                    <a:pt x="42" y="570"/>
                  </a:lnTo>
                  <a:lnTo>
                    <a:pt x="48" y="570"/>
                  </a:lnTo>
                  <a:lnTo>
                    <a:pt x="51" y="570"/>
                  </a:lnTo>
                  <a:lnTo>
                    <a:pt x="57" y="570"/>
                  </a:lnTo>
                  <a:lnTo>
                    <a:pt x="82" y="570"/>
                  </a:lnTo>
                  <a:lnTo>
                    <a:pt x="105" y="570"/>
                  </a:lnTo>
                  <a:lnTo>
                    <a:pt x="111" y="570"/>
                  </a:lnTo>
                  <a:lnTo>
                    <a:pt x="115" y="570"/>
                  </a:lnTo>
                  <a:lnTo>
                    <a:pt x="115" y="564"/>
                  </a:lnTo>
                  <a:lnTo>
                    <a:pt x="115" y="560"/>
                  </a:lnTo>
                  <a:lnTo>
                    <a:pt x="119" y="560"/>
                  </a:lnTo>
                  <a:lnTo>
                    <a:pt x="124" y="560"/>
                  </a:lnTo>
                  <a:lnTo>
                    <a:pt x="130" y="562"/>
                  </a:lnTo>
                  <a:lnTo>
                    <a:pt x="134" y="564"/>
                  </a:lnTo>
                  <a:lnTo>
                    <a:pt x="136" y="562"/>
                  </a:lnTo>
                  <a:lnTo>
                    <a:pt x="140" y="560"/>
                  </a:lnTo>
                  <a:lnTo>
                    <a:pt x="142" y="555"/>
                  </a:lnTo>
                  <a:lnTo>
                    <a:pt x="144" y="551"/>
                  </a:lnTo>
                  <a:lnTo>
                    <a:pt x="149" y="545"/>
                  </a:lnTo>
                  <a:lnTo>
                    <a:pt x="153" y="541"/>
                  </a:lnTo>
                  <a:lnTo>
                    <a:pt x="159" y="541"/>
                  </a:lnTo>
                  <a:lnTo>
                    <a:pt x="163" y="541"/>
                  </a:lnTo>
                  <a:lnTo>
                    <a:pt x="168" y="541"/>
                  </a:lnTo>
                  <a:lnTo>
                    <a:pt x="172" y="541"/>
                  </a:lnTo>
                  <a:lnTo>
                    <a:pt x="178" y="541"/>
                  </a:lnTo>
                  <a:lnTo>
                    <a:pt x="182" y="541"/>
                  </a:lnTo>
                  <a:lnTo>
                    <a:pt x="191" y="541"/>
                  </a:lnTo>
                  <a:lnTo>
                    <a:pt x="203" y="541"/>
                  </a:lnTo>
                  <a:lnTo>
                    <a:pt x="203" y="553"/>
                  </a:lnTo>
                  <a:lnTo>
                    <a:pt x="203" y="559"/>
                  </a:lnTo>
                  <a:lnTo>
                    <a:pt x="207" y="560"/>
                  </a:lnTo>
                  <a:lnTo>
                    <a:pt x="211" y="560"/>
                  </a:lnTo>
                  <a:lnTo>
                    <a:pt x="220" y="564"/>
                  </a:lnTo>
                  <a:lnTo>
                    <a:pt x="232" y="570"/>
                  </a:lnTo>
                  <a:lnTo>
                    <a:pt x="241" y="564"/>
                  </a:lnTo>
                  <a:lnTo>
                    <a:pt x="251" y="560"/>
                  </a:lnTo>
                  <a:lnTo>
                    <a:pt x="255" y="560"/>
                  </a:lnTo>
                  <a:lnTo>
                    <a:pt x="261" y="560"/>
                  </a:lnTo>
                  <a:lnTo>
                    <a:pt x="264" y="564"/>
                  </a:lnTo>
                  <a:lnTo>
                    <a:pt x="270" y="570"/>
                  </a:lnTo>
                  <a:lnTo>
                    <a:pt x="270" y="564"/>
                  </a:lnTo>
                  <a:lnTo>
                    <a:pt x="270" y="560"/>
                  </a:lnTo>
                  <a:lnTo>
                    <a:pt x="284" y="555"/>
                  </a:lnTo>
                  <a:lnTo>
                    <a:pt x="299" y="551"/>
                  </a:lnTo>
                  <a:lnTo>
                    <a:pt x="303" y="551"/>
                  </a:lnTo>
                  <a:lnTo>
                    <a:pt x="309" y="551"/>
                  </a:lnTo>
                  <a:lnTo>
                    <a:pt x="312" y="551"/>
                  </a:lnTo>
                  <a:lnTo>
                    <a:pt x="318" y="551"/>
                  </a:lnTo>
                  <a:lnTo>
                    <a:pt x="322" y="545"/>
                  </a:lnTo>
                  <a:lnTo>
                    <a:pt x="328" y="541"/>
                  </a:lnTo>
                  <a:lnTo>
                    <a:pt x="328" y="526"/>
                  </a:lnTo>
                  <a:lnTo>
                    <a:pt x="328" y="512"/>
                  </a:lnTo>
                  <a:lnTo>
                    <a:pt x="328" y="497"/>
                  </a:lnTo>
                  <a:lnTo>
                    <a:pt x="328" y="484"/>
                  </a:lnTo>
                  <a:lnTo>
                    <a:pt x="322" y="478"/>
                  </a:lnTo>
                  <a:lnTo>
                    <a:pt x="318" y="474"/>
                  </a:lnTo>
                  <a:lnTo>
                    <a:pt x="318" y="468"/>
                  </a:lnTo>
                  <a:lnTo>
                    <a:pt x="318" y="465"/>
                  </a:lnTo>
                  <a:lnTo>
                    <a:pt x="328" y="465"/>
                  </a:lnTo>
                  <a:lnTo>
                    <a:pt x="337" y="465"/>
                  </a:lnTo>
                  <a:lnTo>
                    <a:pt x="341" y="465"/>
                  </a:lnTo>
                  <a:lnTo>
                    <a:pt x="347" y="465"/>
                  </a:lnTo>
                  <a:lnTo>
                    <a:pt x="362" y="459"/>
                  </a:lnTo>
                  <a:lnTo>
                    <a:pt x="376" y="453"/>
                  </a:lnTo>
                  <a:lnTo>
                    <a:pt x="381" y="453"/>
                  </a:lnTo>
                  <a:lnTo>
                    <a:pt x="385" y="453"/>
                  </a:lnTo>
                  <a:lnTo>
                    <a:pt x="389" y="453"/>
                  </a:lnTo>
                  <a:lnTo>
                    <a:pt x="391" y="453"/>
                  </a:lnTo>
                  <a:lnTo>
                    <a:pt x="393" y="457"/>
                  </a:lnTo>
                  <a:lnTo>
                    <a:pt x="395" y="459"/>
                  </a:lnTo>
                  <a:lnTo>
                    <a:pt x="399" y="457"/>
                  </a:lnTo>
                  <a:lnTo>
                    <a:pt x="401" y="453"/>
                  </a:lnTo>
                  <a:lnTo>
                    <a:pt x="399" y="451"/>
                  </a:lnTo>
                  <a:lnTo>
                    <a:pt x="395" y="449"/>
                  </a:lnTo>
                  <a:lnTo>
                    <a:pt x="395" y="447"/>
                  </a:lnTo>
                  <a:lnTo>
                    <a:pt x="395" y="443"/>
                  </a:lnTo>
                  <a:lnTo>
                    <a:pt x="420" y="443"/>
                  </a:lnTo>
                  <a:lnTo>
                    <a:pt x="443" y="443"/>
                  </a:lnTo>
                  <a:lnTo>
                    <a:pt x="452" y="443"/>
                  </a:lnTo>
                  <a:lnTo>
                    <a:pt x="464" y="443"/>
                  </a:lnTo>
                  <a:lnTo>
                    <a:pt x="468" y="453"/>
                  </a:lnTo>
                  <a:lnTo>
                    <a:pt x="474" y="465"/>
                  </a:lnTo>
                  <a:lnTo>
                    <a:pt x="474" y="468"/>
                  </a:lnTo>
                  <a:lnTo>
                    <a:pt x="474" y="474"/>
                  </a:lnTo>
                  <a:lnTo>
                    <a:pt x="477" y="478"/>
                  </a:lnTo>
                  <a:lnTo>
                    <a:pt x="483" y="484"/>
                  </a:lnTo>
                  <a:lnTo>
                    <a:pt x="493" y="488"/>
                  </a:lnTo>
                  <a:lnTo>
                    <a:pt x="502" y="493"/>
                  </a:lnTo>
                  <a:lnTo>
                    <a:pt x="502" y="497"/>
                  </a:lnTo>
                  <a:lnTo>
                    <a:pt x="502" y="503"/>
                  </a:lnTo>
                  <a:lnTo>
                    <a:pt x="502" y="507"/>
                  </a:lnTo>
                  <a:lnTo>
                    <a:pt x="502" y="512"/>
                  </a:lnTo>
                  <a:lnTo>
                    <a:pt x="498" y="512"/>
                  </a:lnTo>
                  <a:lnTo>
                    <a:pt x="497" y="514"/>
                  </a:lnTo>
                  <a:lnTo>
                    <a:pt x="497" y="520"/>
                  </a:lnTo>
                  <a:lnTo>
                    <a:pt x="497" y="532"/>
                  </a:lnTo>
                  <a:lnTo>
                    <a:pt x="504" y="536"/>
                  </a:lnTo>
                  <a:lnTo>
                    <a:pt x="512" y="541"/>
                  </a:lnTo>
                  <a:lnTo>
                    <a:pt x="516" y="541"/>
                  </a:lnTo>
                  <a:lnTo>
                    <a:pt x="521" y="541"/>
                  </a:lnTo>
                  <a:lnTo>
                    <a:pt x="525" y="545"/>
                  </a:lnTo>
                  <a:lnTo>
                    <a:pt x="531" y="551"/>
                  </a:lnTo>
                  <a:lnTo>
                    <a:pt x="535" y="555"/>
                  </a:lnTo>
                  <a:lnTo>
                    <a:pt x="541" y="560"/>
                  </a:lnTo>
                  <a:lnTo>
                    <a:pt x="550" y="564"/>
                  </a:lnTo>
                  <a:lnTo>
                    <a:pt x="560" y="570"/>
                  </a:lnTo>
                  <a:lnTo>
                    <a:pt x="569" y="576"/>
                  </a:lnTo>
                  <a:lnTo>
                    <a:pt x="579" y="580"/>
                  </a:lnTo>
                  <a:lnTo>
                    <a:pt x="589" y="580"/>
                  </a:lnTo>
                  <a:lnTo>
                    <a:pt x="598" y="580"/>
                  </a:lnTo>
                  <a:lnTo>
                    <a:pt x="604" y="576"/>
                  </a:lnTo>
                  <a:lnTo>
                    <a:pt x="608" y="570"/>
                  </a:lnTo>
                  <a:lnTo>
                    <a:pt x="614" y="570"/>
                  </a:lnTo>
                  <a:lnTo>
                    <a:pt x="617" y="570"/>
                  </a:lnTo>
                  <a:lnTo>
                    <a:pt x="617" y="555"/>
                  </a:lnTo>
                  <a:lnTo>
                    <a:pt x="617" y="541"/>
                  </a:lnTo>
                  <a:lnTo>
                    <a:pt x="614" y="541"/>
                  </a:lnTo>
                  <a:lnTo>
                    <a:pt x="608" y="541"/>
                  </a:lnTo>
                  <a:lnTo>
                    <a:pt x="608" y="536"/>
                  </a:lnTo>
                  <a:lnTo>
                    <a:pt x="608" y="532"/>
                  </a:lnTo>
                  <a:lnTo>
                    <a:pt x="604" y="526"/>
                  </a:lnTo>
                  <a:lnTo>
                    <a:pt x="598" y="522"/>
                  </a:lnTo>
                  <a:lnTo>
                    <a:pt x="594" y="512"/>
                  </a:lnTo>
                  <a:lnTo>
                    <a:pt x="589" y="503"/>
                  </a:lnTo>
                  <a:lnTo>
                    <a:pt x="589" y="493"/>
                  </a:lnTo>
                  <a:lnTo>
                    <a:pt x="589" y="484"/>
                  </a:lnTo>
                  <a:lnTo>
                    <a:pt x="598" y="484"/>
                  </a:lnTo>
                  <a:lnTo>
                    <a:pt x="608" y="484"/>
                  </a:lnTo>
                  <a:lnTo>
                    <a:pt x="614" y="488"/>
                  </a:lnTo>
                  <a:lnTo>
                    <a:pt x="617" y="493"/>
                  </a:lnTo>
                  <a:lnTo>
                    <a:pt x="623" y="493"/>
                  </a:lnTo>
                  <a:lnTo>
                    <a:pt x="627" y="493"/>
                  </a:lnTo>
                  <a:lnTo>
                    <a:pt x="633" y="493"/>
                  </a:lnTo>
                  <a:lnTo>
                    <a:pt x="637" y="493"/>
                  </a:lnTo>
                  <a:lnTo>
                    <a:pt x="642" y="488"/>
                  </a:lnTo>
                  <a:lnTo>
                    <a:pt x="646" y="484"/>
                  </a:lnTo>
                  <a:lnTo>
                    <a:pt x="652" y="484"/>
                  </a:lnTo>
                  <a:lnTo>
                    <a:pt x="658" y="484"/>
                  </a:lnTo>
                  <a:lnTo>
                    <a:pt x="658" y="478"/>
                  </a:lnTo>
                  <a:lnTo>
                    <a:pt x="658" y="474"/>
                  </a:lnTo>
                  <a:lnTo>
                    <a:pt x="662" y="468"/>
                  </a:lnTo>
                  <a:lnTo>
                    <a:pt x="665" y="465"/>
                  </a:lnTo>
                  <a:lnTo>
                    <a:pt x="665" y="459"/>
                  </a:lnTo>
                  <a:lnTo>
                    <a:pt x="665" y="453"/>
                  </a:lnTo>
                  <a:lnTo>
                    <a:pt x="671" y="453"/>
                  </a:lnTo>
                  <a:lnTo>
                    <a:pt x="675" y="453"/>
                  </a:lnTo>
                  <a:lnTo>
                    <a:pt x="681" y="449"/>
                  </a:lnTo>
                  <a:lnTo>
                    <a:pt x="686" y="443"/>
                  </a:lnTo>
                  <a:lnTo>
                    <a:pt x="696" y="443"/>
                  </a:lnTo>
                  <a:lnTo>
                    <a:pt x="706" y="443"/>
                  </a:lnTo>
                  <a:lnTo>
                    <a:pt x="715" y="443"/>
                  </a:lnTo>
                  <a:lnTo>
                    <a:pt x="725" y="443"/>
                  </a:lnTo>
                  <a:lnTo>
                    <a:pt x="725" y="449"/>
                  </a:lnTo>
                  <a:lnTo>
                    <a:pt x="727" y="453"/>
                  </a:lnTo>
                  <a:lnTo>
                    <a:pt x="733" y="453"/>
                  </a:lnTo>
                  <a:lnTo>
                    <a:pt x="744" y="453"/>
                  </a:lnTo>
                  <a:lnTo>
                    <a:pt x="744" y="440"/>
                  </a:lnTo>
                  <a:lnTo>
                    <a:pt x="744" y="424"/>
                  </a:lnTo>
                  <a:lnTo>
                    <a:pt x="738" y="424"/>
                  </a:lnTo>
                  <a:lnTo>
                    <a:pt x="734" y="424"/>
                  </a:lnTo>
                  <a:lnTo>
                    <a:pt x="729" y="420"/>
                  </a:lnTo>
                  <a:lnTo>
                    <a:pt x="725" y="415"/>
                  </a:lnTo>
                  <a:lnTo>
                    <a:pt x="725" y="411"/>
                  </a:lnTo>
                  <a:lnTo>
                    <a:pt x="725" y="405"/>
                  </a:lnTo>
                  <a:lnTo>
                    <a:pt x="738" y="401"/>
                  </a:lnTo>
                  <a:lnTo>
                    <a:pt x="754" y="395"/>
                  </a:lnTo>
                  <a:lnTo>
                    <a:pt x="763" y="395"/>
                  </a:lnTo>
                  <a:lnTo>
                    <a:pt x="773" y="395"/>
                  </a:lnTo>
                  <a:lnTo>
                    <a:pt x="773" y="386"/>
                  </a:lnTo>
                  <a:lnTo>
                    <a:pt x="773" y="376"/>
                  </a:lnTo>
                  <a:lnTo>
                    <a:pt x="763" y="376"/>
                  </a:lnTo>
                  <a:lnTo>
                    <a:pt x="754" y="376"/>
                  </a:lnTo>
                  <a:lnTo>
                    <a:pt x="748" y="372"/>
                  </a:lnTo>
                  <a:lnTo>
                    <a:pt x="744" y="367"/>
                  </a:lnTo>
                  <a:lnTo>
                    <a:pt x="744" y="361"/>
                  </a:lnTo>
                  <a:lnTo>
                    <a:pt x="744" y="357"/>
                  </a:lnTo>
                  <a:lnTo>
                    <a:pt x="744" y="353"/>
                  </a:lnTo>
                  <a:lnTo>
                    <a:pt x="744" y="347"/>
                  </a:lnTo>
                  <a:lnTo>
                    <a:pt x="744" y="344"/>
                  </a:lnTo>
                  <a:lnTo>
                    <a:pt x="744" y="338"/>
                  </a:lnTo>
                  <a:lnTo>
                    <a:pt x="740" y="330"/>
                  </a:lnTo>
                  <a:lnTo>
                    <a:pt x="736" y="326"/>
                  </a:lnTo>
                  <a:lnTo>
                    <a:pt x="734" y="326"/>
                  </a:lnTo>
                  <a:lnTo>
                    <a:pt x="734" y="328"/>
                  </a:lnTo>
                  <a:lnTo>
                    <a:pt x="729" y="328"/>
                  </a:lnTo>
                  <a:lnTo>
                    <a:pt x="725" y="328"/>
                  </a:lnTo>
                  <a:lnTo>
                    <a:pt x="719" y="328"/>
                  </a:lnTo>
                  <a:lnTo>
                    <a:pt x="715" y="328"/>
                  </a:lnTo>
                  <a:lnTo>
                    <a:pt x="710" y="328"/>
                  </a:lnTo>
                  <a:lnTo>
                    <a:pt x="706" y="328"/>
                  </a:lnTo>
                  <a:lnTo>
                    <a:pt x="706" y="323"/>
                  </a:lnTo>
                  <a:lnTo>
                    <a:pt x="706" y="319"/>
                  </a:lnTo>
                  <a:lnTo>
                    <a:pt x="710" y="313"/>
                  </a:lnTo>
                  <a:lnTo>
                    <a:pt x="715" y="309"/>
                  </a:lnTo>
                  <a:lnTo>
                    <a:pt x="719" y="294"/>
                  </a:lnTo>
                  <a:lnTo>
                    <a:pt x="725" y="280"/>
                  </a:lnTo>
                  <a:lnTo>
                    <a:pt x="725" y="275"/>
                  </a:lnTo>
                  <a:lnTo>
                    <a:pt x="725" y="271"/>
                  </a:lnTo>
                  <a:lnTo>
                    <a:pt x="725" y="265"/>
                  </a:lnTo>
                  <a:lnTo>
                    <a:pt x="725" y="261"/>
                  </a:lnTo>
                  <a:lnTo>
                    <a:pt x="734" y="261"/>
                  </a:lnTo>
                  <a:lnTo>
                    <a:pt x="744" y="261"/>
                  </a:lnTo>
                  <a:lnTo>
                    <a:pt x="748" y="261"/>
                  </a:lnTo>
                  <a:lnTo>
                    <a:pt x="754" y="261"/>
                  </a:lnTo>
                  <a:lnTo>
                    <a:pt x="754" y="255"/>
                  </a:lnTo>
                  <a:lnTo>
                    <a:pt x="754" y="252"/>
                  </a:lnTo>
                  <a:lnTo>
                    <a:pt x="757" y="252"/>
                  </a:lnTo>
                  <a:lnTo>
                    <a:pt x="763" y="252"/>
                  </a:lnTo>
                  <a:lnTo>
                    <a:pt x="767" y="252"/>
                  </a:lnTo>
                  <a:lnTo>
                    <a:pt x="773" y="252"/>
                  </a:lnTo>
                  <a:lnTo>
                    <a:pt x="773" y="246"/>
                  </a:lnTo>
                  <a:lnTo>
                    <a:pt x="773" y="242"/>
                  </a:lnTo>
                  <a:lnTo>
                    <a:pt x="777" y="242"/>
                  </a:lnTo>
                  <a:lnTo>
                    <a:pt x="782" y="242"/>
                  </a:lnTo>
                  <a:lnTo>
                    <a:pt x="786" y="244"/>
                  </a:lnTo>
                  <a:lnTo>
                    <a:pt x="792" y="246"/>
                  </a:lnTo>
                  <a:lnTo>
                    <a:pt x="794" y="244"/>
                  </a:lnTo>
                  <a:lnTo>
                    <a:pt x="796" y="242"/>
                  </a:lnTo>
                  <a:lnTo>
                    <a:pt x="800" y="236"/>
                  </a:lnTo>
                  <a:lnTo>
                    <a:pt x="802" y="232"/>
                  </a:lnTo>
                  <a:lnTo>
                    <a:pt x="802" y="227"/>
                  </a:lnTo>
                  <a:lnTo>
                    <a:pt x="802" y="223"/>
                  </a:lnTo>
                  <a:lnTo>
                    <a:pt x="805" y="217"/>
                  </a:lnTo>
                  <a:lnTo>
                    <a:pt x="811" y="211"/>
                  </a:lnTo>
                  <a:lnTo>
                    <a:pt x="815" y="211"/>
                  </a:lnTo>
                  <a:lnTo>
                    <a:pt x="821" y="211"/>
                  </a:lnTo>
                  <a:lnTo>
                    <a:pt x="821" y="221"/>
                  </a:lnTo>
                  <a:lnTo>
                    <a:pt x="821" y="232"/>
                  </a:lnTo>
                  <a:lnTo>
                    <a:pt x="815" y="232"/>
                  </a:lnTo>
                  <a:lnTo>
                    <a:pt x="813" y="234"/>
                  </a:lnTo>
                  <a:lnTo>
                    <a:pt x="811" y="240"/>
                  </a:lnTo>
                  <a:lnTo>
                    <a:pt x="811" y="252"/>
                  </a:lnTo>
                  <a:lnTo>
                    <a:pt x="823" y="252"/>
                  </a:lnTo>
                  <a:lnTo>
                    <a:pt x="828" y="250"/>
                  </a:lnTo>
                  <a:lnTo>
                    <a:pt x="830" y="248"/>
                  </a:lnTo>
                  <a:lnTo>
                    <a:pt x="830" y="242"/>
                  </a:lnTo>
                  <a:lnTo>
                    <a:pt x="836" y="236"/>
                  </a:lnTo>
                  <a:lnTo>
                    <a:pt x="840" y="232"/>
                  </a:lnTo>
                  <a:lnTo>
                    <a:pt x="846" y="232"/>
                  </a:lnTo>
                  <a:lnTo>
                    <a:pt x="850" y="232"/>
                  </a:lnTo>
                  <a:lnTo>
                    <a:pt x="855" y="242"/>
                  </a:lnTo>
                  <a:lnTo>
                    <a:pt x="859" y="252"/>
                  </a:lnTo>
                  <a:lnTo>
                    <a:pt x="865" y="252"/>
                  </a:lnTo>
                  <a:lnTo>
                    <a:pt x="869" y="252"/>
                  </a:lnTo>
                  <a:lnTo>
                    <a:pt x="875" y="252"/>
                  </a:lnTo>
                  <a:lnTo>
                    <a:pt x="878" y="252"/>
                  </a:lnTo>
                  <a:lnTo>
                    <a:pt x="878" y="230"/>
                  </a:lnTo>
                  <a:lnTo>
                    <a:pt x="878" y="211"/>
                  </a:lnTo>
                  <a:lnTo>
                    <a:pt x="875" y="211"/>
                  </a:lnTo>
                  <a:lnTo>
                    <a:pt x="869" y="211"/>
                  </a:lnTo>
                  <a:lnTo>
                    <a:pt x="869" y="192"/>
                  </a:lnTo>
                  <a:lnTo>
                    <a:pt x="869" y="173"/>
                  </a:lnTo>
                  <a:lnTo>
                    <a:pt x="875" y="173"/>
                  </a:lnTo>
                  <a:lnTo>
                    <a:pt x="878" y="173"/>
                  </a:lnTo>
                  <a:lnTo>
                    <a:pt x="884" y="177"/>
                  </a:lnTo>
                  <a:lnTo>
                    <a:pt x="888" y="179"/>
                  </a:lnTo>
                  <a:lnTo>
                    <a:pt x="892" y="177"/>
                  </a:lnTo>
                  <a:lnTo>
                    <a:pt x="894" y="173"/>
                  </a:lnTo>
                  <a:lnTo>
                    <a:pt x="896" y="169"/>
                  </a:lnTo>
                  <a:lnTo>
                    <a:pt x="898" y="163"/>
                  </a:lnTo>
                  <a:lnTo>
                    <a:pt x="903" y="159"/>
                  </a:lnTo>
                  <a:lnTo>
                    <a:pt x="907" y="154"/>
                  </a:lnTo>
                  <a:lnTo>
                    <a:pt x="917" y="154"/>
                  </a:lnTo>
                  <a:lnTo>
                    <a:pt x="928" y="154"/>
                  </a:lnTo>
                  <a:lnTo>
                    <a:pt x="932" y="163"/>
                  </a:lnTo>
                  <a:lnTo>
                    <a:pt x="938" y="173"/>
                  </a:lnTo>
                  <a:lnTo>
                    <a:pt x="938" y="179"/>
                  </a:lnTo>
                  <a:lnTo>
                    <a:pt x="940" y="182"/>
                  </a:lnTo>
                  <a:lnTo>
                    <a:pt x="946" y="182"/>
                  </a:lnTo>
                  <a:lnTo>
                    <a:pt x="957" y="182"/>
                  </a:lnTo>
                  <a:lnTo>
                    <a:pt x="957" y="179"/>
                  </a:lnTo>
                  <a:lnTo>
                    <a:pt x="957" y="173"/>
                  </a:lnTo>
                  <a:lnTo>
                    <a:pt x="967" y="173"/>
                  </a:lnTo>
                  <a:lnTo>
                    <a:pt x="976" y="173"/>
                  </a:lnTo>
                  <a:lnTo>
                    <a:pt x="980" y="173"/>
                  </a:lnTo>
                  <a:lnTo>
                    <a:pt x="986" y="173"/>
                  </a:lnTo>
                  <a:lnTo>
                    <a:pt x="990" y="169"/>
                  </a:lnTo>
                  <a:lnTo>
                    <a:pt x="995" y="163"/>
                  </a:lnTo>
                  <a:lnTo>
                    <a:pt x="999" y="163"/>
                  </a:lnTo>
                  <a:lnTo>
                    <a:pt x="1005" y="163"/>
                  </a:lnTo>
                  <a:lnTo>
                    <a:pt x="1009" y="163"/>
                  </a:lnTo>
                  <a:lnTo>
                    <a:pt x="1015" y="163"/>
                  </a:lnTo>
                  <a:lnTo>
                    <a:pt x="1040" y="159"/>
                  </a:lnTo>
                  <a:lnTo>
                    <a:pt x="1063" y="154"/>
                  </a:lnTo>
                  <a:lnTo>
                    <a:pt x="1068" y="150"/>
                  </a:lnTo>
                  <a:lnTo>
                    <a:pt x="1072" y="144"/>
                  </a:lnTo>
                  <a:lnTo>
                    <a:pt x="1072" y="140"/>
                  </a:lnTo>
                  <a:lnTo>
                    <a:pt x="1072" y="134"/>
                  </a:lnTo>
                  <a:lnTo>
                    <a:pt x="1078" y="121"/>
                  </a:lnTo>
                  <a:lnTo>
                    <a:pt x="1082" y="106"/>
                  </a:lnTo>
                  <a:lnTo>
                    <a:pt x="1086" y="96"/>
                  </a:lnTo>
                  <a:lnTo>
                    <a:pt x="1091" y="87"/>
                  </a:lnTo>
                  <a:lnTo>
                    <a:pt x="1091" y="81"/>
                  </a:lnTo>
                  <a:lnTo>
                    <a:pt x="1091" y="77"/>
                  </a:lnTo>
                  <a:lnTo>
                    <a:pt x="1091" y="67"/>
                  </a:lnTo>
                  <a:lnTo>
                    <a:pt x="1091" y="58"/>
                  </a:lnTo>
                  <a:lnTo>
                    <a:pt x="1097" y="52"/>
                  </a:lnTo>
                  <a:lnTo>
                    <a:pt x="1101" y="48"/>
                  </a:lnTo>
                  <a:lnTo>
                    <a:pt x="1107" y="42"/>
                  </a:lnTo>
                  <a:lnTo>
                    <a:pt x="1111" y="39"/>
                  </a:lnTo>
                  <a:lnTo>
                    <a:pt x="1116" y="39"/>
                  </a:lnTo>
                  <a:lnTo>
                    <a:pt x="1120" y="39"/>
                  </a:lnTo>
                  <a:lnTo>
                    <a:pt x="1126" y="33"/>
                  </a:lnTo>
                  <a:lnTo>
                    <a:pt x="1130" y="29"/>
                  </a:lnTo>
                  <a:lnTo>
                    <a:pt x="1135" y="29"/>
                  </a:lnTo>
                  <a:lnTo>
                    <a:pt x="1139" y="29"/>
                  </a:lnTo>
                  <a:lnTo>
                    <a:pt x="1145" y="23"/>
                  </a:lnTo>
                  <a:lnTo>
                    <a:pt x="1149" y="19"/>
                  </a:lnTo>
                  <a:lnTo>
                    <a:pt x="1158" y="19"/>
                  </a:lnTo>
                  <a:lnTo>
                    <a:pt x="1170" y="19"/>
                  </a:lnTo>
                  <a:lnTo>
                    <a:pt x="1174" y="14"/>
                  </a:lnTo>
                  <a:lnTo>
                    <a:pt x="1178" y="10"/>
                  </a:lnTo>
                  <a:lnTo>
                    <a:pt x="1183" y="10"/>
                  </a:lnTo>
                  <a:lnTo>
                    <a:pt x="1189" y="10"/>
                  </a:lnTo>
                  <a:lnTo>
                    <a:pt x="1193" y="10"/>
                  </a:lnTo>
                  <a:lnTo>
                    <a:pt x="1199" y="10"/>
                  </a:lnTo>
                  <a:lnTo>
                    <a:pt x="1212" y="14"/>
                  </a:lnTo>
                  <a:lnTo>
                    <a:pt x="1228" y="19"/>
                  </a:lnTo>
                  <a:lnTo>
                    <a:pt x="1231" y="23"/>
                  </a:lnTo>
                  <a:lnTo>
                    <a:pt x="1237" y="29"/>
                  </a:lnTo>
                  <a:lnTo>
                    <a:pt x="1237" y="35"/>
                  </a:lnTo>
                  <a:lnTo>
                    <a:pt x="1239" y="37"/>
                  </a:lnTo>
                  <a:lnTo>
                    <a:pt x="1245" y="39"/>
                  </a:lnTo>
                  <a:lnTo>
                    <a:pt x="1256" y="39"/>
                  </a:lnTo>
                  <a:lnTo>
                    <a:pt x="1256" y="33"/>
                  </a:lnTo>
                  <a:lnTo>
                    <a:pt x="1256" y="29"/>
                  </a:lnTo>
                  <a:lnTo>
                    <a:pt x="1266" y="29"/>
                  </a:lnTo>
                  <a:lnTo>
                    <a:pt x="1276" y="29"/>
                  </a:lnTo>
                  <a:lnTo>
                    <a:pt x="1279" y="29"/>
                  </a:lnTo>
                  <a:lnTo>
                    <a:pt x="1285" y="29"/>
                  </a:lnTo>
                  <a:lnTo>
                    <a:pt x="1295" y="33"/>
                  </a:lnTo>
                  <a:lnTo>
                    <a:pt x="1304" y="39"/>
                  </a:lnTo>
                  <a:lnTo>
                    <a:pt x="1310" y="42"/>
                  </a:lnTo>
                  <a:lnTo>
                    <a:pt x="1314" y="48"/>
                  </a:lnTo>
                  <a:lnTo>
                    <a:pt x="1329" y="56"/>
                  </a:lnTo>
                  <a:lnTo>
                    <a:pt x="1347" y="65"/>
                  </a:lnTo>
                  <a:lnTo>
                    <a:pt x="1345" y="52"/>
                  </a:lnTo>
                  <a:lnTo>
                    <a:pt x="1343" y="39"/>
                  </a:lnTo>
                  <a:lnTo>
                    <a:pt x="1339" y="33"/>
                  </a:lnTo>
                  <a:lnTo>
                    <a:pt x="1333" y="29"/>
                  </a:lnTo>
                  <a:lnTo>
                    <a:pt x="1333" y="23"/>
                  </a:lnTo>
                  <a:lnTo>
                    <a:pt x="1333" y="19"/>
                  </a:lnTo>
                  <a:lnTo>
                    <a:pt x="1333" y="14"/>
                  </a:lnTo>
                  <a:lnTo>
                    <a:pt x="1333" y="10"/>
                  </a:lnTo>
                  <a:lnTo>
                    <a:pt x="1333" y="4"/>
                  </a:lnTo>
                  <a:lnTo>
                    <a:pt x="1333" y="0"/>
                  </a:lnTo>
                  <a:lnTo>
                    <a:pt x="1341" y="0"/>
                  </a:lnTo>
                  <a:lnTo>
                    <a:pt x="1348" y="0"/>
                  </a:lnTo>
                  <a:lnTo>
                    <a:pt x="1350" y="2"/>
                  </a:lnTo>
                  <a:lnTo>
                    <a:pt x="1352" y="4"/>
                  </a:lnTo>
                  <a:lnTo>
                    <a:pt x="1360" y="6"/>
                  </a:lnTo>
                  <a:lnTo>
                    <a:pt x="1368" y="10"/>
                  </a:lnTo>
                  <a:lnTo>
                    <a:pt x="1370" y="12"/>
                  </a:lnTo>
                  <a:lnTo>
                    <a:pt x="1371" y="14"/>
                  </a:lnTo>
                  <a:lnTo>
                    <a:pt x="1375" y="21"/>
                  </a:lnTo>
                  <a:lnTo>
                    <a:pt x="1377" y="29"/>
                  </a:lnTo>
                  <a:lnTo>
                    <a:pt x="1379" y="31"/>
                  </a:lnTo>
                  <a:lnTo>
                    <a:pt x="1381" y="33"/>
                  </a:lnTo>
                  <a:lnTo>
                    <a:pt x="1381" y="48"/>
                  </a:lnTo>
                  <a:lnTo>
                    <a:pt x="1381" y="62"/>
                  </a:lnTo>
                  <a:lnTo>
                    <a:pt x="1379" y="65"/>
                  </a:lnTo>
                  <a:lnTo>
                    <a:pt x="1377" y="67"/>
                  </a:lnTo>
                  <a:lnTo>
                    <a:pt x="1375" y="85"/>
                  </a:lnTo>
                  <a:lnTo>
                    <a:pt x="1371" y="100"/>
                  </a:lnTo>
                  <a:lnTo>
                    <a:pt x="1370" y="104"/>
                  </a:lnTo>
                  <a:lnTo>
                    <a:pt x="1368" y="106"/>
                  </a:lnTo>
                  <a:lnTo>
                    <a:pt x="1366" y="113"/>
                  </a:lnTo>
                  <a:lnTo>
                    <a:pt x="1362" y="121"/>
                  </a:lnTo>
                  <a:lnTo>
                    <a:pt x="1360" y="123"/>
                  </a:lnTo>
                  <a:lnTo>
                    <a:pt x="1358" y="125"/>
                  </a:lnTo>
                  <a:lnTo>
                    <a:pt x="1356" y="133"/>
                  </a:lnTo>
                  <a:lnTo>
                    <a:pt x="1352" y="140"/>
                  </a:lnTo>
                  <a:lnTo>
                    <a:pt x="1350" y="142"/>
                  </a:lnTo>
                  <a:lnTo>
                    <a:pt x="1348" y="144"/>
                  </a:lnTo>
                  <a:lnTo>
                    <a:pt x="1348" y="154"/>
                  </a:lnTo>
                  <a:lnTo>
                    <a:pt x="1348" y="163"/>
                  </a:lnTo>
                  <a:lnTo>
                    <a:pt x="1350" y="167"/>
                  </a:lnTo>
                  <a:lnTo>
                    <a:pt x="1352" y="169"/>
                  </a:lnTo>
                  <a:lnTo>
                    <a:pt x="1356" y="171"/>
                  </a:lnTo>
                  <a:lnTo>
                    <a:pt x="1358" y="173"/>
                  </a:lnTo>
                  <a:lnTo>
                    <a:pt x="1360" y="177"/>
                  </a:lnTo>
                  <a:lnTo>
                    <a:pt x="1362" y="179"/>
                  </a:lnTo>
                  <a:lnTo>
                    <a:pt x="1366" y="181"/>
                  </a:lnTo>
                  <a:lnTo>
                    <a:pt x="1368" y="182"/>
                  </a:lnTo>
                  <a:lnTo>
                    <a:pt x="1370" y="186"/>
                  </a:lnTo>
                  <a:lnTo>
                    <a:pt x="1371" y="188"/>
                  </a:lnTo>
                  <a:lnTo>
                    <a:pt x="1371" y="200"/>
                  </a:lnTo>
                  <a:lnTo>
                    <a:pt x="1371" y="211"/>
                  </a:lnTo>
                  <a:lnTo>
                    <a:pt x="1387" y="211"/>
                  </a:lnTo>
                  <a:lnTo>
                    <a:pt x="1404" y="211"/>
                  </a:lnTo>
                  <a:lnTo>
                    <a:pt x="1419" y="211"/>
                  </a:lnTo>
                  <a:lnTo>
                    <a:pt x="1435" y="211"/>
                  </a:lnTo>
                  <a:lnTo>
                    <a:pt x="1437" y="215"/>
                  </a:lnTo>
                  <a:lnTo>
                    <a:pt x="1441" y="217"/>
                  </a:lnTo>
                  <a:lnTo>
                    <a:pt x="1446" y="225"/>
                  </a:lnTo>
                  <a:lnTo>
                    <a:pt x="1454" y="232"/>
                  </a:lnTo>
                  <a:lnTo>
                    <a:pt x="1456" y="234"/>
                  </a:lnTo>
                  <a:lnTo>
                    <a:pt x="1460" y="236"/>
                  </a:lnTo>
                  <a:lnTo>
                    <a:pt x="1462" y="238"/>
                  </a:lnTo>
                  <a:lnTo>
                    <a:pt x="1464" y="242"/>
                  </a:lnTo>
                  <a:lnTo>
                    <a:pt x="1465" y="244"/>
                  </a:lnTo>
                  <a:lnTo>
                    <a:pt x="1469" y="246"/>
                  </a:lnTo>
                  <a:lnTo>
                    <a:pt x="1471" y="248"/>
                  </a:lnTo>
                  <a:lnTo>
                    <a:pt x="1473" y="252"/>
                  </a:lnTo>
                  <a:lnTo>
                    <a:pt x="1477" y="253"/>
                  </a:lnTo>
                  <a:lnTo>
                    <a:pt x="1479" y="255"/>
                  </a:lnTo>
                  <a:lnTo>
                    <a:pt x="1479" y="265"/>
                  </a:lnTo>
                  <a:lnTo>
                    <a:pt x="1479" y="275"/>
                  </a:lnTo>
                  <a:lnTo>
                    <a:pt x="1477" y="278"/>
                  </a:lnTo>
                  <a:lnTo>
                    <a:pt x="1473" y="280"/>
                  </a:lnTo>
                  <a:lnTo>
                    <a:pt x="1471" y="292"/>
                  </a:lnTo>
                  <a:lnTo>
                    <a:pt x="1469" y="303"/>
                  </a:lnTo>
                  <a:lnTo>
                    <a:pt x="1465" y="307"/>
                  </a:lnTo>
                  <a:lnTo>
                    <a:pt x="1464" y="309"/>
                  </a:lnTo>
                  <a:lnTo>
                    <a:pt x="1462" y="311"/>
                  </a:lnTo>
                  <a:lnTo>
                    <a:pt x="1460" y="315"/>
                  </a:lnTo>
                  <a:lnTo>
                    <a:pt x="1456" y="317"/>
                  </a:lnTo>
                  <a:lnTo>
                    <a:pt x="1454" y="319"/>
                  </a:lnTo>
                  <a:lnTo>
                    <a:pt x="1446" y="321"/>
                  </a:lnTo>
                  <a:lnTo>
                    <a:pt x="1441" y="324"/>
                  </a:lnTo>
                  <a:lnTo>
                    <a:pt x="1437" y="326"/>
                  </a:lnTo>
                  <a:lnTo>
                    <a:pt x="1435" y="328"/>
                  </a:lnTo>
                  <a:lnTo>
                    <a:pt x="1433" y="330"/>
                  </a:lnTo>
                  <a:lnTo>
                    <a:pt x="1431" y="332"/>
                  </a:lnTo>
                  <a:lnTo>
                    <a:pt x="1427" y="336"/>
                  </a:lnTo>
                  <a:lnTo>
                    <a:pt x="1425" y="338"/>
                  </a:lnTo>
                  <a:lnTo>
                    <a:pt x="1418" y="340"/>
                  </a:lnTo>
                  <a:lnTo>
                    <a:pt x="1410" y="344"/>
                  </a:lnTo>
                  <a:lnTo>
                    <a:pt x="1408" y="346"/>
                  </a:lnTo>
                  <a:lnTo>
                    <a:pt x="1406" y="347"/>
                  </a:lnTo>
                  <a:lnTo>
                    <a:pt x="1406" y="367"/>
                  </a:lnTo>
                  <a:lnTo>
                    <a:pt x="1406" y="386"/>
                  </a:lnTo>
                  <a:lnTo>
                    <a:pt x="1408" y="388"/>
                  </a:lnTo>
                  <a:lnTo>
                    <a:pt x="1410" y="392"/>
                  </a:lnTo>
                  <a:lnTo>
                    <a:pt x="1410" y="395"/>
                  </a:lnTo>
                  <a:lnTo>
                    <a:pt x="1410" y="401"/>
                  </a:lnTo>
                  <a:lnTo>
                    <a:pt x="1408" y="403"/>
                  </a:lnTo>
                  <a:lnTo>
                    <a:pt x="1406" y="405"/>
                  </a:lnTo>
                  <a:lnTo>
                    <a:pt x="1406" y="411"/>
                  </a:lnTo>
                  <a:lnTo>
                    <a:pt x="1406" y="415"/>
                  </a:lnTo>
                  <a:lnTo>
                    <a:pt x="1408" y="417"/>
                  </a:lnTo>
                  <a:lnTo>
                    <a:pt x="1410" y="420"/>
                  </a:lnTo>
                  <a:lnTo>
                    <a:pt x="1414" y="422"/>
                  </a:lnTo>
                  <a:lnTo>
                    <a:pt x="1416" y="424"/>
                  </a:lnTo>
                  <a:lnTo>
                    <a:pt x="1418" y="428"/>
                  </a:lnTo>
                  <a:lnTo>
                    <a:pt x="1421" y="430"/>
                  </a:lnTo>
                  <a:lnTo>
                    <a:pt x="1423" y="438"/>
                  </a:lnTo>
                  <a:lnTo>
                    <a:pt x="1425" y="443"/>
                  </a:lnTo>
                  <a:lnTo>
                    <a:pt x="1427" y="447"/>
                  </a:lnTo>
                  <a:lnTo>
                    <a:pt x="1431" y="449"/>
                  </a:lnTo>
                  <a:lnTo>
                    <a:pt x="1433" y="461"/>
                  </a:lnTo>
                  <a:lnTo>
                    <a:pt x="1435" y="474"/>
                  </a:lnTo>
                  <a:lnTo>
                    <a:pt x="1437" y="476"/>
                  </a:lnTo>
                  <a:lnTo>
                    <a:pt x="1441" y="478"/>
                  </a:lnTo>
                  <a:lnTo>
                    <a:pt x="1442" y="480"/>
                  </a:lnTo>
                  <a:lnTo>
                    <a:pt x="1444" y="484"/>
                  </a:lnTo>
                  <a:lnTo>
                    <a:pt x="1448" y="486"/>
                  </a:lnTo>
                  <a:lnTo>
                    <a:pt x="1450" y="488"/>
                  </a:lnTo>
                  <a:lnTo>
                    <a:pt x="1452" y="489"/>
                  </a:lnTo>
                  <a:lnTo>
                    <a:pt x="1454" y="493"/>
                  </a:lnTo>
                  <a:lnTo>
                    <a:pt x="1456" y="495"/>
                  </a:lnTo>
                  <a:lnTo>
                    <a:pt x="1460" y="497"/>
                  </a:lnTo>
                  <a:lnTo>
                    <a:pt x="1462" y="499"/>
                  </a:lnTo>
                  <a:lnTo>
                    <a:pt x="1464" y="503"/>
                  </a:lnTo>
                  <a:lnTo>
                    <a:pt x="1465" y="505"/>
                  </a:lnTo>
                  <a:lnTo>
                    <a:pt x="1469" y="507"/>
                  </a:lnTo>
                  <a:lnTo>
                    <a:pt x="1469" y="516"/>
                  </a:lnTo>
                  <a:lnTo>
                    <a:pt x="1469" y="526"/>
                  </a:lnTo>
                  <a:lnTo>
                    <a:pt x="1465" y="530"/>
                  </a:lnTo>
                  <a:lnTo>
                    <a:pt x="1464" y="532"/>
                  </a:lnTo>
                  <a:lnTo>
                    <a:pt x="1462" y="539"/>
                  </a:lnTo>
                  <a:lnTo>
                    <a:pt x="1460" y="547"/>
                  </a:lnTo>
                  <a:lnTo>
                    <a:pt x="1456" y="549"/>
                  </a:lnTo>
                  <a:lnTo>
                    <a:pt x="1454" y="551"/>
                  </a:lnTo>
                  <a:lnTo>
                    <a:pt x="1452" y="562"/>
                  </a:lnTo>
                  <a:lnTo>
                    <a:pt x="1450" y="576"/>
                  </a:lnTo>
                  <a:lnTo>
                    <a:pt x="1448" y="578"/>
                  </a:lnTo>
                  <a:lnTo>
                    <a:pt x="1444" y="580"/>
                  </a:lnTo>
                  <a:lnTo>
                    <a:pt x="1442" y="582"/>
                  </a:lnTo>
                  <a:lnTo>
                    <a:pt x="1441" y="585"/>
                  </a:lnTo>
                  <a:lnTo>
                    <a:pt x="1437" y="587"/>
                  </a:lnTo>
                  <a:lnTo>
                    <a:pt x="1435" y="589"/>
                  </a:lnTo>
                  <a:lnTo>
                    <a:pt x="1431" y="589"/>
                  </a:lnTo>
                  <a:lnTo>
                    <a:pt x="1425" y="589"/>
                  </a:lnTo>
                  <a:lnTo>
                    <a:pt x="1423" y="587"/>
                  </a:lnTo>
                  <a:lnTo>
                    <a:pt x="1421" y="585"/>
                  </a:lnTo>
                  <a:lnTo>
                    <a:pt x="1416" y="585"/>
                  </a:lnTo>
                  <a:lnTo>
                    <a:pt x="1410" y="585"/>
                  </a:lnTo>
                  <a:lnTo>
                    <a:pt x="1408" y="587"/>
                  </a:lnTo>
                  <a:lnTo>
                    <a:pt x="1406" y="589"/>
                  </a:lnTo>
                  <a:lnTo>
                    <a:pt x="1404" y="597"/>
                  </a:lnTo>
                  <a:lnTo>
                    <a:pt x="1402" y="605"/>
                  </a:lnTo>
                  <a:lnTo>
                    <a:pt x="1398" y="606"/>
                  </a:lnTo>
                  <a:lnTo>
                    <a:pt x="1396" y="608"/>
                  </a:lnTo>
                  <a:lnTo>
                    <a:pt x="1394" y="610"/>
                  </a:lnTo>
                  <a:lnTo>
                    <a:pt x="1393" y="614"/>
                  </a:lnTo>
                  <a:lnTo>
                    <a:pt x="1389" y="616"/>
                  </a:lnTo>
                  <a:lnTo>
                    <a:pt x="1387" y="618"/>
                  </a:lnTo>
                  <a:lnTo>
                    <a:pt x="1385" y="620"/>
                  </a:lnTo>
                  <a:lnTo>
                    <a:pt x="1381" y="624"/>
                  </a:lnTo>
                  <a:lnTo>
                    <a:pt x="1379" y="626"/>
                  </a:lnTo>
                  <a:lnTo>
                    <a:pt x="1377" y="628"/>
                  </a:lnTo>
                  <a:lnTo>
                    <a:pt x="1375" y="631"/>
                  </a:lnTo>
                  <a:lnTo>
                    <a:pt x="1373" y="637"/>
                  </a:lnTo>
                  <a:lnTo>
                    <a:pt x="1375" y="645"/>
                  </a:lnTo>
                  <a:lnTo>
                    <a:pt x="1377" y="647"/>
                  </a:lnTo>
                  <a:lnTo>
                    <a:pt x="1379" y="649"/>
                  </a:lnTo>
                  <a:lnTo>
                    <a:pt x="1381" y="653"/>
                  </a:lnTo>
                  <a:lnTo>
                    <a:pt x="1385" y="654"/>
                  </a:lnTo>
                  <a:lnTo>
                    <a:pt x="1387" y="656"/>
                  </a:lnTo>
                  <a:lnTo>
                    <a:pt x="1389" y="660"/>
                  </a:lnTo>
                  <a:lnTo>
                    <a:pt x="1393" y="662"/>
                  </a:lnTo>
                  <a:lnTo>
                    <a:pt x="1393" y="666"/>
                  </a:lnTo>
                  <a:lnTo>
                    <a:pt x="1393" y="672"/>
                  </a:lnTo>
                  <a:lnTo>
                    <a:pt x="1389" y="674"/>
                  </a:lnTo>
                  <a:lnTo>
                    <a:pt x="1387" y="676"/>
                  </a:lnTo>
                  <a:lnTo>
                    <a:pt x="1379" y="679"/>
                  </a:lnTo>
                  <a:lnTo>
                    <a:pt x="1371" y="681"/>
                  </a:lnTo>
                  <a:lnTo>
                    <a:pt x="1370" y="683"/>
                  </a:lnTo>
                  <a:lnTo>
                    <a:pt x="1368" y="685"/>
                  </a:lnTo>
                  <a:lnTo>
                    <a:pt x="1366" y="693"/>
                  </a:lnTo>
                  <a:lnTo>
                    <a:pt x="1362" y="701"/>
                  </a:lnTo>
                  <a:lnTo>
                    <a:pt x="1360" y="702"/>
                  </a:lnTo>
                  <a:lnTo>
                    <a:pt x="1358" y="706"/>
                  </a:lnTo>
                  <a:lnTo>
                    <a:pt x="1356" y="708"/>
                  </a:lnTo>
                  <a:lnTo>
                    <a:pt x="1352" y="710"/>
                  </a:lnTo>
                  <a:lnTo>
                    <a:pt x="1350" y="712"/>
                  </a:lnTo>
                  <a:lnTo>
                    <a:pt x="1348" y="716"/>
                  </a:lnTo>
                  <a:lnTo>
                    <a:pt x="1348" y="725"/>
                  </a:lnTo>
                  <a:lnTo>
                    <a:pt x="1348" y="735"/>
                  </a:lnTo>
                  <a:lnTo>
                    <a:pt x="1350" y="737"/>
                  </a:lnTo>
                  <a:lnTo>
                    <a:pt x="1352" y="739"/>
                  </a:lnTo>
                  <a:lnTo>
                    <a:pt x="1356" y="747"/>
                  </a:lnTo>
                  <a:lnTo>
                    <a:pt x="1358" y="754"/>
                  </a:lnTo>
                  <a:lnTo>
                    <a:pt x="1360" y="756"/>
                  </a:lnTo>
                  <a:lnTo>
                    <a:pt x="1362" y="758"/>
                  </a:lnTo>
                  <a:lnTo>
                    <a:pt x="1366" y="772"/>
                  </a:lnTo>
                  <a:lnTo>
                    <a:pt x="1368" y="783"/>
                  </a:lnTo>
                  <a:lnTo>
                    <a:pt x="1370" y="785"/>
                  </a:lnTo>
                  <a:lnTo>
                    <a:pt x="1371" y="789"/>
                  </a:lnTo>
                  <a:lnTo>
                    <a:pt x="1375" y="795"/>
                  </a:lnTo>
                  <a:lnTo>
                    <a:pt x="1377" y="802"/>
                  </a:lnTo>
                  <a:lnTo>
                    <a:pt x="1379" y="804"/>
                  </a:lnTo>
                  <a:lnTo>
                    <a:pt x="1381" y="808"/>
                  </a:lnTo>
                  <a:lnTo>
                    <a:pt x="1385" y="810"/>
                  </a:lnTo>
                  <a:lnTo>
                    <a:pt x="1387" y="812"/>
                  </a:lnTo>
                  <a:lnTo>
                    <a:pt x="1389" y="814"/>
                  </a:lnTo>
                  <a:lnTo>
                    <a:pt x="1393" y="818"/>
                  </a:lnTo>
                  <a:lnTo>
                    <a:pt x="1396" y="819"/>
                  </a:lnTo>
                  <a:lnTo>
                    <a:pt x="1402" y="821"/>
                  </a:lnTo>
                  <a:lnTo>
                    <a:pt x="1408" y="827"/>
                  </a:lnTo>
                  <a:lnTo>
                    <a:pt x="1410" y="831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4" name="Freeform 95">
              <a:extLst>
                <a:ext uri="{FF2B5EF4-FFF2-40B4-BE49-F238E27FC236}">
                  <a16:creationId xmlns:a16="http://schemas.microsoft.com/office/drawing/2014/main" xmlns="" id="{9E3CBA08-EFDC-AD4F-B3B2-4ED8BEC303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1988" y="4351153"/>
              <a:ext cx="1231900" cy="763588"/>
            </a:xfrm>
            <a:custGeom>
              <a:avLst/>
              <a:gdLst>
                <a:gd name="T0" fmla="*/ 2147483647 w 792"/>
                <a:gd name="T1" fmla="*/ 2147483647 h 510"/>
                <a:gd name="T2" fmla="*/ 2147483647 w 792"/>
                <a:gd name="T3" fmla="*/ 2147483647 h 510"/>
                <a:gd name="T4" fmla="*/ 2147483647 w 792"/>
                <a:gd name="T5" fmla="*/ 2147483647 h 510"/>
                <a:gd name="T6" fmla="*/ 2147483647 w 792"/>
                <a:gd name="T7" fmla="*/ 2147483647 h 510"/>
                <a:gd name="T8" fmla="*/ 2147483647 w 792"/>
                <a:gd name="T9" fmla="*/ 2147483647 h 510"/>
                <a:gd name="T10" fmla="*/ 2147483647 w 792"/>
                <a:gd name="T11" fmla="*/ 2147483647 h 510"/>
                <a:gd name="T12" fmla="*/ 2147483647 w 792"/>
                <a:gd name="T13" fmla="*/ 2147483647 h 510"/>
                <a:gd name="T14" fmla="*/ 2147483647 w 792"/>
                <a:gd name="T15" fmla="*/ 2147483647 h 510"/>
                <a:gd name="T16" fmla="*/ 2147483647 w 792"/>
                <a:gd name="T17" fmla="*/ 2147483647 h 510"/>
                <a:gd name="T18" fmla="*/ 2147483647 w 792"/>
                <a:gd name="T19" fmla="*/ 2147483647 h 510"/>
                <a:gd name="T20" fmla="*/ 2147483647 w 792"/>
                <a:gd name="T21" fmla="*/ 2147483647 h 510"/>
                <a:gd name="T22" fmla="*/ 2147483647 w 792"/>
                <a:gd name="T23" fmla="*/ 2147483647 h 510"/>
                <a:gd name="T24" fmla="*/ 2147483647 w 792"/>
                <a:gd name="T25" fmla="*/ 2147483647 h 510"/>
                <a:gd name="T26" fmla="*/ 2147483647 w 792"/>
                <a:gd name="T27" fmla="*/ 2147483647 h 510"/>
                <a:gd name="T28" fmla="*/ 2147483647 w 792"/>
                <a:gd name="T29" fmla="*/ 2147483647 h 510"/>
                <a:gd name="T30" fmla="*/ 2147483647 w 792"/>
                <a:gd name="T31" fmla="*/ 2147483647 h 510"/>
                <a:gd name="T32" fmla="*/ 2147483647 w 792"/>
                <a:gd name="T33" fmla="*/ 2147483647 h 510"/>
                <a:gd name="T34" fmla="*/ 2147483647 w 792"/>
                <a:gd name="T35" fmla="*/ 2147483647 h 510"/>
                <a:gd name="T36" fmla="*/ 2147483647 w 792"/>
                <a:gd name="T37" fmla="*/ 2147483647 h 510"/>
                <a:gd name="T38" fmla="*/ 2147483647 w 792"/>
                <a:gd name="T39" fmla="*/ 2147483647 h 510"/>
                <a:gd name="T40" fmla="*/ 2147483647 w 792"/>
                <a:gd name="T41" fmla="*/ 2147483647 h 510"/>
                <a:gd name="T42" fmla="*/ 2147483647 w 792"/>
                <a:gd name="T43" fmla="*/ 2147483647 h 510"/>
                <a:gd name="T44" fmla="*/ 2147483647 w 792"/>
                <a:gd name="T45" fmla="*/ 2147483647 h 510"/>
                <a:gd name="T46" fmla="*/ 2147483647 w 792"/>
                <a:gd name="T47" fmla="*/ 2147483647 h 510"/>
                <a:gd name="T48" fmla="*/ 2147483647 w 792"/>
                <a:gd name="T49" fmla="*/ 2147483647 h 510"/>
                <a:gd name="T50" fmla="*/ 2147483647 w 792"/>
                <a:gd name="T51" fmla="*/ 2147483647 h 510"/>
                <a:gd name="T52" fmla="*/ 2147483647 w 792"/>
                <a:gd name="T53" fmla="*/ 2147483647 h 510"/>
                <a:gd name="T54" fmla="*/ 2147483647 w 792"/>
                <a:gd name="T55" fmla="*/ 2147483647 h 510"/>
                <a:gd name="T56" fmla="*/ 2147483647 w 792"/>
                <a:gd name="T57" fmla="*/ 2147483647 h 510"/>
                <a:gd name="T58" fmla="*/ 2147483647 w 792"/>
                <a:gd name="T59" fmla="*/ 2147483647 h 510"/>
                <a:gd name="T60" fmla="*/ 2147483647 w 792"/>
                <a:gd name="T61" fmla="*/ 2147483647 h 510"/>
                <a:gd name="T62" fmla="*/ 2147483647 w 792"/>
                <a:gd name="T63" fmla="*/ 2147483647 h 510"/>
                <a:gd name="T64" fmla="*/ 2147483647 w 792"/>
                <a:gd name="T65" fmla="*/ 2147483647 h 510"/>
                <a:gd name="T66" fmla="*/ 2147483647 w 792"/>
                <a:gd name="T67" fmla="*/ 2147483647 h 510"/>
                <a:gd name="T68" fmla="*/ 2147483647 w 792"/>
                <a:gd name="T69" fmla="*/ 2147483647 h 510"/>
                <a:gd name="T70" fmla="*/ 2147483647 w 792"/>
                <a:gd name="T71" fmla="*/ 2147483647 h 510"/>
                <a:gd name="T72" fmla="*/ 2147483647 w 792"/>
                <a:gd name="T73" fmla="*/ 2147483647 h 510"/>
                <a:gd name="T74" fmla="*/ 2147483647 w 792"/>
                <a:gd name="T75" fmla="*/ 2147483647 h 510"/>
                <a:gd name="T76" fmla="*/ 2147483647 w 792"/>
                <a:gd name="T77" fmla="*/ 2147483647 h 510"/>
                <a:gd name="T78" fmla="*/ 2147483647 w 792"/>
                <a:gd name="T79" fmla="*/ 2147483647 h 510"/>
                <a:gd name="T80" fmla="*/ 2147483647 w 792"/>
                <a:gd name="T81" fmla="*/ 2147483647 h 510"/>
                <a:gd name="T82" fmla="*/ 2147483647 w 792"/>
                <a:gd name="T83" fmla="*/ 2147483647 h 510"/>
                <a:gd name="T84" fmla="*/ 2147483647 w 792"/>
                <a:gd name="T85" fmla="*/ 2147483647 h 510"/>
                <a:gd name="T86" fmla="*/ 2147483647 w 792"/>
                <a:gd name="T87" fmla="*/ 2147483647 h 510"/>
                <a:gd name="T88" fmla="*/ 2147483647 w 792"/>
                <a:gd name="T89" fmla="*/ 2147483647 h 510"/>
                <a:gd name="T90" fmla="*/ 2147483647 w 792"/>
                <a:gd name="T91" fmla="*/ 2147483647 h 510"/>
                <a:gd name="T92" fmla="*/ 2147483647 w 792"/>
                <a:gd name="T93" fmla="*/ 2147483647 h 510"/>
                <a:gd name="T94" fmla="*/ 2147483647 w 792"/>
                <a:gd name="T95" fmla="*/ 2147483647 h 510"/>
                <a:gd name="T96" fmla="*/ 2147483647 w 792"/>
                <a:gd name="T97" fmla="*/ 2147483647 h 510"/>
                <a:gd name="T98" fmla="*/ 2147483647 w 792"/>
                <a:gd name="T99" fmla="*/ 2147483647 h 510"/>
                <a:gd name="T100" fmla="*/ 2147483647 w 792"/>
                <a:gd name="T101" fmla="*/ 2147483647 h 510"/>
                <a:gd name="T102" fmla="*/ 2147483647 w 792"/>
                <a:gd name="T103" fmla="*/ 2147483647 h 510"/>
                <a:gd name="T104" fmla="*/ 2147483647 w 792"/>
                <a:gd name="T105" fmla="*/ 2147483647 h 510"/>
                <a:gd name="T106" fmla="*/ 2147483647 w 792"/>
                <a:gd name="T107" fmla="*/ 2147483647 h 510"/>
                <a:gd name="T108" fmla="*/ 2147483647 w 792"/>
                <a:gd name="T109" fmla="*/ 2147483647 h 510"/>
                <a:gd name="T110" fmla="*/ 2147483647 w 792"/>
                <a:gd name="T111" fmla="*/ 2147483647 h 510"/>
                <a:gd name="T112" fmla="*/ 2147483647 w 792"/>
                <a:gd name="T113" fmla="*/ 2147483647 h 510"/>
                <a:gd name="T114" fmla="*/ 2147483647 w 792"/>
                <a:gd name="T115" fmla="*/ 2147483647 h 510"/>
                <a:gd name="T116" fmla="*/ 2147483647 w 792"/>
                <a:gd name="T117" fmla="*/ 2147483647 h 510"/>
                <a:gd name="T118" fmla="*/ 2147483647 w 792"/>
                <a:gd name="T119" fmla="*/ 2147483647 h 5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92"/>
                <a:gd name="T181" fmla="*/ 0 h 510"/>
                <a:gd name="T182" fmla="*/ 792 w 792"/>
                <a:gd name="T183" fmla="*/ 510 h 5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92" h="510">
                  <a:moveTo>
                    <a:pt x="299" y="337"/>
                  </a:moveTo>
                  <a:lnTo>
                    <a:pt x="282" y="339"/>
                  </a:lnTo>
                  <a:lnTo>
                    <a:pt x="266" y="339"/>
                  </a:lnTo>
                  <a:lnTo>
                    <a:pt x="253" y="341"/>
                  </a:lnTo>
                  <a:lnTo>
                    <a:pt x="242" y="345"/>
                  </a:lnTo>
                  <a:lnTo>
                    <a:pt x="230" y="349"/>
                  </a:lnTo>
                  <a:lnTo>
                    <a:pt x="219" y="357"/>
                  </a:lnTo>
                  <a:lnTo>
                    <a:pt x="207" y="364"/>
                  </a:lnTo>
                  <a:lnTo>
                    <a:pt x="194" y="376"/>
                  </a:lnTo>
                  <a:lnTo>
                    <a:pt x="192" y="376"/>
                  </a:lnTo>
                  <a:lnTo>
                    <a:pt x="190" y="376"/>
                  </a:lnTo>
                  <a:lnTo>
                    <a:pt x="186" y="374"/>
                  </a:lnTo>
                  <a:lnTo>
                    <a:pt x="184" y="372"/>
                  </a:lnTo>
                  <a:lnTo>
                    <a:pt x="182" y="370"/>
                  </a:lnTo>
                  <a:lnTo>
                    <a:pt x="178" y="366"/>
                  </a:lnTo>
                  <a:lnTo>
                    <a:pt x="176" y="364"/>
                  </a:lnTo>
                  <a:lnTo>
                    <a:pt x="174" y="362"/>
                  </a:lnTo>
                  <a:lnTo>
                    <a:pt x="171" y="359"/>
                  </a:lnTo>
                  <a:lnTo>
                    <a:pt x="169" y="357"/>
                  </a:lnTo>
                  <a:lnTo>
                    <a:pt x="167" y="355"/>
                  </a:lnTo>
                  <a:lnTo>
                    <a:pt x="165" y="353"/>
                  </a:lnTo>
                  <a:lnTo>
                    <a:pt x="165" y="347"/>
                  </a:lnTo>
                  <a:lnTo>
                    <a:pt x="165" y="343"/>
                  </a:lnTo>
                  <a:lnTo>
                    <a:pt x="167" y="339"/>
                  </a:lnTo>
                  <a:lnTo>
                    <a:pt x="169" y="337"/>
                  </a:lnTo>
                  <a:lnTo>
                    <a:pt x="171" y="328"/>
                  </a:lnTo>
                  <a:lnTo>
                    <a:pt x="174" y="318"/>
                  </a:lnTo>
                  <a:lnTo>
                    <a:pt x="167" y="318"/>
                  </a:lnTo>
                  <a:lnTo>
                    <a:pt x="159" y="318"/>
                  </a:lnTo>
                  <a:lnTo>
                    <a:pt x="157" y="316"/>
                  </a:lnTo>
                  <a:lnTo>
                    <a:pt x="155" y="314"/>
                  </a:lnTo>
                  <a:lnTo>
                    <a:pt x="151" y="297"/>
                  </a:lnTo>
                  <a:lnTo>
                    <a:pt x="149" y="280"/>
                  </a:lnTo>
                  <a:lnTo>
                    <a:pt x="148" y="278"/>
                  </a:lnTo>
                  <a:lnTo>
                    <a:pt x="146" y="274"/>
                  </a:lnTo>
                  <a:lnTo>
                    <a:pt x="142" y="266"/>
                  </a:lnTo>
                  <a:lnTo>
                    <a:pt x="140" y="261"/>
                  </a:lnTo>
                  <a:lnTo>
                    <a:pt x="138" y="257"/>
                  </a:lnTo>
                  <a:lnTo>
                    <a:pt x="136" y="255"/>
                  </a:lnTo>
                  <a:lnTo>
                    <a:pt x="119" y="253"/>
                  </a:lnTo>
                  <a:lnTo>
                    <a:pt x="101" y="251"/>
                  </a:lnTo>
                  <a:lnTo>
                    <a:pt x="100" y="247"/>
                  </a:lnTo>
                  <a:lnTo>
                    <a:pt x="96" y="245"/>
                  </a:lnTo>
                  <a:lnTo>
                    <a:pt x="94" y="243"/>
                  </a:lnTo>
                  <a:lnTo>
                    <a:pt x="92" y="241"/>
                  </a:lnTo>
                  <a:lnTo>
                    <a:pt x="90" y="238"/>
                  </a:lnTo>
                  <a:lnTo>
                    <a:pt x="86" y="236"/>
                  </a:lnTo>
                  <a:lnTo>
                    <a:pt x="84" y="234"/>
                  </a:lnTo>
                  <a:lnTo>
                    <a:pt x="77" y="232"/>
                  </a:lnTo>
                  <a:lnTo>
                    <a:pt x="71" y="234"/>
                  </a:lnTo>
                  <a:lnTo>
                    <a:pt x="67" y="236"/>
                  </a:lnTo>
                  <a:lnTo>
                    <a:pt x="65" y="238"/>
                  </a:lnTo>
                  <a:lnTo>
                    <a:pt x="63" y="241"/>
                  </a:lnTo>
                  <a:lnTo>
                    <a:pt x="59" y="243"/>
                  </a:lnTo>
                  <a:lnTo>
                    <a:pt x="57" y="245"/>
                  </a:lnTo>
                  <a:lnTo>
                    <a:pt x="55" y="247"/>
                  </a:lnTo>
                  <a:lnTo>
                    <a:pt x="54" y="251"/>
                  </a:lnTo>
                  <a:lnTo>
                    <a:pt x="48" y="251"/>
                  </a:lnTo>
                  <a:lnTo>
                    <a:pt x="44" y="251"/>
                  </a:lnTo>
                  <a:lnTo>
                    <a:pt x="42" y="247"/>
                  </a:lnTo>
                  <a:lnTo>
                    <a:pt x="38" y="245"/>
                  </a:lnTo>
                  <a:lnTo>
                    <a:pt x="42" y="238"/>
                  </a:lnTo>
                  <a:lnTo>
                    <a:pt x="46" y="228"/>
                  </a:lnTo>
                  <a:lnTo>
                    <a:pt x="40" y="224"/>
                  </a:lnTo>
                  <a:lnTo>
                    <a:pt x="34" y="222"/>
                  </a:lnTo>
                  <a:lnTo>
                    <a:pt x="31" y="218"/>
                  </a:lnTo>
                  <a:lnTo>
                    <a:pt x="29" y="217"/>
                  </a:lnTo>
                  <a:lnTo>
                    <a:pt x="21" y="215"/>
                  </a:lnTo>
                  <a:lnTo>
                    <a:pt x="15" y="213"/>
                  </a:lnTo>
                  <a:lnTo>
                    <a:pt x="11" y="209"/>
                  </a:lnTo>
                  <a:lnTo>
                    <a:pt x="9" y="207"/>
                  </a:lnTo>
                  <a:lnTo>
                    <a:pt x="7" y="199"/>
                  </a:lnTo>
                  <a:lnTo>
                    <a:pt x="6" y="192"/>
                  </a:lnTo>
                  <a:lnTo>
                    <a:pt x="2" y="190"/>
                  </a:lnTo>
                  <a:lnTo>
                    <a:pt x="0" y="188"/>
                  </a:lnTo>
                  <a:lnTo>
                    <a:pt x="6" y="182"/>
                  </a:lnTo>
                  <a:lnTo>
                    <a:pt x="9" y="178"/>
                  </a:lnTo>
                  <a:lnTo>
                    <a:pt x="11" y="176"/>
                  </a:lnTo>
                  <a:lnTo>
                    <a:pt x="15" y="172"/>
                  </a:lnTo>
                  <a:lnTo>
                    <a:pt x="17" y="170"/>
                  </a:lnTo>
                  <a:lnTo>
                    <a:pt x="19" y="169"/>
                  </a:lnTo>
                  <a:lnTo>
                    <a:pt x="21" y="167"/>
                  </a:lnTo>
                  <a:lnTo>
                    <a:pt x="25" y="163"/>
                  </a:lnTo>
                  <a:lnTo>
                    <a:pt x="31" y="161"/>
                  </a:lnTo>
                  <a:lnTo>
                    <a:pt x="38" y="159"/>
                  </a:lnTo>
                  <a:lnTo>
                    <a:pt x="42" y="155"/>
                  </a:lnTo>
                  <a:lnTo>
                    <a:pt x="44" y="153"/>
                  </a:lnTo>
                  <a:lnTo>
                    <a:pt x="48" y="153"/>
                  </a:lnTo>
                  <a:lnTo>
                    <a:pt x="54" y="153"/>
                  </a:lnTo>
                  <a:lnTo>
                    <a:pt x="55" y="155"/>
                  </a:lnTo>
                  <a:lnTo>
                    <a:pt x="57" y="159"/>
                  </a:lnTo>
                  <a:lnTo>
                    <a:pt x="65" y="161"/>
                  </a:lnTo>
                  <a:lnTo>
                    <a:pt x="77" y="163"/>
                  </a:lnTo>
                  <a:lnTo>
                    <a:pt x="90" y="161"/>
                  </a:lnTo>
                  <a:lnTo>
                    <a:pt x="96" y="159"/>
                  </a:lnTo>
                  <a:lnTo>
                    <a:pt x="100" y="155"/>
                  </a:lnTo>
                  <a:lnTo>
                    <a:pt x="101" y="153"/>
                  </a:lnTo>
                  <a:lnTo>
                    <a:pt x="117" y="153"/>
                  </a:lnTo>
                  <a:lnTo>
                    <a:pt x="132" y="151"/>
                  </a:lnTo>
                  <a:lnTo>
                    <a:pt x="149" y="149"/>
                  </a:lnTo>
                  <a:lnTo>
                    <a:pt x="165" y="149"/>
                  </a:lnTo>
                  <a:lnTo>
                    <a:pt x="167" y="146"/>
                  </a:lnTo>
                  <a:lnTo>
                    <a:pt x="169" y="144"/>
                  </a:lnTo>
                  <a:lnTo>
                    <a:pt x="171" y="146"/>
                  </a:lnTo>
                  <a:lnTo>
                    <a:pt x="174" y="149"/>
                  </a:lnTo>
                  <a:lnTo>
                    <a:pt x="182" y="151"/>
                  </a:lnTo>
                  <a:lnTo>
                    <a:pt x="190" y="153"/>
                  </a:lnTo>
                  <a:lnTo>
                    <a:pt x="192" y="155"/>
                  </a:lnTo>
                  <a:lnTo>
                    <a:pt x="194" y="159"/>
                  </a:lnTo>
                  <a:lnTo>
                    <a:pt x="201" y="161"/>
                  </a:lnTo>
                  <a:lnTo>
                    <a:pt x="207" y="163"/>
                  </a:lnTo>
                  <a:lnTo>
                    <a:pt x="211" y="167"/>
                  </a:lnTo>
                  <a:lnTo>
                    <a:pt x="213" y="169"/>
                  </a:lnTo>
                  <a:lnTo>
                    <a:pt x="228" y="169"/>
                  </a:lnTo>
                  <a:lnTo>
                    <a:pt x="242" y="169"/>
                  </a:lnTo>
                  <a:lnTo>
                    <a:pt x="243" y="167"/>
                  </a:lnTo>
                  <a:lnTo>
                    <a:pt x="247" y="163"/>
                  </a:lnTo>
                  <a:lnTo>
                    <a:pt x="263" y="161"/>
                  </a:lnTo>
                  <a:lnTo>
                    <a:pt x="280" y="159"/>
                  </a:lnTo>
                  <a:lnTo>
                    <a:pt x="282" y="155"/>
                  </a:lnTo>
                  <a:lnTo>
                    <a:pt x="286" y="153"/>
                  </a:lnTo>
                  <a:lnTo>
                    <a:pt x="297" y="151"/>
                  </a:lnTo>
                  <a:lnTo>
                    <a:pt x="309" y="149"/>
                  </a:lnTo>
                  <a:lnTo>
                    <a:pt x="313" y="146"/>
                  </a:lnTo>
                  <a:lnTo>
                    <a:pt x="314" y="144"/>
                  </a:lnTo>
                  <a:lnTo>
                    <a:pt x="322" y="142"/>
                  </a:lnTo>
                  <a:lnTo>
                    <a:pt x="328" y="140"/>
                  </a:lnTo>
                  <a:lnTo>
                    <a:pt x="332" y="138"/>
                  </a:lnTo>
                  <a:lnTo>
                    <a:pt x="334" y="134"/>
                  </a:lnTo>
                  <a:lnTo>
                    <a:pt x="336" y="132"/>
                  </a:lnTo>
                  <a:lnTo>
                    <a:pt x="339" y="130"/>
                  </a:lnTo>
                  <a:lnTo>
                    <a:pt x="341" y="126"/>
                  </a:lnTo>
                  <a:lnTo>
                    <a:pt x="343" y="124"/>
                  </a:lnTo>
                  <a:lnTo>
                    <a:pt x="345" y="123"/>
                  </a:lnTo>
                  <a:lnTo>
                    <a:pt x="349" y="121"/>
                  </a:lnTo>
                  <a:lnTo>
                    <a:pt x="351" y="117"/>
                  </a:lnTo>
                  <a:lnTo>
                    <a:pt x="353" y="115"/>
                  </a:lnTo>
                  <a:lnTo>
                    <a:pt x="361" y="113"/>
                  </a:lnTo>
                  <a:lnTo>
                    <a:pt x="368" y="111"/>
                  </a:lnTo>
                  <a:lnTo>
                    <a:pt x="370" y="107"/>
                  </a:lnTo>
                  <a:lnTo>
                    <a:pt x="372" y="105"/>
                  </a:lnTo>
                  <a:lnTo>
                    <a:pt x="385" y="103"/>
                  </a:lnTo>
                  <a:lnTo>
                    <a:pt x="397" y="99"/>
                  </a:lnTo>
                  <a:lnTo>
                    <a:pt x="399" y="98"/>
                  </a:lnTo>
                  <a:lnTo>
                    <a:pt x="401" y="96"/>
                  </a:lnTo>
                  <a:lnTo>
                    <a:pt x="403" y="94"/>
                  </a:lnTo>
                  <a:lnTo>
                    <a:pt x="407" y="92"/>
                  </a:lnTo>
                  <a:lnTo>
                    <a:pt x="408" y="88"/>
                  </a:lnTo>
                  <a:lnTo>
                    <a:pt x="410" y="86"/>
                  </a:lnTo>
                  <a:lnTo>
                    <a:pt x="412" y="84"/>
                  </a:lnTo>
                  <a:lnTo>
                    <a:pt x="416" y="82"/>
                  </a:lnTo>
                  <a:lnTo>
                    <a:pt x="418" y="78"/>
                  </a:lnTo>
                  <a:lnTo>
                    <a:pt x="422" y="76"/>
                  </a:lnTo>
                  <a:lnTo>
                    <a:pt x="424" y="75"/>
                  </a:lnTo>
                  <a:lnTo>
                    <a:pt x="426" y="71"/>
                  </a:lnTo>
                  <a:lnTo>
                    <a:pt x="428" y="69"/>
                  </a:lnTo>
                  <a:lnTo>
                    <a:pt x="430" y="67"/>
                  </a:lnTo>
                  <a:lnTo>
                    <a:pt x="433" y="65"/>
                  </a:lnTo>
                  <a:lnTo>
                    <a:pt x="435" y="61"/>
                  </a:lnTo>
                  <a:lnTo>
                    <a:pt x="437" y="59"/>
                  </a:lnTo>
                  <a:lnTo>
                    <a:pt x="439" y="57"/>
                  </a:lnTo>
                  <a:lnTo>
                    <a:pt x="443" y="55"/>
                  </a:lnTo>
                  <a:lnTo>
                    <a:pt x="445" y="52"/>
                  </a:lnTo>
                  <a:lnTo>
                    <a:pt x="447" y="50"/>
                  </a:lnTo>
                  <a:lnTo>
                    <a:pt x="451" y="48"/>
                  </a:lnTo>
                  <a:lnTo>
                    <a:pt x="462" y="40"/>
                  </a:lnTo>
                  <a:lnTo>
                    <a:pt x="474" y="32"/>
                  </a:lnTo>
                  <a:lnTo>
                    <a:pt x="476" y="30"/>
                  </a:lnTo>
                  <a:lnTo>
                    <a:pt x="479" y="29"/>
                  </a:lnTo>
                  <a:lnTo>
                    <a:pt x="491" y="25"/>
                  </a:lnTo>
                  <a:lnTo>
                    <a:pt x="502" y="23"/>
                  </a:lnTo>
                  <a:lnTo>
                    <a:pt x="504" y="21"/>
                  </a:lnTo>
                  <a:lnTo>
                    <a:pt x="508" y="19"/>
                  </a:lnTo>
                  <a:lnTo>
                    <a:pt x="514" y="11"/>
                  </a:lnTo>
                  <a:lnTo>
                    <a:pt x="522" y="4"/>
                  </a:lnTo>
                  <a:lnTo>
                    <a:pt x="524" y="2"/>
                  </a:lnTo>
                  <a:lnTo>
                    <a:pt x="527" y="0"/>
                  </a:lnTo>
                  <a:lnTo>
                    <a:pt x="547" y="0"/>
                  </a:lnTo>
                  <a:lnTo>
                    <a:pt x="566" y="0"/>
                  </a:lnTo>
                  <a:lnTo>
                    <a:pt x="568" y="2"/>
                  </a:lnTo>
                  <a:lnTo>
                    <a:pt x="572" y="4"/>
                  </a:lnTo>
                  <a:lnTo>
                    <a:pt x="572" y="13"/>
                  </a:lnTo>
                  <a:lnTo>
                    <a:pt x="572" y="23"/>
                  </a:lnTo>
                  <a:lnTo>
                    <a:pt x="568" y="25"/>
                  </a:lnTo>
                  <a:lnTo>
                    <a:pt x="566" y="29"/>
                  </a:lnTo>
                  <a:lnTo>
                    <a:pt x="564" y="40"/>
                  </a:lnTo>
                  <a:lnTo>
                    <a:pt x="560" y="52"/>
                  </a:lnTo>
                  <a:lnTo>
                    <a:pt x="558" y="55"/>
                  </a:lnTo>
                  <a:lnTo>
                    <a:pt x="556" y="57"/>
                  </a:lnTo>
                  <a:lnTo>
                    <a:pt x="554" y="69"/>
                  </a:lnTo>
                  <a:lnTo>
                    <a:pt x="550" y="82"/>
                  </a:lnTo>
                  <a:lnTo>
                    <a:pt x="549" y="84"/>
                  </a:lnTo>
                  <a:lnTo>
                    <a:pt x="547" y="86"/>
                  </a:lnTo>
                  <a:lnTo>
                    <a:pt x="545" y="113"/>
                  </a:lnTo>
                  <a:lnTo>
                    <a:pt x="541" y="140"/>
                  </a:lnTo>
                  <a:lnTo>
                    <a:pt x="539" y="142"/>
                  </a:lnTo>
                  <a:lnTo>
                    <a:pt x="537" y="144"/>
                  </a:lnTo>
                  <a:lnTo>
                    <a:pt x="537" y="149"/>
                  </a:lnTo>
                  <a:lnTo>
                    <a:pt x="537" y="153"/>
                  </a:lnTo>
                  <a:lnTo>
                    <a:pt x="539" y="155"/>
                  </a:lnTo>
                  <a:lnTo>
                    <a:pt x="541" y="159"/>
                  </a:lnTo>
                  <a:lnTo>
                    <a:pt x="568" y="161"/>
                  </a:lnTo>
                  <a:lnTo>
                    <a:pt x="595" y="163"/>
                  </a:lnTo>
                  <a:lnTo>
                    <a:pt x="597" y="167"/>
                  </a:lnTo>
                  <a:lnTo>
                    <a:pt x="600" y="169"/>
                  </a:lnTo>
                  <a:lnTo>
                    <a:pt x="602" y="170"/>
                  </a:lnTo>
                  <a:lnTo>
                    <a:pt x="604" y="172"/>
                  </a:lnTo>
                  <a:lnTo>
                    <a:pt x="606" y="176"/>
                  </a:lnTo>
                  <a:lnTo>
                    <a:pt x="610" y="178"/>
                  </a:lnTo>
                  <a:lnTo>
                    <a:pt x="623" y="178"/>
                  </a:lnTo>
                  <a:lnTo>
                    <a:pt x="639" y="178"/>
                  </a:lnTo>
                  <a:lnTo>
                    <a:pt x="641" y="176"/>
                  </a:lnTo>
                  <a:lnTo>
                    <a:pt x="643" y="172"/>
                  </a:lnTo>
                  <a:lnTo>
                    <a:pt x="644" y="170"/>
                  </a:lnTo>
                  <a:lnTo>
                    <a:pt x="648" y="169"/>
                  </a:lnTo>
                  <a:lnTo>
                    <a:pt x="650" y="167"/>
                  </a:lnTo>
                  <a:lnTo>
                    <a:pt x="652" y="163"/>
                  </a:lnTo>
                  <a:lnTo>
                    <a:pt x="660" y="161"/>
                  </a:lnTo>
                  <a:lnTo>
                    <a:pt x="667" y="159"/>
                  </a:lnTo>
                  <a:lnTo>
                    <a:pt x="669" y="155"/>
                  </a:lnTo>
                  <a:lnTo>
                    <a:pt x="671" y="153"/>
                  </a:lnTo>
                  <a:lnTo>
                    <a:pt x="673" y="147"/>
                  </a:lnTo>
                  <a:lnTo>
                    <a:pt x="677" y="140"/>
                  </a:lnTo>
                  <a:lnTo>
                    <a:pt x="679" y="138"/>
                  </a:lnTo>
                  <a:lnTo>
                    <a:pt x="681" y="134"/>
                  </a:lnTo>
                  <a:lnTo>
                    <a:pt x="685" y="126"/>
                  </a:lnTo>
                  <a:lnTo>
                    <a:pt x="687" y="121"/>
                  </a:lnTo>
                  <a:lnTo>
                    <a:pt x="689" y="117"/>
                  </a:lnTo>
                  <a:lnTo>
                    <a:pt x="692" y="115"/>
                  </a:lnTo>
                  <a:lnTo>
                    <a:pt x="694" y="113"/>
                  </a:lnTo>
                  <a:lnTo>
                    <a:pt x="696" y="111"/>
                  </a:lnTo>
                  <a:lnTo>
                    <a:pt x="698" y="107"/>
                  </a:lnTo>
                  <a:lnTo>
                    <a:pt x="700" y="105"/>
                  </a:lnTo>
                  <a:lnTo>
                    <a:pt x="704" y="103"/>
                  </a:lnTo>
                  <a:lnTo>
                    <a:pt x="706" y="99"/>
                  </a:lnTo>
                  <a:lnTo>
                    <a:pt x="708" y="98"/>
                  </a:lnTo>
                  <a:lnTo>
                    <a:pt x="712" y="96"/>
                  </a:lnTo>
                  <a:lnTo>
                    <a:pt x="714" y="94"/>
                  </a:lnTo>
                  <a:lnTo>
                    <a:pt x="715" y="92"/>
                  </a:lnTo>
                  <a:lnTo>
                    <a:pt x="717" y="88"/>
                  </a:lnTo>
                  <a:lnTo>
                    <a:pt x="721" y="86"/>
                  </a:lnTo>
                  <a:lnTo>
                    <a:pt x="727" y="84"/>
                  </a:lnTo>
                  <a:lnTo>
                    <a:pt x="735" y="82"/>
                  </a:lnTo>
                  <a:lnTo>
                    <a:pt x="737" y="78"/>
                  </a:lnTo>
                  <a:lnTo>
                    <a:pt x="740" y="76"/>
                  </a:lnTo>
                  <a:lnTo>
                    <a:pt x="744" y="76"/>
                  </a:lnTo>
                  <a:lnTo>
                    <a:pt x="750" y="76"/>
                  </a:lnTo>
                  <a:lnTo>
                    <a:pt x="752" y="78"/>
                  </a:lnTo>
                  <a:lnTo>
                    <a:pt x="754" y="82"/>
                  </a:lnTo>
                  <a:lnTo>
                    <a:pt x="756" y="84"/>
                  </a:lnTo>
                  <a:lnTo>
                    <a:pt x="760" y="86"/>
                  </a:lnTo>
                  <a:lnTo>
                    <a:pt x="762" y="88"/>
                  </a:lnTo>
                  <a:lnTo>
                    <a:pt x="763" y="92"/>
                  </a:lnTo>
                  <a:lnTo>
                    <a:pt x="767" y="98"/>
                  </a:lnTo>
                  <a:lnTo>
                    <a:pt x="769" y="105"/>
                  </a:lnTo>
                  <a:lnTo>
                    <a:pt x="771" y="107"/>
                  </a:lnTo>
                  <a:lnTo>
                    <a:pt x="773" y="111"/>
                  </a:lnTo>
                  <a:lnTo>
                    <a:pt x="773" y="130"/>
                  </a:lnTo>
                  <a:lnTo>
                    <a:pt x="773" y="149"/>
                  </a:lnTo>
                  <a:lnTo>
                    <a:pt x="771" y="151"/>
                  </a:lnTo>
                  <a:lnTo>
                    <a:pt x="769" y="153"/>
                  </a:lnTo>
                  <a:lnTo>
                    <a:pt x="742" y="153"/>
                  </a:lnTo>
                  <a:lnTo>
                    <a:pt x="715" y="153"/>
                  </a:lnTo>
                  <a:lnTo>
                    <a:pt x="717" y="169"/>
                  </a:lnTo>
                  <a:lnTo>
                    <a:pt x="721" y="182"/>
                  </a:lnTo>
                  <a:lnTo>
                    <a:pt x="723" y="186"/>
                  </a:lnTo>
                  <a:lnTo>
                    <a:pt x="725" y="188"/>
                  </a:lnTo>
                  <a:lnTo>
                    <a:pt x="727" y="190"/>
                  </a:lnTo>
                  <a:lnTo>
                    <a:pt x="731" y="192"/>
                  </a:lnTo>
                  <a:lnTo>
                    <a:pt x="733" y="195"/>
                  </a:lnTo>
                  <a:lnTo>
                    <a:pt x="735" y="197"/>
                  </a:lnTo>
                  <a:lnTo>
                    <a:pt x="733" y="199"/>
                  </a:lnTo>
                  <a:lnTo>
                    <a:pt x="731" y="203"/>
                  </a:lnTo>
                  <a:lnTo>
                    <a:pt x="727" y="215"/>
                  </a:lnTo>
                  <a:lnTo>
                    <a:pt x="725" y="226"/>
                  </a:lnTo>
                  <a:lnTo>
                    <a:pt x="723" y="228"/>
                  </a:lnTo>
                  <a:lnTo>
                    <a:pt x="721" y="232"/>
                  </a:lnTo>
                  <a:lnTo>
                    <a:pt x="717" y="243"/>
                  </a:lnTo>
                  <a:lnTo>
                    <a:pt x="715" y="255"/>
                  </a:lnTo>
                  <a:lnTo>
                    <a:pt x="714" y="257"/>
                  </a:lnTo>
                  <a:lnTo>
                    <a:pt x="712" y="261"/>
                  </a:lnTo>
                  <a:lnTo>
                    <a:pt x="708" y="266"/>
                  </a:lnTo>
                  <a:lnTo>
                    <a:pt x="706" y="274"/>
                  </a:lnTo>
                  <a:lnTo>
                    <a:pt x="704" y="278"/>
                  </a:lnTo>
                  <a:lnTo>
                    <a:pt x="700" y="280"/>
                  </a:lnTo>
                  <a:lnTo>
                    <a:pt x="698" y="282"/>
                  </a:lnTo>
                  <a:lnTo>
                    <a:pt x="696" y="284"/>
                  </a:lnTo>
                  <a:lnTo>
                    <a:pt x="694" y="288"/>
                  </a:lnTo>
                  <a:lnTo>
                    <a:pt x="692" y="289"/>
                  </a:lnTo>
                  <a:lnTo>
                    <a:pt x="692" y="293"/>
                  </a:lnTo>
                  <a:lnTo>
                    <a:pt x="692" y="299"/>
                  </a:lnTo>
                  <a:lnTo>
                    <a:pt x="694" y="301"/>
                  </a:lnTo>
                  <a:lnTo>
                    <a:pt x="696" y="303"/>
                  </a:lnTo>
                  <a:lnTo>
                    <a:pt x="698" y="324"/>
                  </a:lnTo>
                  <a:lnTo>
                    <a:pt x="698" y="345"/>
                  </a:lnTo>
                  <a:lnTo>
                    <a:pt x="700" y="366"/>
                  </a:lnTo>
                  <a:lnTo>
                    <a:pt x="700" y="385"/>
                  </a:lnTo>
                  <a:lnTo>
                    <a:pt x="704" y="387"/>
                  </a:lnTo>
                  <a:lnTo>
                    <a:pt x="706" y="391"/>
                  </a:lnTo>
                  <a:lnTo>
                    <a:pt x="714" y="393"/>
                  </a:lnTo>
                  <a:lnTo>
                    <a:pt x="721" y="395"/>
                  </a:lnTo>
                  <a:lnTo>
                    <a:pt x="723" y="399"/>
                  </a:lnTo>
                  <a:lnTo>
                    <a:pt x="725" y="401"/>
                  </a:lnTo>
                  <a:lnTo>
                    <a:pt x="737" y="403"/>
                  </a:lnTo>
                  <a:lnTo>
                    <a:pt x="750" y="405"/>
                  </a:lnTo>
                  <a:lnTo>
                    <a:pt x="752" y="408"/>
                  </a:lnTo>
                  <a:lnTo>
                    <a:pt x="754" y="410"/>
                  </a:lnTo>
                  <a:lnTo>
                    <a:pt x="756" y="412"/>
                  </a:lnTo>
                  <a:lnTo>
                    <a:pt x="760" y="414"/>
                  </a:lnTo>
                  <a:lnTo>
                    <a:pt x="762" y="418"/>
                  </a:lnTo>
                  <a:lnTo>
                    <a:pt x="763" y="420"/>
                  </a:lnTo>
                  <a:lnTo>
                    <a:pt x="767" y="422"/>
                  </a:lnTo>
                  <a:lnTo>
                    <a:pt x="769" y="424"/>
                  </a:lnTo>
                  <a:lnTo>
                    <a:pt x="771" y="428"/>
                  </a:lnTo>
                  <a:lnTo>
                    <a:pt x="773" y="430"/>
                  </a:lnTo>
                  <a:lnTo>
                    <a:pt x="777" y="431"/>
                  </a:lnTo>
                  <a:lnTo>
                    <a:pt x="779" y="435"/>
                  </a:lnTo>
                  <a:lnTo>
                    <a:pt x="781" y="437"/>
                  </a:lnTo>
                  <a:lnTo>
                    <a:pt x="783" y="439"/>
                  </a:lnTo>
                  <a:lnTo>
                    <a:pt x="786" y="447"/>
                  </a:lnTo>
                  <a:lnTo>
                    <a:pt x="788" y="453"/>
                  </a:lnTo>
                  <a:lnTo>
                    <a:pt x="790" y="456"/>
                  </a:lnTo>
                  <a:lnTo>
                    <a:pt x="792" y="458"/>
                  </a:lnTo>
                  <a:lnTo>
                    <a:pt x="792" y="479"/>
                  </a:lnTo>
                  <a:lnTo>
                    <a:pt x="792" y="502"/>
                  </a:lnTo>
                  <a:lnTo>
                    <a:pt x="788" y="502"/>
                  </a:lnTo>
                  <a:lnTo>
                    <a:pt x="783" y="502"/>
                  </a:lnTo>
                  <a:lnTo>
                    <a:pt x="775" y="497"/>
                  </a:lnTo>
                  <a:lnTo>
                    <a:pt x="756" y="493"/>
                  </a:lnTo>
                  <a:lnTo>
                    <a:pt x="737" y="491"/>
                  </a:lnTo>
                  <a:lnTo>
                    <a:pt x="725" y="493"/>
                  </a:lnTo>
                  <a:lnTo>
                    <a:pt x="719" y="493"/>
                  </a:lnTo>
                  <a:lnTo>
                    <a:pt x="715" y="493"/>
                  </a:lnTo>
                  <a:lnTo>
                    <a:pt x="683" y="502"/>
                  </a:lnTo>
                  <a:lnTo>
                    <a:pt x="652" y="508"/>
                  </a:lnTo>
                  <a:lnTo>
                    <a:pt x="637" y="510"/>
                  </a:lnTo>
                  <a:lnTo>
                    <a:pt x="621" y="510"/>
                  </a:lnTo>
                  <a:lnTo>
                    <a:pt x="606" y="508"/>
                  </a:lnTo>
                  <a:lnTo>
                    <a:pt x="589" y="502"/>
                  </a:lnTo>
                  <a:lnTo>
                    <a:pt x="589" y="493"/>
                  </a:lnTo>
                  <a:lnTo>
                    <a:pt x="589" y="483"/>
                  </a:lnTo>
                  <a:lnTo>
                    <a:pt x="581" y="483"/>
                  </a:lnTo>
                  <a:lnTo>
                    <a:pt x="572" y="483"/>
                  </a:lnTo>
                  <a:lnTo>
                    <a:pt x="572" y="474"/>
                  </a:lnTo>
                  <a:lnTo>
                    <a:pt x="572" y="464"/>
                  </a:lnTo>
                  <a:lnTo>
                    <a:pt x="560" y="464"/>
                  </a:lnTo>
                  <a:lnTo>
                    <a:pt x="550" y="464"/>
                  </a:lnTo>
                  <a:lnTo>
                    <a:pt x="550" y="454"/>
                  </a:lnTo>
                  <a:lnTo>
                    <a:pt x="550" y="445"/>
                  </a:lnTo>
                  <a:lnTo>
                    <a:pt x="541" y="445"/>
                  </a:lnTo>
                  <a:lnTo>
                    <a:pt x="531" y="445"/>
                  </a:lnTo>
                  <a:lnTo>
                    <a:pt x="531" y="433"/>
                  </a:lnTo>
                  <a:lnTo>
                    <a:pt x="531" y="424"/>
                  </a:lnTo>
                  <a:lnTo>
                    <a:pt x="476" y="382"/>
                  </a:lnTo>
                  <a:lnTo>
                    <a:pt x="426" y="345"/>
                  </a:lnTo>
                  <a:lnTo>
                    <a:pt x="414" y="337"/>
                  </a:lnTo>
                  <a:lnTo>
                    <a:pt x="401" y="332"/>
                  </a:lnTo>
                  <a:lnTo>
                    <a:pt x="387" y="328"/>
                  </a:lnTo>
                  <a:lnTo>
                    <a:pt x="372" y="326"/>
                  </a:lnTo>
                  <a:lnTo>
                    <a:pt x="357" y="326"/>
                  </a:lnTo>
                  <a:lnTo>
                    <a:pt x="339" y="328"/>
                  </a:lnTo>
                  <a:lnTo>
                    <a:pt x="320" y="332"/>
                  </a:lnTo>
                  <a:lnTo>
                    <a:pt x="299" y="337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5" name="Freeform 96">
              <a:extLst>
                <a:ext uri="{FF2B5EF4-FFF2-40B4-BE49-F238E27FC236}">
                  <a16:creationId xmlns:a16="http://schemas.microsoft.com/office/drawing/2014/main" xmlns="" id="{6557E532-9613-CD47-9A34-3041935993E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5400" y="3133541"/>
              <a:ext cx="1228725" cy="2027237"/>
            </a:xfrm>
            <a:custGeom>
              <a:avLst/>
              <a:gdLst>
                <a:gd name="T0" fmla="*/ 2147483647 w 792"/>
                <a:gd name="T1" fmla="*/ 2147483647 h 1355"/>
                <a:gd name="T2" fmla="*/ 2147483647 w 792"/>
                <a:gd name="T3" fmla="*/ 2147483647 h 1355"/>
                <a:gd name="T4" fmla="*/ 2147483647 w 792"/>
                <a:gd name="T5" fmla="*/ 2147483647 h 1355"/>
                <a:gd name="T6" fmla="*/ 2147483647 w 792"/>
                <a:gd name="T7" fmla="*/ 2147483647 h 1355"/>
                <a:gd name="T8" fmla="*/ 2147483647 w 792"/>
                <a:gd name="T9" fmla="*/ 2147483647 h 1355"/>
                <a:gd name="T10" fmla="*/ 2147483647 w 792"/>
                <a:gd name="T11" fmla="*/ 2147483647 h 1355"/>
                <a:gd name="T12" fmla="*/ 2147483647 w 792"/>
                <a:gd name="T13" fmla="*/ 2147483647 h 1355"/>
                <a:gd name="T14" fmla="*/ 2147483647 w 792"/>
                <a:gd name="T15" fmla="*/ 2147483647 h 1355"/>
                <a:gd name="T16" fmla="*/ 2147483647 w 792"/>
                <a:gd name="T17" fmla="*/ 2147483647 h 1355"/>
                <a:gd name="T18" fmla="*/ 2147483647 w 792"/>
                <a:gd name="T19" fmla="*/ 2147483647 h 1355"/>
                <a:gd name="T20" fmla="*/ 2147483647 w 792"/>
                <a:gd name="T21" fmla="*/ 2147483647 h 1355"/>
                <a:gd name="T22" fmla="*/ 2147483647 w 792"/>
                <a:gd name="T23" fmla="*/ 2147483647 h 1355"/>
                <a:gd name="T24" fmla="*/ 2147483647 w 792"/>
                <a:gd name="T25" fmla="*/ 2147483647 h 1355"/>
                <a:gd name="T26" fmla="*/ 2147483647 w 792"/>
                <a:gd name="T27" fmla="*/ 2147483647 h 1355"/>
                <a:gd name="T28" fmla="*/ 2147483647 w 792"/>
                <a:gd name="T29" fmla="*/ 2147483647 h 1355"/>
                <a:gd name="T30" fmla="*/ 2147483647 w 792"/>
                <a:gd name="T31" fmla="*/ 2147483647 h 1355"/>
                <a:gd name="T32" fmla="*/ 2147483647 w 792"/>
                <a:gd name="T33" fmla="*/ 2147483647 h 1355"/>
                <a:gd name="T34" fmla="*/ 2147483647 w 792"/>
                <a:gd name="T35" fmla="*/ 2147483647 h 1355"/>
                <a:gd name="T36" fmla="*/ 2147483647 w 792"/>
                <a:gd name="T37" fmla="*/ 2147483647 h 1355"/>
                <a:gd name="T38" fmla="*/ 2147483647 w 792"/>
                <a:gd name="T39" fmla="*/ 2147483647 h 1355"/>
                <a:gd name="T40" fmla="*/ 0 w 792"/>
                <a:gd name="T41" fmla="*/ 2147483647 h 1355"/>
                <a:gd name="T42" fmla="*/ 0 w 792"/>
                <a:gd name="T43" fmla="*/ 2147483647 h 1355"/>
                <a:gd name="T44" fmla="*/ 2147483647 w 792"/>
                <a:gd name="T45" fmla="*/ 2147483647 h 1355"/>
                <a:gd name="T46" fmla="*/ 2147483647 w 792"/>
                <a:gd name="T47" fmla="*/ 2147483647 h 1355"/>
                <a:gd name="T48" fmla="*/ 2147483647 w 792"/>
                <a:gd name="T49" fmla="*/ 2147483647 h 1355"/>
                <a:gd name="T50" fmla="*/ 2147483647 w 792"/>
                <a:gd name="T51" fmla="*/ 2147483647 h 1355"/>
                <a:gd name="T52" fmla="*/ 2147483647 w 792"/>
                <a:gd name="T53" fmla="*/ 2147483647 h 1355"/>
                <a:gd name="T54" fmla="*/ 2147483647 w 792"/>
                <a:gd name="T55" fmla="*/ 2147483647 h 1355"/>
                <a:gd name="T56" fmla="*/ 2147483647 w 792"/>
                <a:gd name="T57" fmla="*/ 2147483647 h 1355"/>
                <a:gd name="T58" fmla="*/ 2147483647 w 792"/>
                <a:gd name="T59" fmla="*/ 2147483647 h 1355"/>
                <a:gd name="T60" fmla="*/ 2147483647 w 792"/>
                <a:gd name="T61" fmla="*/ 2147483647 h 1355"/>
                <a:gd name="T62" fmla="*/ 2147483647 w 792"/>
                <a:gd name="T63" fmla="*/ 2147483647 h 1355"/>
                <a:gd name="T64" fmla="*/ 2147483647 w 792"/>
                <a:gd name="T65" fmla="*/ 2147483647 h 1355"/>
                <a:gd name="T66" fmla="*/ 2147483647 w 792"/>
                <a:gd name="T67" fmla="*/ 2147483647 h 1355"/>
                <a:gd name="T68" fmla="*/ 2147483647 w 792"/>
                <a:gd name="T69" fmla="*/ 2147483647 h 1355"/>
                <a:gd name="T70" fmla="*/ 2147483647 w 792"/>
                <a:gd name="T71" fmla="*/ 2147483647 h 1355"/>
                <a:gd name="T72" fmla="*/ 2147483647 w 792"/>
                <a:gd name="T73" fmla="*/ 2147483647 h 1355"/>
                <a:gd name="T74" fmla="*/ 2147483647 w 792"/>
                <a:gd name="T75" fmla="*/ 2147483647 h 1355"/>
                <a:gd name="T76" fmla="*/ 2147483647 w 792"/>
                <a:gd name="T77" fmla="*/ 2147483647 h 1355"/>
                <a:gd name="T78" fmla="*/ 2147483647 w 792"/>
                <a:gd name="T79" fmla="*/ 2147483647 h 1355"/>
                <a:gd name="T80" fmla="*/ 2147483647 w 792"/>
                <a:gd name="T81" fmla="*/ 2147483647 h 1355"/>
                <a:gd name="T82" fmla="*/ 2147483647 w 792"/>
                <a:gd name="T83" fmla="*/ 2147483647 h 1355"/>
                <a:gd name="T84" fmla="*/ 2147483647 w 792"/>
                <a:gd name="T85" fmla="*/ 2147483647 h 1355"/>
                <a:gd name="T86" fmla="*/ 2147483647 w 792"/>
                <a:gd name="T87" fmla="*/ 2147483647 h 1355"/>
                <a:gd name="T88" fmla="*/ 2147483647 w 792"/>
                <a:gd name="T89" fmla="*/ 2147483647 h 1355"/>
                <a:gd name="T90" fmla="*/ 2147483647 w 792"/>
                <a:gd name="T91" fmla="*/ 2147483647 h 1355"/>
                <a:gd name="T92" fmla="*/ 2147483647 w 792"/>
                <a:gd name="T93" fmla="*/ 2147483647 h 1355"/>
                <a:gd name="T94" fmla="*/ 2147483647 w 792"/>
                <a:gd name="T95" fmla="*/ 2147483647 h 1355"/>
                <a:gd name="T96" fmla="*/ 2147483647 w 792"/>
                <a:gd name="T97" fmla="*/ 2147483647 h 1355"/>
                <a:gd name="T98" fmla="*/ 2147483647 w 792"/>
                <a:gd name="T99" fmla="*/ 2147483647 h 1355"/>
                <a:gd name="T100" fmla="*/ 2147483647 w 792"/>
                <a:gd name="T101" fmla="*/ 2147483647 h 1355"/>
                <a:gd name="T102" fmla="*/ 2147483647 w 792"/>
                <a:gd name="T103" fmla="*/ 2147483647 h 1355"/>
                <a:gd name="T104" fmla="*/ 2147483647 w 792"/>
                <a:gd name="T105" fmla="*/ 2147483647 h 1355"/>
                <a:gd name="T106" fmla="*/ 2147483647 w 792"/>
                <a:gd name="T107" fmla="*/ 2147483647 h 1355"/>
                <a:gd name="T108" fmla="*/ 2147483647 w 792"/>
                <a:gd name="T109" fmla="*/ 2147483647 h 1355"/>
                <a:gd name="T110" fmla="*/ 2147483647 w 792"/>
                <a:gd name="T111" fmla="*/ 2147483647 h 1355"/>
                <a:gd name="T112" fmla="*/ 2147483647 w 792"/>
                <a:gd name="T113" fmla="*/ 2147483647 h 1355"/>
                <a:gd name="T114" fmla="*/ 2147483647 w 792"/>
                <a:gd name="T115" fmla="*/ 2147483647 h 1355"/>
                <a:gd name="T116" fmla="*/ 2147483647 w 792"/>
                <a:gd name="T117" fmla="*/ 2147483647 h 135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92"/>
                <a:gd name="T178" fmla="*/ 0 h 1355"/>
                <a:gd name="T179" fmla="*/ 792 w 792"/>
                <a:gd name="T180" fmla="*/ 1355 h 135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92" h="1355">
                  <a:moveTo>
                    <a:pt x="608" y="1259"/>
                  </a:moveTo>
                  <a:lnTo>
                    <a:pt x="612" y="1255"/>
                  </a:lnTo>
                  <a:lnTo>
                    <a:pt x="615" y="1251"/>
                  </a:lnTo>
                  <a:lnTo>
                    <a:pt x="606" y="1240"/>
                  </a:lnTo>
                  <a:lnTo>
                    <a:pt x="598" y="1228"/>
                  </a:lnTo>
                  <a:lnTo>
                    <a:pt x="598" y="1224"/>
                  </a:lnTo>
                  <a:lnTo>
                    <a:pt x="598" y="1219"/>
                  </a:lnTo>
                  <a:lnTo>
                    <a:pt x="594" y="1215"/>
                  </a:lnTo>
                  <a:lnTo>
                    <a:pt x="589" y="1209"/>
                  </a:lnTo>
                  <a:lnTo>
                    <a:pt x="575" y="1209"/>
                  </a:lnTo>
                  <a:lnTo>
                    <a:pt x="560" y="1209"/>
                  </a:lnTo>
                  <a:lnTo>
                    <a:pt x="554" y="1215"/>
                  </a:lnTo>
                  <a:lnTo>
                    <a:pt x="550" y="1219"/>
                  </a:lnTo>
                  <a:lnTo>
                    <a:pt x="539" y="1222"/>
                  </a:lnTo>
                  <a:lnTo>
                    <a:pt x="533" y="1224"/>
                  </a:lnTo>
                  <a:lnTo>
                    <a:pt x="527" y="1230"/>
                  </a:lnTo>
                  <a:lnTo>
                    <a:pt x="521" y="1238"/>
                  </a:lnTo>
                  <a:lnTo>
                    <a:pt x="510" y="1238"/>
                  </a:lnTo>
                  <a:lnTo>
                    <a:pt x="496" y="1238"/>
                  </a:lnTo>
                  <a:lnTo>
                    <a:pt x="495" y="1236"/>
                  </a:lnTo>
                  <a:lnTo>
                    <a:pt x="493" y="1234"/>
                  </a:lnTo>
                  <a:lnTo>
                    <a:pt x="487" y="1232"/>
                  </a:lnTo>
                  <a:lnTo>
                    <a:pt x="473" y="1230"/>
                  </a:lnTo>
                  <a:lnTo>
                    <a:pt x="460" y="1232"/>
                  </a:lnTo>
                  <a:lnTo>
                    <a:pt x="454" y="1234"/>
                  </a:lnTo>
                  <a:lnTo>
                    <a:pt x="452" y="1236"/>
                  </a:lnTo>
                  <a:lnTo>
                    <a:pt x="449" y="1238"/>
                  </a:lnTo>
                  <a:lnTo>
                    <a:pt x="437" y="1242"/>
                  </a:lnTo>
                  <a:lnTo>
                    <a:pt x="425" y="1244"/>
                  </a:lnTo>
                  <a:lnTo>
                    <a:pt x="422" y="1245"/>
                  </a:lnTo>
                  <a:lnTo>
                    <a:pt x="420" y="1249"/>
                  </a:lnTo>
                  <a:lnTo>
                    <a:pt x="418" y="1249"/>
                  </a:lnTo>
                  <a:lnTo>
                    <a:pt x="416" y="1251"/>
                  </a:lnTo>
                  <a:lnTo>
                    <a:pt x="414" y="1257"/>
                  </a:lnTo>
                  <a:lnTo>
                    <a:pt x="414" y="1267"/>
                  </a:lnTo>
                  <a:lnTo>
                    <a:pt x="402" y="1267"/>
                  </a:lnTo>
                  <a:lnTo>
                    <a:pt x="391" y="1267"/>
                  </a:lnTo>
                  <a:lnTo>
                    <a:pt x="389" y="1265"/>
                  </a:lnTo>
                  <a:lnTo>
                    <a:pt x="385" y="1263"/>
                  </a:lnTo>
                  <a:lnTo>
                    <a:pt x="383" y="1255"/>
                  </a:lnTo>
                  <a:lnTo>
                    <a:pt x="381" y="1249"/>
                  </a:lnTo>
                  <a:lnTo>
                    <a:pt x="379" y="1245"/>
                  </a:lnTo>
                  <a:lnTo>
                    <a:pt x="376" y="1244"/>
                  </a:lnTo>
                  <a:lnTo>
                    <a:pt x="374" y="1242"/>
                  </a:lnTo>
                  <a:lnTo>
                    <a:pt x="372" y="1238"/>
                  </a:lnTo>
                  <a:lnTo>
                    <a:pt x="370" y="1236"/>
                  </a:lnTo>
                  <a:lnTo>
                    <a:pt x="366" y="1234"/>
                  </a:lnTo>
                  <a:lnTo>
                    <a:pt x="364" y="1232"/>
                  </a:lnTo>
                  <a:lnTo>
                    <a:pt x="362" y="1228"/>
                  </a:lnTo>
                  <a:lnTo>
                    <a:pt x="360" y="1226"/>
                  </a:lnTo>
                  <a:lnTo>
                    <a:pt x="356" y="1224"/>
                  </a:lnTo>
                  <a:lnTo>
                    <a:pt x="355" y="1222"/>
                  </a:lnTo>
                  <a:lnTo>
                    <a:pt x="353" y="1219"/>
                  </a:lnTo>
                  <a:lnTo>
                    <a:pt x="349" y="1217"/>
                  </a:lnTo>
                  <a:lnTo>
                    <a:pt x="347" y="1215"/>
                  </a:lnTo>
                  <a:lnTo>
                    <a:pt x="335" y="1213"/>
                  </a:lnTo>
                  <a:lnTo>
                    <a:pt x="324" y="1209"/>
                  </a:lnTo>
                  <a:lnTo>
                    <a:pt x="320" y="1207"/>
                  </a:lnTo>
                  <a:lnTo>
                    <a:pt x="318" y="1205"/>
                  </a:lnTo>
                  <a:lnTo>
                    <a:pt x="310" y="1201"/>
                  </a:lnTo>
                  <a:lnTo>
                    <a:pt x="305" y="1199"/>
                  </a:lnTo>
                  <a:lnTo>
                    <a:pt x="301" y="1197"/>
                  </a:lnTo>
                  <a:lnTo>
                    <a:pt x="299" y="1196"/>
                  </a:lnTo>
                  <a:lnTo>
                    <a:pt x="297" y="1174"/>
                  </a:lnTo>
                  <a:lnTo>
                    <a:pt x="297" y="1153"/>
                  </a:lnTo>
                  <a:lnTo>
                    <a:pt x="295" y="1134"/>
                  </a:lnTo>
                  <a:lnTo>
                    <a:pt x="293" y="1113"/>
                  </a:lnTo>
                  <a:lnTo>
                    <a:pt x="291" y="1111"/>
                  </a:lnTo>
                  <a:lnTo>
                    <a:pt x="289" y="1107"/>
                  </a:lnTo>
                  <a:lnTo>
                    <a:pt x="291" y="1105"/>
                  </a:lnTo>
                  <a:lnTo>
                    <a:pt x="293" y="1103"/>
                  </a:lnTo>
                  <a:lnTo>
                    <a:pt x="297" y="1102"/>
                  </a:lnTo>
                  <a:lnTo>
                    <a:pt x="299" y="1098"/>
                  </a:lnTo>
                  <a:lnTo>
                    <a:pt x="301" y="1096"/>
                  </a:lnTo>
                  <a:lnTo>
                    <a:pt x="305" y="1094"/>
                  </a:lnTo>
                  <a:lnTo>
                    <a:pt x="307" y="1086"/>
                  </a:lnTo>
                  <a:lnTo>
                    <a:pt x="308" y="1079"/>
                  </a:lnTo>
                  <a:lnTo>
                    <a:pt x="310" y="1077"/>
                  </a:lnTo>
                  <a:lnTo>
                    <a:pt x="314" y="1075"/>
                  </a:lnTo>
                  <a:lnTo>
                    <a:pt x="316" y="1061"/>
                  </a:lnTo>
                  <a:lnTo>
                    <a:pt x="318" y="1050"/>
                  </a:lnTo>
                  <a:lnTo>
                    <a:pt x="320" y="1048"/>
                  </a:lnTo>
                  <a:lnTo>
                    <a:pt x="324" y="1046"/>
                  </a:lnTo>
                  <a:lnTo>
                    <a:pt x="326" y="1032"/>
                  </a:lnTo>
                  <a:lnTo>
                    <a:pt x="328" y="1021"/>
                  </a:lnTo>
                  <a:lnTo>
                    <a:pt x="330" y="1019"/>
                  </a:lnTo>
                  <a:lnTo>
                    <a:pt x="333" y="1017"/>
                  </a:lnTo>
                  <a:lnTo>
                    <a:pt x="333" y="1011"/>
                  </a:lnTo>
                  <a:lnTo>
                    <a:pt x="333" y="1006"/>
                  </a:lnTo>
                  <a:lnTo>
                    <a:pt x="330" y="1004"/>
                  </a:lnTo>
                  <a:lnTo>
                    <a:pt x="328" y="1002"/>
                  </a:lnTo>
                  <a:lnTo>
                    <a:pt x="326" y="1000"/>
                  </a:lnTo>
                  <a:lnTo>
                    <a:pt x="324" y="996"/>
                  </a:lnTo>
                  <a:lnTo>
                    <a:pt x="320" y="994"/>
                  </a:lnTo>
                  <a:lnTo>
                    <a:pt x="318" y="992"/>
                  </a:lnTo>
                  <a:lnTo>
                    <a:pt x="318" y="984"/>
                  </a:lnTo>
                  <a:lnTo>
                    <a:pt x="318" y="977"/>
                  </a:lnTo>
                  <a:lnTo>
                    <a:pt x="347" y="977"/>
                  </a:lnTo>
                  <a:lnTo>
                    <a:pt x="360" y="977"/>
                  </a:lnTo>
                  <a:lnTo>
                    <a:pt x="364" y="977"/>
                  </a:lnTo>
                  <a:lnTo>
                    <a:pt x="366" y="975"/>
                  </a:lnTo>
                  <a:lnTo>
                    <a:pt x="366" y="973"/>
                  </a:lnTo>
                  <a:lnTo>
                    <a:pt x="370" y="969"/>
                  </a:lnTo>
                  <a:lnTo>
                    <a:pt x="372" y="967"/>
                  </a:lnTo>
                  <a:lnTo>
                    <a:pt x="372" y="944"/>
                  </a:lnTo>
                  <a:lnTo>
                    <a:pt x="372" y="919"/>
                  </a:lnTo>
                  <a:lnTo>
                    <a:pt x="370" y="917"/>
                  </a:lnTo>
                  <a:lnTo>
                    <a:pt x="366" y="913"/>
                  </a:lnTo>
                  <a:lnTo>
                    <a:pt x="364" y="908"/>
                  </a:lnTo>
                  <a:lnTo>
                    <a:pt x="362" y="900"/>
                  </a:lnTo>
                  <a:lnTo>
                    <a:pt x="360" y="898"/>
                  </a:lnTo>
                  <a:lnTo>
                    <a:pt x="356" y="896"/>
                  </a:lnTo>
                  <a:lnTo>
                    <a:pt x="355" y="892"/>
                  </a:lnTo>
                  <a:lnTo>
                    <a:pt x="353" y="890"/>
                  </a:lnTo>
                  <a:lnTo>
                    <a:pt x="349" y="889"/>
                  </a:lnTo>
                  <a:lnTo>
                    <a:pt x="347" y="885"/>
                  </a:lnTo>
                  <a:lnTo>
                    <a:pt x="337" y="885"/>
                  </a:lnTo>
                  <a:lnTo>
                    <a:pt x="328" y="885"/>
                  </a:lnTo>
                  <a:lnTo>
                    <a:pt x="326" y="889"/>
                  </a:lnTo>
                  <a:lnTo>
                    <a:pt x="324" y="890"/>
                  </a:lnTo>
                  <a:lnTo>
                    <a:pt x="316" y="892"/>
                  </a:lnTo>
                  <a:lnTo>
                    <a:pt x="308" y="896"/>
                  </a:lnTo>
                  <a:lnTo>
                    <a:pt x="307" y="898"/>
                  </a:lnTo>
                  <a:lnTo>
                    <a:pt x="305" y="900"/>
                  </a:lnTo>
                  <a:lnTo>
                    <a:pt x="301" y="902"/>
                  </a:lnTo>
                  <a:lnTo>
                    <a:pt x="299" y="906"/>
                  </a:lnTo>
                  <a:lnTo>
                    <a:pt x="297" y="908"/>
                  </a:lnTo>
                  <a:lnTo>
                    <a:pt x="293" y="910"/>
                  </a:lnTo>
                  <a:lnTo>
                    <a:pt x="291" y="912"/>
                  </a:lnTo>
                  <a:lnTo>
                    <a:pt x="289" y="913"/>
                  </a:lnTo>
                  <a:lnTo>
                    <a:pt x="287" y="917"/>
                  </a:lnTo>
                  <a:lnTo>
                    <a:pt x="285" y="919"/>
                  </a:lnTo>
                  <a:lnTo>
                    <a:pt x="282" y="921"/>
                  </a:lnTo>
                  <a:lnTo>
                    <a:pt x="280" y="925"/>
                  </a:lnTo>
                  <a:lnTo>
                    <a:pt x="278" y="927"/>
                  </a:lnTo>
                  <a:lnTo>
                    <a:pt x="274" y="929"/>
                  </a:lnTo>
                  <a:lnTo>
                    <a:pt x="272" y="937"/>
                  </a:lnTo>
                  <a:lnTo>
                    <a:pt x="270" y="944"/>
                  </a:lnTo>
                  <a:lnTo>
                    <a:pt x="266" y="946"/>
                  </a:lnTo>
                  <a:lnTo>
                    <a:pt x="264" y="948"/>
                  </a:lnTo>
                  <a:lnTo>
                    <a:pt x="262" y="956"/>
                  </a:lnTo>
                  <a:lnTo>
                    <a:pt x="260" y="963"/>
                  </a:lnTo>
                  <a:lnTo>
                    <a:pt x="259" y="965"/>
                  </a:lnTo>
                  <a:lnTo>
                    <a:pt x="255" y="967"/>
                  </a:lnTo>
                  <a:lnTo>
                    <a:pt x="247" y="969"/>
                  </a:lnTo>
                  <a:lnTo>
                    <a:pt x="241" y="973"/>
                  </a:lnTo>
                  <a:lnTo>
                    <a:pt x="237" y="975"/>
                  </a:lnTo>
                  <a:lnTo>
                    <a:pt x="236" y="977"/>
                  </a:lnTo>
                  <a:lnTo>
                    <a:pt x="234" y="981"/>
                  </a:lnTo>
                  <a:lnTo>
                    <a:pt x="232" y="983"/>
                  </a:lnTo>
                  <a:lnTo>
                    <a:pt x="228" y="984"/>
                  </a:lnTo>
                  <a:lnTo>
                    <a:pt x="226" y="986"/>
                  </a:lnTo>
                  <a:lnTo>
                    <a:pt x="216" y="986"/>
                  </a:lnTo>
                  <a:lnTo>
                    <a:pt x="207" y="986"/>
                  </a:lnTo>
                  <a:lnTo>
                    <a:pt x="205" y="984"/>
                  </a:lnTo>
                  <a:lnTo>
                    <a:pt x="203" y="983"/>
                  </a:lnTo>
                  <a:lnTo>
                    <a:pt x="199" y="981"/>
                  </a:lnTo>
                  <a:lnTo>
                    <a:pt x="197" y="977"/>
                  </a:lnTo>
                  <a:lnTo>
                    <a:pt x="195" y="975"/>
                  </a:lnTo>
                  <a:lnTo>
                    <a:pt x="193" y="973"/>
                  </a:lnTo>
                  <a:lnTo>
                    <a:pt x="166" y="969"/>
                  </a:lnTo>
                  <a:lnTo>
                    <a:pt x="140" y="967"/>
                  </a:lnTo>
                  <a:lnTo>
                    <a:pt x="138" y="965"/>
                  </a:lnTo>
                  <a:lnTo>
                    <a:pt x="134" y="963"/>
                  </a:lnTo>
                  <a:lnTo>
                    <a:pt x="138" y="960"/>
                  </a:lnTo>
                  <a:lnTo>
                    <a:pt x="140" y="958"/>
                  </a:lnTo>
                  <a:lnTo>
                    <a:pt x="142" y="931"/>
                  </a:lnTo>
                  <a:lnTo>
                    <a:pt x="143" y="906"/>
                  </a:lnTo>
                  <a:lnTo>
                    <a:pt x="147" y="902"/>
                  </a:lnTo>
                  <a:lnTo>
                    <a:pt x="149" y="900"/>
                  </a:lnTo>
                  <a:lnTo>
                    <a:pt x="151" y="889"/>
                  </a:lnTo>
                  <a:lnTo>
                    <a:pt x="153" y="875"/>
                  </a:lnTo>
                  <a:lnTo>
                    <a:pt x="157" y="873"/>
                  </a:lnTo>
                  <a:lnTo>
                    <a:pt x="159" y="871"/>
                  </a:lnTo>
                  <a:lnTo>
                    <a:pt x="161" y="860"/>
                  </a:lnTo>
                  <a:lnTo>
                    <a:pt x="165" y="846"/>
                  </a:lnTo>
                  <a:lnTo>
                    <a:pt x="166" y="844"/>
                  </a:lnTo>
                  <a:lnTo>
                    <a:pt x="168" y="843"/>
                  </a:lnTo>
                  <a:lnTo>
                    <a:pt x="170" y="837"/>
                  </a:lnTo>
                  <a:lnTo>
                    <a:pt x="172" y="827"/>
                  </a:lnTo>
                  <a:lnTo>
                    <a:pt x="170" y="818"/>
                  </a:lnTo>
                  <a:lnTo>
                    <a:pt x="168" y="814"/>
                  </a:lnTo>
                  <a:lnTo>
                    <a:pt x="166" y="810"/>
                  </a:lnTo>
                  <a:lnTo>
                    <a:pt x="165" y="808"/>
                  </a:lnTo>
                  <a:lnTo>
                    <a:pt x="157" y="806"/>
                  </a:lnTo>
                  <a:lnTo>
                    <a:pt x="140" y="804"/>
                  </a:lnTo>
                  <a:lnTo>
                    <a:pt x="122" y="806"/>
                  </a:lnTo>
                  <a:lnTo>
                    <a:pt x="115" y="808"/>
                  </a:lnTo>
                  <a:lnTo>
                    <a:pt x="113" y="810"/>
                  </a:lnTo>
                  <a:lnTo>
                    <a:pt x="111" y="814"/>
                  </a:lnTo>
                  <a:lnTo>
                    <a:pt x="105" y="814"/>
                  </a:lnTo>
                  <a:lnTo>
                    <a:pt x="101" y="814"/>
                  </a:lnTo>
                  <a:lnTo>
                    <a:pt x="97" y="810"/>
                  </a:lnTo>
                  <a:lnTo>
                    <a:pt x="95" y="808"/>
                  </a:lnTo>
                  <a:lnTo>
                    <a:pt x="94" y="806"/>
                  </a:lnTo>
                  <a:lnTo>
                    <a:pt x="92" y="804"/>
                  </a:lnTo>
                  <a:lnTo>
                    <a:pt x="88" y="800"/>
                  </a:lnTo>
                  <a:lnTo>
                    <a:pt x="86" y="798"/>
                  </a:lnTo>
                  <a:lnTo>
                    <a:pt x="84" y="796"/>
                  </a:lnTo>
                  <a:lnTo>
                    <a:pt x="82" y="795"/>
                  </a:lnTo>
                  <a:lnTo>
                    <a:pt x="78" y="791"/>
                  </a:lnTo>
                  <a:lnTo>
                    <a:pt x="76" y="789"/>
                  </a:lnTo>
                  <a:lnTo>
                    <a:pt x="74" y="768"/>
                  </a:lnTo>
                  <a:lnTo>
                    <a:pt x="72" y="747"/>
                  </a:lnTo>
                  <a:lnTo>
                    <a:pt x="69" y="743"/>
                  </a:lnTo>
                  <a:lnTo>
                    <a:pt x="67" y="741"/>
                  </a:lnTo>
                  <a:lnTo>
                    <a:pt x="59" y="737"/>
                  </a:lnTo>
                  <a:lnTo>
                    <a:pt x="53" y="735"/>
                  </a:lnTo>
                  <a:lnTo>
                    <a:pt x="49" y="733"/>
                  </a:lnTo>
                  <a:lnTo>
                    <a:pt x="48" y="731"/>
                  </a:lnTo>
                  <a:lnTo>
                    <a:pt x="40" y="727"/>
                  </a:lnTo>
                  <a:lnTo>
                    <a:pt x="32" y="725"/>
                  </a:lnTo>
                  <a:lnTo>
                    <a:pt x="30" y="724"/>
                  </a:lnTo>
                  <a:lnTo>
                    <a:pt x="28" y="722"/>
                  </a:lnTo>
                  <a:lnTo>
                    <a:pt x="28" y="712"/>
                  </a:lnTo>
                  <a:lnTo>
                    <a:pt x="28" y="702"/>
                  </a:lnTo>
                  <a:lnTo>
                    <a:pt x="30" y="699"/>
                  </a:lnTo>
                  <a:lnTo>
                    <a:pt x="32" y="697"/>
                  </a:lnTo>
                  <a:lnTo>
                    <a:pt x="36" y="697"/>
                  </a:lnTo>
                  <a:lnTo>
                    <a:pt x="38" y="693"/>
                  </a:lnTo>
                  <a:lnTo>
                    <a:pt x="38" y="685"/>
                  </a:lnTo>
                  <a:lnTo>
                    <a:pt x="38" y="668"/>
                  </a:lnTo>
                  <a:lnTo>
                    <a:pt x="30" y="668"/>
                  </a:lnTo>
                  <a:lnTo>
                    <a:pt x="23" y="668"/>
                  </a:lnTo>
                  <a:lnTo>
                    <a:pt x="21" y="666"/>
                  </a:lnTo>
                  <a:lnTo>
                    <a:pt x="19" y="664"/>
                  </a:lnTo>
                  <a:lnTo>
                    <a:pt x="11" y="660"/>
                  </a:lnTo>
                  <a:lnTo>
                    <a:pt x="3" y="658"/>
                  </a:lnTo>
                  <a:lnTo>
                    <a:pt x="1" y="656"/>
                  </a:lnTo>
                  <a:lnTo>
                    <a:pt x="0" y="653"/>
                  </a:lnTo>
                  <a:lnTo>
                    <a:pt x="0" y="649"/>
                  </a:lnTo>
                  <a:lnTo>
                    <a:pt x="0" y="643"/>
                  </a:lnTo>
                  <a:lnTo>
                    <a:pt x="1" y="641"/>
                  </a:lnTo>
                  <a:lnTo>
                    <a:pt x="3" y="639"/>
                  </a:lnTo>
                  <a:lnTo>
                    <a:pt x="3" y="624"/>
                  </a:lnTo>
                  <a:lnTo>
                    <a:pt x="3" y="610"/>
                  </a:lnTo>
                  <a:lnTo>
                    <a:pt x="3" y="595"/>
                  </a:lnTo>
                  <a:lnTo>
                    <a:pt x="3" y="582"/>
                  </a:lnTo>
                  <a:lnTo>
                    <a:pt x="1" y="578"/>
                  </a:lnTo>
                  <a:lnTo>
                    <a:pt x="0" y="576"/>
                  </a:lnTo>
                  <a:lnTo>
                    <a:pt x="0" y="557"/>
                  </a:lnTo>
                  <a:lnTo>
                    <a:pt x="0" y="537"/>
                  </a:lnTo>
                  <a:lnTo>
                    <a:pt x="1" y="536"/>
                  </a:lnTo>
                  <a:lnTo>
                    <a:pt x="3" y="532"/>
                  </a:lnTo>
                  <a:lnTo>
                    <a:pt x="11" y="530"/>
                  </a:lnTo>
                  <a:lnTo>
                    <a:pt x="19" y="528"/>
                  </a:lnTo>
                  <a:lnTo>
                    <a:pt x="21" y="526"/>
                  </a:lnTo>
                  <a:lnTo>
                    <a:pt x="23" y="522"/>
                  </a:lnTo>
                  <a:lnTo>
                    <a:pt x="26" y="520"/>
                  </a:lnTo>
                  <a:lnTo>
                    <a:pt x="28" y="518"/>
                  </a:lnTo>
                  <a:lnTo>
                    <a:pt x="30" y="516"/>
                  </a:lnTo>
                  <a:lnTo>
                    <a:pt x="32" y="514"/>
                  </a:lnTo>
                  <a:lnTo>
                    <a:pt x="36" y="511"/>
                  </a:lnTo>
                  <a:lnTo>
                    <a:pt x="38" y="509"/>
                  </a:lnTo>
                  <a:lnTo>
                    <a:pt x="40" y="507"/>
                  </a:lnTo>
                  <a:lnTo>
                    <a:pt x="44" y="503"/>
                  </a:lnTo>
                  <a:lnTo>
                    <a:pt x="49" y="501"/>
                  </a:lnTo>
                  <a:lnTo>
                    <a:pt x="57" y="499"/>
                  </a:lnTo>
                  <a:lnTo>
                    <a:pt x="59" y="495"/>
                  </a:lnTo>
                  <a:lnTo>
                    <a:pt x="61" y="493"/>
                  </a:lnTo>
                  <a:lnTo>
                    <a:pt x="65" y="476"/>
                  </a:lnTo>
                  <a:lnTo>
                    <a:pt x="67" y="461"/>
                  </a:lnTo>
                  <a:lnTo>
                    <a:pt x="69" y="457"/>
                  </a:lnTo>
                  <a:lnTo>
                    <a:pt x="72" y="455"/>
                  </a:lnTo>
                  <a:lnTo>
                    <a:pt x="74" y="453"/>
                  </a:lnTo>
                  <a:lnTo>
                    <a:pt x="76" y="449"/>
                  </a:lnTo>
                  <a:lnTo>
                    <a:pt x="78" y="447"/>
                  </a:lnTo>
                  <a:lnTo>
                    <a:pt x="82" y="445"/>
                  </a:lnTo>
                  <a:lnTo>
                    <a:pt x="94" y="443"/>
                  </a:lnTo>
                  <a:lnTo>
                    <a:pt x="105" y="441"/>
                  </a:lnTo>
                  <a:lnTo>
                    <a:pt x="107" y="438"/>
                  </a:lnTo>
                  <a:lnTo>
                    <a:pt x="111" y="436"/>
                  </a:lnTo>
                  <a:lnTo>
                    <a:pt x="113" y="434"/>
                  </a:lnTo>
                  <a:lnTo>
                    <a:pt x="115" y="432"/>
                  </a:lnTo>
                  <a:lnTo>
                    <a:pt x="117" y="428"/>
                  </a:lnTo>
                  <a:lnTo>
                    <a:pt x="120" y="426"/>
                  </a:lnTo>
                  <a:lnTo>
                    <a:pt x="122" y="405"/>
                  </a:lnTo>
                  <a:lnTo>
                    <a:pt x="124" y="382"/>
                  </a:lnTo>
                  <a:lnTo>
                    <a:pt x="128" y="380"/>
                  </a:lnTo>
                  <a:lnTo>
                    <a:pt x="130" y="378"/>
                  </a:lnTo>
                  <a:lnTo>
                    <a:pt x="132" y="353"/>
                  </a:lnTo>
                  <a:lnTo>
                    <a:pt x="134" y="330"/>
                  </a:lnTo>
                  <a:lnTo>
                    <a:pt x="126" y="330"/>
                  </a:lnTo>
                  <a:lnTo>
                    <a:pt x="120" y="330"/>
                  </a:lnTo>
                  <a:lnTo>
                    <a:pt x="117" y="326"/>
                  </a:lnTo>
                  <a:lnTo>
                    <a:pt x="115" y="324"/>
                  </a:lnTo>
                  <a:lnTo>
                    <a:pt x="113" y="323"/>
                  </a:lnTo>
                  <a:lnTo>
                    <a:pt x="111" y="321"/>
                  </a:lnTo>
                  <a:lnTo>
                    <a:pt x="107" y="317"/>
                  </a:lnTo>
                  <a:lnTo>
                    <a:pt x="105" y="315"/>
                  </a:lnTo>
                  <a:lnTo>
                    <a:pt x="103" y="313"/>
                  </a:lnTo>
                  <a:lnTo>
                    <a:pt x="101" y="311"/>
                  </a:lnTo>
                  <a:lnTo>
                    <a:pt x="97" y="307"/>
                  </a:lnTo>
                  <a:lnTo>
                    <a:pt x="95" y="305"/>
                  </a:lnTo>
                  <a:lnTo>
                    <a:pt x="94" y="303"/>
                  </a:lnTo>
                  <a:lnTo>
                    <a:pt x="92" y="299"/>
                  </a:lnTo>
                  <a:lnTo>
                    <a:pt x="88" y="298"/>
                  </a:lnTo>
                  <a:lnTo>
                    <a:pt x="86" y="296"/>
                  </a:lnTo>
                  <a:lnTo>
                    <a:pt x="84" y="284"/>
                  </a:lnTo>
                  <a:lnTo>
                    <a:pt x="82" y="271"/>
                  </a:lnTo>
                  <a:lnTo>
                    <a:pt x="78" y="269"/>
                  </a:lnTo>
                  <a:lnTo>
                    <a:pt x="76" y="267"/>
                  </a:lnTo>
                  <a:lnTo>
                    <a:pt x="76" y="252"/>
                  </a:lnTo>
                  <a:lnTo>
                    <a:pt x="76" y="238"/>
                  </a:lnTo>
                  <a:lnTo>
                    <a:pt x="78" y="234"/>
                  </a:lnTo>
                  <a:lnTo>
                    <a:pt x="82" y="232"/>
                  </a:lnTo>
                  <a:lnTo>
                    <a:pt x="82" y="219"/>
                  </a:lnTo>
                  <a:lnTo>
                    <a:pt x="82" y="204"/>
                  </a:lnTo>
                  <a:lnTo>
                    <a:pt x="82" y="188"/>
                  </a:lnTo>
                  <a:lnTo>
                    <a:pt x="82" y="175"/>
                  </a:lnTo>
                  <a:lnTo>
                    <a:pt x="78" y="173"/>
                  </a:lnTo>
                  <a:lnTo>
                    <a:pt x="76" y="171"/>
                  </a:lnTo>
                  <a:lnTo>
                    <a:pt x="74" y="158"/>
                  </a:lnTo>
                  <a:lnTo>
                    <a:pt x="72" y="146"/>
                  </a:lnTo>
                  <a:lnTo>
                    <a:pt x="69" y="144"/>
                  </a:lnTo>
                  <a:lnTo>
                    <a:pt x="67" y="140"/>
                  </a:lnTo>
                  <a:lnTo>
                    <a:pt x="67" y="127"/>
                  </a:lnTo>
                  <a:lnTo>
                    <a:pt x="67" y="111"/>
                  </a:lnTo>
                  <a:lnTo>
                    <a:pt x="69" y="110"/>
                  </a:lnTo>
                  <a:lnTo>
                    <a:pt x="72" y="108"/>
                  </a:lnTo>
                  <a:lnTo>
                    <a:pt x="92" y="106"/>
                  </a:lnTo>
                  <a:lnTo>
                    <a:pt x="113" y="104"/>
                  </a:lnTo>
                  <a:lnTo>
                    <a:pt x="134" y="104"/>
                  </a:lnTo>
                  <a:lnTo>
                    <a:pt x="153" y="102"/>
                  </a:lnTo>
                  <a:lnTo>
                    <a:pt x="157" y="100"/>
                  </a:lnTo>
                  <a:lnTo>
                    <a:pt x="159" y="98"/>
                  </a:lnTo>
                  <a:lnTo>
                    <a:pt x="161" y="90"/>
                  </a:lnTo>
                  <a:lnTo>
                    <a:pt x="165" y="83"/>
                  </a:lnTo>
                  <a:lnTo>
                    <a:pt x="166" y="81"/>
                  </a:lnTo>
                  <a:lnTo>
                    <a:pt x="168" y="79"/>
                  </a:lnTo>
                  <a:lnTo>
                    <a:pt x="176" y="75"/>
                  </a:lnTo>
                  <a:lnTo>
                    <a:pt x="182" y="73"/>
                  </a:lnTo>
                  <a:lnTo>
                    <a:pt x="186" y="71"/>
                  </a:lnTo>
                  <a:lnTo>
                    <a:pt x="188" y="67"/>
                  </a:lnTo>
                  <a:lnTo>
                    <a:pt x="205" y="67"/>
                  </a:lnTo>
                  <a:lnTo>
                    <a:pt x="222" y="67"/>
                  </a:lnTo>
                  <a:lnTo>
                    <a:pt x="218" y="56"/>
                  </a:lnTo>
                  <a:lnTo>
                    <a:pt x="214" y="44"/>
                  </a:lnTo>
                  <a:lnTo>
                    <a:pt x="211" y="37"/>
                  </a:lnTo>
                  <a:lnTo>
                    <a:pt x="209" y="27"/>
                  </a:lnTo>
                  <a:lnTo>
                    <a:pt x="216" y="25"/>
                  </a:lnTo>
                  <a:lnTo>
                    <a:pt x="222" y="25"/>
                  </a:lnTo>
                  <a:lnTo>
                    <a:pt x="224" y="23"/>
                  </a:lnTo>
                  <a:lnTo>
                    <a:pt x="226" y="19"/>
                  </a:lnTo>
                  <a:lnTo>
                    <a:pt x="228" y="17"/>
                  </a:lnTo>
                  <a:lnTo>
                    <a:pt x="232" y="16"/>
                  </a:lnTo>
                  <a:lnTo>
                    <a:pt x="234" y="12"/>
                  </a:lnTo>
                  <a:lnTo>
                    <a:pt x="236" y="10"/>
                  </a:lnTo>
                  <a:lnTo>
                    <a:pt x="237" y="8"/>
                  </a:lnTo>
                  <a:lnTo>
                    <a:pt x="241" y="6"/>
                  </a:lnTo>
                  <a:lnTo>
                    <a:pt x="243" y="2"/>
                  </a:lnTo>
                  <a:lnTo>
                    <a:pt x="245" y="0"/>
                  </a:lnTo>
                  <a:lnTo>
                    <a:pt x="249" y="2"/>
                  </a:lnTo>
                  <a:lnTo>
                    <a:pt x="251" y="6"/>
                  </a:lnTo>
                  <a:lnTo>
                    <a:pt x="268" y="8"/>
                  </a:lnTo>
                  <a:lnTo>
                    <a:pt x="285" y="10"/>
                  </a:lnTo>
                  <a:lnTo>
                    <a:pt x="287" y="12"/>
                  </a:lnTo>
                  <a:lnTo>
                    <a:pt x="289" y="16"/>
                  </a:lnTo>
                  <a:lnTo>
                    <a:pt x="291" y="17"/>
                  </a:lnTo>
                  <a:lnTo>
                    <a:pt x="293" y="19"/>
                  </a:lnTo>
                  <a:lnTo>
                    <a:pt x="297" y="23"/>
                  </a:lnTo>
                  <a:lnTo>
                    <a:pt x="299" y="25"/>
                  </a:lnTo>
                  <a:lnTo>
                    <a:pt x="301" y="27"/>
                  </a:lnTo>
                  <a:lnTo>
                    <a:pt x="305" y="29"/>
                  </a:lnTo>
                  <a:lnTo>
                    <a:pt x="307" y="31"/>
                  </a:lnTo>
                  <a:lnTo>
                    <a:pt x="308" y="35"/>
                  </a:lnTo>
                  <a:lnTo>
                    <a:pt x="310" y="42"/>
                  </a:lnTo>
                  <a:lnTo>
                    <a:pt x="314" y="50"/>
                  </a:lnTo>
                  <a:lnTo>
                    <a:pt x="316" y="52"/>
                  </a:lnTo>
                  <a:lnTo>
                    <a:pt x="318" y="54"/>
                  </a:lnTo>
                  <a:lnTo>
                    <a:pt x="318" y="63"/>
                  </a:lnTo>
                  <a:lnTo>
                    <a:pt x="318" y="73"/>
                  </a:lnTo>
                  <a:lnTo>
                    <a:pt x="316" y="75"/>
                  </a:lnTo>
                  <a:lnTo>
                    <a:pt x="314" y="79"/>
                  </a:lnTo>
                  <a:lnTo>
                    <a:pt x="314" y="88"/>
                  </a:lnTo>
                  <a:lnTo>
                    <a:pt x="314" y="98"/>
                  </a:lnTo>
                  <a:lnTo>
                    <a:pt x="316" y="100"/>
                  </a:lnTo>
                  <a:lnTo>
                    <a:pt x="318" y="102"/>
                  </a:lnTo>
                  <a:lnTo>
                    <a:pt x="339" y="104"/>
                  </a:lnTo>
                  <a:lnTo>
                    <a:pt x="362" y="108"/>
                  </a:lnTo>
                  <a:lnTo>
                    <a:pt x="364" y="110"/>
                  </a:lnTo>
                  <a:lnTo>
                    <a:pt x="366" y="111"/>
                  </a:lnTo>
                  <a:lnTo>
                    <a:pt x="381" y="113"/>
                  </a:lnTo>
                  <a:lnTo>
                    <a:pt x="397" y="117"/>
                  </a:lnTo>
                  <a:lnTo>
                    <a:pt x="391" y="131"/>
                  </a:lnTo>
                  <a:lnTo>
                    <a:pt x="385" y="146"/>
                  </a:lnTo>
                  <a:lnTo>
                    <a:pt x="368" y="156"/>
                  </a:lnTo>
                  <a:lnTo>
                    <a:pt x="351" y="165"/>
                  </a:lnTo>
                  <a:lnTo>
                    <a:pt x="335" y="177"/>
                  </a:lnTo>
                  <a:lnTo>
                    <a:pt x="324" y="188"/>
                  </a:lnTo>
                  <a:lnTo>
                    <a:pt x="312" y="200"/>
                  </a:lnTo>
                  <a:lnTo>
                    <a:pt x="303" y="213"/>
                  </a:lnTo>
                  <a:lnTo>
                    <a:pt x="295" y="227"/>
                  </a:lnTo>
                  <a:lnTo>
                    <a:pt x="287" y="242"/>
                  </a:lnTo>
                  <a:lnTo>
                    <a:pt x="284" y="257"/>
                  </a:lnTo>
                  <a:lnTo>
                    <a:pt x="280" y="273"/>
                  </a:lnTo>
                  <a:lnTo>
                    <a:pt x="278" y="290"/>
                  </a:lnTo>
                  <a:lnTo>
                    <a:pt x="276" y="307"/>
                  </a:lnTo>
                  <a:lnTo>
                    <a:pt x="276" y="324"/>
                  </a:lnTo>
                  <a:lnTo>
                    <a:pt x="278" y="344"/>
                  </a:lnTo>
                  <a:lnTo>
                    <a:pt x="280" y="363"/>
                  </a:lnTo>
                  <a:lnTo>
                    <a:pt x="284" y="382"/>
                  </a:lnTo>
                  <a:lnTo>
                    <a:pt x="278" y="478"/>
                  </a:lnTo>
                  <a:lnTo>
                    <a:pt x="272" y="555"/>
                  </a:lnTo>
                  <a:lnTo>
                    <a:pt x="266" y="614"/>
                  </a:lnTo>
                  <a:lnTo>
                    <a:pt x="262" y="658"/>
                  </a:lnTo>
                  <a:lnTo>
                    <a:pt x="259" y="693"/>
                  </a:lnTo>
                  <a:lnTo>
                    <a:pt x="257" y="720"/>
                  </a:lnTo>
                  <a:lnTo>
                    <a:pt x="257" y="743"/>
                  </a:lnTo>
                  <a:lnTo>
                    <a:pt x="255" y="764"/>
                  </a:lnTo>
                  <a:lnTo>
                    <a:pt x="262" y="764"/>
                  </a:lnTo>
                  <a:lnTo>
                    <a:pt x="270" y="764"/>
                  </a:lnTo>
                  <a:lnTo>
                    <a:pt x="274" y="764"/>
                  </a:lnTo>
                  <a:lnTo>
                    <a:pt x="280" y="764"/>
                  </a:lnTo>
                  <a:lnTo>
                    <a:pt x="280" y="773"/>
                  </a:lnTo>
                  <a:lnTo>
                    <a:pt x="280" y="785"/>
                  </a:lnTo>
                  <a:lnTo>
                    <a:pt x="295" y="785"/>
                  </a:lnTo>
                  <a:lnTo>
                    <a:pt x="308" y="785"/>
                  </a:lnTo>
                  <a:lnTo>
                    <a:pt x="308" y="779"/>
                  </a:lnTo>
                  <a:lnTo>
                    <a:pt x="308" y="775"/>
                  </a:lnTo>
                  <a:lnTo>
                    <a:pt x="312" y="775"/>
                  </a:lnTo>
                  <a:lnTo>
                    <a:pt x="318" y="775"/>
                  </a:lnTo>
                  <a:lnTo>
                    <a:pt x="322" y="770"/>
                  </a:lnTo>
                  <a:lnTo>
                    <a:pt x="328" y="764"/>
                  </a:lnTo>
                  <a:lnTo>
                    <a:pt x="333" y="764"/>
                  </a:lnTo>
                  <a:lnTo>
                    <a:pt x="337" y="764"/>
                  </a:lnTo>
                  <a:lnTo>
                    <a:pt x="343" y="764"/>
                  </a:lnTo>
                  <a:lnTo>
                    <a:pt x="347" y="764"/>
                  </a:lnTo>
                  <a:lnTo>
                    <a:pt x="347" y="760"/>
                  </a:lnTo>
                  <a:lnTo>
                    <a:pt x="347" y="754"/>
                  </a:lnTo>
                  <a:lnTo>
                    <a:pt x="356" y="754"/>
                  </a:lnTo>
                  <a:lnTo>
                    <a:pt x="366" y="754"/>
                  </a:lnTo>
                  <a:lnTo>
                    <a:pt x="372" y="760"/>
                  </a:lnTo>
                  <a:lnTo>
                    <a:pt x="376" y="764"/>
                  </a:lnTo>
                  <a:lnTo>
                    <a:pt x="381" y="773"/>
                  </a:lnTo>
                  <a:lnTo>
                    <a:pt x="385" y="785"/>
                  </a:lnTo>
                  <a:lnTo>
                    <a:pt x="387" y="795"/>
                  </a:lnTo>
                  <a:lnTo>
                    <a:pt x="387" y="800"/>
                  </a:lnTo>
                  <a:lnTo>
                    <a:pt x="391" y="802"/>
                  </a:lnTo>
                  <a:lnTo>
                    <a:pt x="397" y="804"/>
                  </a:lnTo>
                  <a:lnTo>
                    <a:pt x="397" y="795"/>
                  </a:lnTo>
                  <a:lnTo>
                    <a:pt x="397" y="785"/>
                  </a:lnTo>
                  <a:lnTo>
                    <a:pt x="401" y="779"/>
                  </a:lnTo>
                  <a:lnTo>
                    <a:pt x="406" y="775"/>
                  </a:lnTo>
                  <a:lnTo>
                    <a:pt x="410" y="775"/>
                  </a:lnTo>
                  <a:lnTo>
                    <a:pt x="414" y="775"/>
                  </a:lnTo>
                  <a:lnTo>
                    <a:pt x="420" y="779"/>
                  </a:lnTo>
                  <a:lnTo>
                    <a:pt x="425" y="785"/>
                  </a:lnTo>
                  <a:lnTo>
                    <a:pt x="435" y="789"/>
                  </a:lnTo>
                  <a:lnTo>
                    <a:pt x="445" y="795"/>
                  </a:lnTo>
                  <a:lnTo>
                    <a:pt x="449" y="789"/>
                  </a:lnTo>
                  <a:lnTo>
                    <a:pt x="454" y="785"/>
                  </a:lnTo>
                  <a:lnTo>
                    <a:pt x="454" y="779"/>
                  </a:lnTo>
                  <a:lnTo>
                    <a:pt x="454" y="775"/>
                  </a:lnTo>
                  <a:lnTo>
                    <a:pt x="458" y="775"/>
                  </a:lnTo>
                  <a:lnTo>
                    <a:pt x="464" y="775"/>
                  </a:lnTo>
                  <a:lnTo>
                    <a:pt x="464" y="754"/>
                  </a:lnTo>
                  <a:lnTo>
                    <a:pt x="464" y="735"/>
                  </a:lnTo>
                  <a:lnTo>
                    <a:pt x="458" y="735"/>
                  </a:lnTo>
                  <a:lnTo>
                    <a:pt x="454" y="735"/>
                  </a:lnTo>
                  <a:lnTo>
                    <a:pt x="454" y="722"/>
                  </a:lnTo>
                  <a:lnTo>
                    <a:pt x="454" y="706"/>
                  </a:lnTo>
                  <a:lnTo>
                    <a:pt x="458" y="702"/>
                  </a:lnTo>
                  <a:lnTo>
                    <a:pt x="464" y="697"/>
                  </a:lnTo>
                  <a:lnTo>
                    <a:pt x="464" y="693"/>
                  </a:lnTo>
                  <a:lnTo>
                    <a:pt x="464" y="687"/>
                  </a:lnTo>
                  <a:lnTo>
                    <a:pt x="468" y="687"/>
                  </a:lnTo>
                  <a:lnTo>
                    <a:pt x="473" y="687"/>
                  </a:lnTo>
                  <a:lnTo>
                    <a:pt x="475" y="687"/>
                  </a:lnTo>
                  <a:lnTo>
                    <a:pt x="477" y="687"/>
                  </a:lnTo>
                  <a:lnTo>
                    <a:pt x="481" y="689"/>
                  </a:lnTo>
                  <a:lnTo>
                    <a:pt x="483" y="693"/>
                  </a:lnTo>
                  <a:lnTo>
                    <a:pt x="485" y="689"/>
                  </a:lnTo>
                  <a:lnTo>
                    <a:pt x="487" y="687"/>
                  </a:lnTo>
                  <a:lnTo>
                    <a:pt x="485" y="685"/>
                  </a:lnTo>
                  <a:lnTo>
                    <a:pt x="483" y="681"/>
                  </a:lnTo>
                  <a:lnTo>
                    <a:pt x="483" y="679"/>
                  </a:lnTo>
                  <a:lnTo>
                    <a:pt x="483" y="677"/>
                  </a:lnTo>
                  <a:lnTo>
                    <a:pt x="496" y="677"/>
                  </a:lnTo>
                  <a:lnTo>
                    <a:pt x="512" y="677"/>
                  </a:lnTo>
                  <a:lnTo>
                    <a:pt x="516" y="677"/>
                  </a:lnTo>
                  <a:lnTo>
                    <a:pt x="521" y="677"/>
                  </a:lnTo>
                  <a:lnTo>
                    <a:pt x="531" y="677"/>
                  </a:lnTo>
                  <a:lnTo>
                    <a:pt x="541" y="677"/>
                  </a:lnTo>
                  <a:lnTo>
                    <a:pt x="556" y="679"/>
                  </a:lnTo>
                  <a:lnTo>
                    <a:pt x="569" y="683"/>
                  </a:lnTo>
                  <a:lnTo>
                    <a:pt x="585" y="685"/>
                  </a:lnTo>
                  <a:lnTo>
                    <a:pt x="598" y="687"/>
                  </a:lnTo>
                  <a:lnTo>
                    <a:pt x="598" y="693"/>
                  </a:lnTo>
                  <a:lnTo>
                    <a:pt x="598" y="697"/>
                  </a:lnTo>
                  <a:lnTo>
                    <a:pt x="594" y="702"/>
                  </a:lnTo>
                  <a:lnTo>
                    <a:pt x="589" y="706"/>
                  </a:lnTo>
                  <a:lnTo>
                    <a:pt x="585" y="712"/>
                  </a:lnTo>
                  <a:lnTo>
                    <a:pt x="579" y="716"/>
                  </a:lnTo>
                  <a:lnTo>
                    <a:pt x="585" y="722"/>
                  </a:lnTo>
                  <a:lnTo>
                    <a:pt x="589" y="725"/>
                  </a:lnTo>
                  <a:lnTo>
                    <a:pt x="598" y="725"/>
                  </a:lnTo>
                  <a:lnTo>
                    <a:pt x="608" y="725"/>
                  </a:lnTo>
                  <a:lnTo>
                    <a:pt x="614" y="731"/>
                  </a:lnTo>
                  <a:lnTo>
                    <a:pt x="617" y="735"/>
                  </a:lnTo>
                  <a:lnTo>
                    <a:pt x="623" y="735"/>
                  </a:lnTo>
                  <a:lnTo>
                    <a:pt x="629" y="735"/>
                  </a:lnTo>
                  <a:lnTo>
                    <a:pt x="633" y="741"/>
                  </a:lnTo>
                  <a:lnTo>
                    <a:pt x="638" y="747"/>
                  </a:lnTo>
                  <a:lnTo>
                    <a:pt x="642" y="750"/>
                  </a:lnTo>
                  <a:lnTo>
                    <a:pt x="646" y="754"/>
                  </a:lnTo>
                  <a:lnTo>
                    <a:pt x="646" y="760"/>
                  </a:lnTo>
                  <a:lnTo>
                    <a:pt x="646" y="764"/>
                  </a:lnTo>
                  <a:lnTo>
                    <a:pt x="652" y="770"/>
                  </a:lnTo>
                  <a:lnTo>
                    <a:pt x="658" y="775"/>
                  </a:lnTo>
                  <a:lnTo>
                    <a:pt x="658" y="779"/>
                  </a:lnTo>
                  <a:lnTo>
                    <a:pt x="658" y="785"/>
                  </a:lnTo>
                  <a:lnTo>
                    <a:pt x="654" y="785"/>
                  </a:lnTo>
                  <a:lnTo>
                    <a:pt x="652" y="791"/>
                  </a:lnTo>
                  <a:lnTo>
                    <a:pt x="652" y="796"/>
                  </a:lnTo>
                  <a:lnTo>
                    <a:pt x="656" y="804"/>
                  </a:lnTo>
                  <a:lnTo>
                    <a:pt x="660" y="812"/>
                  </a:lnTo>
                  <a:lnTo>
                    <a:pt x="665" y="821"/>
                  </a:lnTo>
                  <a:lnTo>
                    <a:pt x="671" y="827"/>
                  </a:lnTo>
                  <a:lnTo>
                    <a:pt x="677" y="833"/>
                  </a:lnTo>
                  <a:lnTo>
                    <a:pt x="681" y="833"/>
                  </a:lnTo>
                  <a:lnTo>
                    <a:pt x="686" y="833"/>
                  </a:lnTo>
                  <a:lnTo>
                    <a:pt x="686" y="837"/>
                  </a:lnTo>
                  <a:lnTo>
                    <a:pt x="686" y="843"/>
                  </a:lnTo>
                  <a:lnTo>
                    <a:pt x="683" y="844"/>
                  </a:lnTo>
                  <a:lnTo>
                    <a:pt x="679" y="848"/>
                  </a:lnTo>
                  <a:lnTo>
                    <a:pt x="686" y="860"/>
                  </a:lnTo>
                  <a:lnTo>
                    <a:pt x="696" y="871"/>
                  </a:lnTo>
                  <a:lnTo>
                    <a:pt x="700" y="875"/>
                  </a:lnTo>
                  <a:lnTo>
                    <a:pt x="706" y="881"/>
                  </a:lnTo>
                  <a:lnTo>
                    <a:pt x="709" y="881"/>
                  </a:lnTo>
                  <a:lnTo>
                    <a:pt x="715" y="881"/>
                  </a:lnTo>
                  <a:lnTo>
                    <a:pt x="715" y="885"/>
                  </a:lnTo>
                  <a:lnTo>
                    <a:pt x="715" y="890"/>
                  </a:lnTo>
                  <a:lnTo>
                    <a:pt x="719" y="894"/>
                  </a:lnTo>
                  <a:lnTo>
                    <a:pt x="725" y="900"/>
                  </a:lnTo>
                  <a:lnTo>
                    <a:pt x="729" y="904"/>
                  </a:lnTo>
                  <a:lnTo>
                    <a:pt x="734" y="910"/>
                  </a:lnTo>
                  <a:lnTo>
                    <a:pt x="738" y="915"/>
                  </a:lnTo>
                  <a:lnTo>
                    <a:pt x="744" y="919"/>
                  </a:lnTo>
                  <a:lnTo>
                    <a:pt x="748" y="925"/>
                  </a:lnTo>
                  <a:lnTo>
                    <a:pt x="754" y="929"/>
                  </a:lnTo>
                  <a:lnTo>
                    <a:pt x="754" y="935"/>
                  </a:lnTo>
                  <a:lnTo>
                    <a:pt x="754" y="938"/>
                  </a:lnTo>
                  <a:lnTo>
                    <a:pt x="757" y="944"/>
                  </a:lnTo>
                  <a:lnTo>
                    <a:pt x="763" y="948"/>
                  </a:lnTo>
                  <a:lnTo>
                    <a:pt x="769" y="954"/>
                  </a:lnTo>
                  <a:lnTo>
                    <a:pt x="773" y="958"/>
                  </a:lnTo>
                  <a:lnTo>
                    <a:pt x="777" y="967"/>
                  </a:lnTo>
                  <a:lnTo>
                    <a:pt x="782" y="977"/>
                  </a:lnTo>
                  <a:lnTo>
                    <a:pt x="782" y="983"/>
                  </a:lnTo>
                  <a:lnTo>
                    <a:pt x="782" y="986"/>
                  </a:lnTo>
                  <a:lnTo>
                    <a:pt x="786" y="992"/>
                  </a:lnTo>
                  <a:lnTo>
                    <a:pt x="792" y="996"/>
                  </a:lnTo>
                  <a:lnTo>
                    <a:pt x="792" y="1002"/>
                  </a:lnTo>
                  <a:lnTo>
                    <a:pt x="792" y="1006"/>
                  </a:lnTo>
                  <a:lnTo>
                    <a:pt x="790" y="1008"/>
                  </a:lnTo>
                  <a:lnTo>
                    <a:pt x="788" y="1008"/>
                  </a:lnTo>
                  <a:lnTo>
                    <a:pt x="788" y="1013"/>
                  </a:lnTo>
                  <a:lnTo>
                    <a:pt x="786" y="1021"/>
                  </a:lnTo>
                  <a:lnTo>
                    <a:pt x="784" y="1055"/>
                  </a:lnTo>
                  <a:lnTo>
                    <a:pt x="782" y="1123"/>
                  </a:lnTo>
                  <a:lnTo>
                    <a:pt x="780" y="1123"/>
                  </a:lnTo>
                  <a:lnTo>
                    <a:pt x="779" y="1123"/>
                  </a:lnTo>
                  <a:lnTo>
                    <a:pt x="775" y="1121"/>
                  </a:lnTo>
                  <a:lnTo>
                    <a:pt x="773" y="1117"/>
                  </a:lnTo>
                  <a:lnTo>
                    <a:pt x="771" y="1115"/>
                  </a:lnTo>
                  <a:lnTo>
                    <a:pt x="767" y="1113"/>
                  </a:lnTo>
                  <a:lnTo>
                    <a:pt x="765" y="1111"/>
                  </a:lnTo>
                  <a:lnTo>
                    <a:pt x="763" y="1107"/>
                  </a:lnTo>
                  <a:lnTo>
                    <a:pt x="754" y="1107"/>
                  </a:lnTo>
                  <a:lnTo>
                    <a:pt x="744" y="1107"/>
                  </a:lnTo>
                  <a:lnTo>
                    <a:pt x="742" y="1111"/>
                  </a:lnTo>
                  <a:lnTo>
                    <a:pt x="738" y="1113"/>
                  </a:lnTo>
                  <a:lnTo>
                    <a:pt x="736" y="1115"/>
                  </a:lnTo>
                  <a:lnTo>
                    <a:pt x="734" y="1117"/>
                  </a:lnTo>
                  <a:lnTo>
                    <a:pt x="731" y="1121"/>
                  </a:lnTo>
                  <a:lnTo>
                    <a:pt x="729" y="1123"/>
                  </a:lnTo>
                  <a:lnTo>
                    <a:pt x="727" y="1125"/>
                  </a:lnTo>
                  <a:lnTo>
                    <a:pt x="725" y="1128"/>
                  </a:lnTo>
                  <a:lnTo>
                    <a:pt x="723" y="1130"/>
                  </a:lnTo>
                  <a:lnTo>
                    <a:pt x="719" y="1132"/>
                  </a:lnTo>
                  <a:lnTo>
                    <a:pt x="717" y="1134"/>
                  </a:lnTo>
                  <a:lnTo>
                    <a:pt x="715" y="1138"/>
                  </a:lnTo>
                  <a:lnTo>
                    <a:pt x="711" y="1140"/>
                  </a:lnTo>
                  <a:lnTo>
                    <a:pt x="709" y="1142"/>
                  </a:lnTo>
                  <a:lnTo>
                    <a:pt x="709" y="1151"/>
                  </a:lnTo>
                  <a:lnTo>
                    <a:pt x="709" y="1161"/>
                  </a:lnTo>
                  <a:lnTo>
                    <a:pt x="711" y="1163"/>
                  </a:lnTo>
                  <a:lnTo>
                    <a:pt x="715" y="1167"/>
                  </a:lnTo>
                  <a:lnTo>
                    <a:pt x="717" y="1169"/>
                  </a:lnTo>
                  <a:lnTo>
                    <a:pt x="719" y="1171"/>
                  </a:lnTo>
                  <a:lnTo>
                    <a:pt x="723" y="1173"/>
                  </a:lnTo>
                  <a:lnTo>
                    <a:pt x="725" y="1176"/>
                  </a:lnTo>
                  <a:lnTo>
                    <a:pt x="746" y="1178"/>
                  </a:lnTo>
                  <a:lnTo>
                    <a:pt x="767" y="1180"/>
                  </a:lnTo>
                  <a:lnTo>
                    <a:pt x="771" y="1184"/>
                  </a:lnTo>
                  <a:lnTo>
                    <a:pt x="773" y="1186"/>
                  </a:lnTo>
                  <a:lnTo>
                    <a:pt x="773" y="1196"/>
                  </a:lnTo>
                  <a:lnTo>
                    <a:pt x="773" y="1205"/>
                  </a:lnTo>
                  <a:lnTo>
                    <a:pt x="771" y="1207"/>
                  </a:lnTo>
                  <a:lnTo>
                    <a:pt x="767" y="1209"/>
                  </a:lnTo>
                  <a:lnTo>
                    <a:pt x="765" y="1213"/>
                  </a:lnTo>
                  <a:lnTo>
                    <a:pt x="763" y="1215"/>
                  </a:lnTo>
                  <a:lnTo>
                    <a:pt x="761" y="1217"/>
                  </a:lnTo>
                  <a:lnTo>
                    <a:pt x="757" y="1219"/>
                  </a:lnTo>
                  <a:lnTo>
                    <a:pt x="756" y="1222"/>
                  </a:lnTo>
                  <a:lnTo>
                    <a:pt x="754" y="1224"/>
                  </a:lnTo>
                  <a:lnTo>
                    <a:pt x="752" y="1226"/>
                  </a:lnTo>
                  <a:lnTo>
                    <a:pt x="750" y="1228"/>
                  </a:lnTo>
                  <a:lnTo>
                    <a:pt x="746" y="1234"/>
                  </a:lnTo>
                  <a:lnTo>
                    <a:pt x="746" y="1244"/>
                  </a:lnTo>
                  <a:lnTo>
                    <a:pt x="746" y="1253"/>
                  </a:lnTo>
                  <a:lnTo>
                    <a:pt x="750" y="1259"/>
                  </a:lnTo>
                  <a:lnTo>
                    <a:pt x="752" y="1261"/>
                  </a:lnTo>
                  <a:lnTo>
                    <a:pt x="754" y="1263"/>
                  </a:lnTo>
                  <a:lnTo>
                    <a:pt x="754" y="1268"/>
                  </a:lnTo>
                  <a:lnTo>
                    <a:pt x="754" y="1272"/>
                  </a:lnTo>
                  <a:lnTo>
                    <a:pt x="752" y="1274"/>
                  </a:lnTo>
                  <a:lnTo>
                    <a:pt x="750" y="1278"/>
                  </a:lnTo>
                  <a:lnTo>
                    <a:pt x="746" y="1280"/>
                  </a:lnTo>
                  <a:lnTo>
                    <a:pt x="744" y="1282"/>
                  </a:lnTo>
                  <a:lnTo>
                    <a:pt x="742" y="1284"/>
                  </a:lnTo>
                  <a:lnTo>
                    <a:pt x="738" y="1288"/>
                  </a:lnTo>
                  <a:lnTo>
                    <a:pt x="736" y="1290"/>
                  </a:lnTo>
                  <a:lnTo>
                    <a:pt x="734" y="1291"/>
                  </a:lnTo>
                  <a:lnTo>
                    <a:pt x="731" y="1293"/>
                  </a:lnTo>
                  <a:lnTo>
                    <a:pt x="729" y="1297"/>
                  </a:lnTo>
                  <a:lnTo>
                    <a:pt x="713" y="1297"/>
                  </a:lnTo>
                  <a:lnTo>
                    <a:pt x="698" y="1299"/>
                  </a:lnTo>
                  <a:lnTo>
                    <a:pt x="683" y="1301"/>
                  </a:lnTo>
                  <a:lnTo>
                    <a:pt x="667" y="1301"/>
                  </a:lnTo>
                  <a:lnTo>
                    <a:pt x="663" y="1303"/>
                  </a:lnTo>
                  <a:lnTo>
                    <a:pt x="661" y="1307"/>
                  </a:lnTo>
                  <a:lnTo>
                    <a:pt x="660" y="1309"/>
                  </a:lnTo>
                  <a:lnTo>
                    <a:pt x="658" y="1311"/>
                  </a:lnTo>
                  <a:lnTo>
                    <a:pt x="654" y="1313"/>
                  </a:lnTo>
                  <a:lnTo>
                    <a:pt x="652" y="1316"/>
                  </a:lnTo>
                  <a:lnTo>
                    <a:pt x="650" y="1318"/>
                  </a:lnTo>
                  <a:lnTo>
                    <a:pt x="646" y="1320"/>
                  </a:lnTo>
                  <a:lnTo>
                    <a:pt x="644" y="1324"/>
                  </a:lnTo>
                  <a:lnTo>
                    <a:pt x="642" y="1326"/>
                  </a:lnTo>
                  <a:lnTo>
                    <a:pt x="640" y="1339"/>
                  </a:lnTo>
                  <a:lnTo>
                    <a:pt x="638" y="1355"/>
                  </a:lnTo>
                  <a:lnTo>
                    <a:pt x="633" y="1355"/>
                  </a:lnTo>
                  <a:lnTo>
                    <a:pt x="629" y="1355"/>
                  </a:lnTo>
                  <a:lnTo>
                    <a:pt x="629" y="1332"/>
                  </a:lnTo>
                  <a:lnTo>
                    <a:pt x="629" y="1311"/>
                  </a:lnTo>
                  <a:lnTo>
                    <a:pt x="629" y="1290"/>
                  </a:lnTo>
                  <a:lnTo>
                    <a:pt x="629" y="1267"/>
                  </a:lnTo>
                  <a:lnTo>
                    <a:pt x="617" y="1267"/>
                  </a:lnTo>
                  <a:lnTo>
                    <a:pt x="612" y="1267"/>
                  </a:lnTo>
                  <a:lnTo>
                    <a:pt x="608" y="1263"/>
                  </a:lnTo>
                  <a:lnTo>
                    <a:pt x="608" y="1259"/>
                  </a:lnTo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6" name="Freeform 356">
              <a:extLst>
                <a:ext uri="{FF2B5EF4-FFF2-40B4-BE49-F238E27FC236}">
                  <a16:creationId xmlns:a16="http://schemas.microsoft.com/office/drawing/2014/main" xmlns="" id="{DAA3DCA2-77FC-F749-B6C8-33029376AE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07325" y="734828"/>
              <a:ext cx="1119188" cy="1498600"/>
            </a:xfrm>
            <a:custGeom>
              <a:avLst/>
              <a:gdLst>
                <a:gd name="T0" fmla="*/ 0 w 1168661"/>
                <a:gd name="T1" fmla="*/ 0 h 1565910"/>
                <a:gd name="T2" fmla="*/ 1168661 w 1168661"/>
                <a:gd name="T3" fmla="*/ 1565910 h 1565910"/>
              </a:gdLst>
              <a:ahLst/>
              <a:cxnLst/>
              <a:rect l="T0" t="T1" r="T2" b="T3"/>
              <a:pathLst>
                <a:path w="1168661" h="1565910">
                  <a:moveTo>
                    <a:pt x="10421" y="1154430"/>
                  </a:moveTo>
                  <a:cubicBezTo>
                    <a:pt x="12961" y="1151890"/>
                    <a:pt x="15769" y="1146976"/>
                    <a:pt x="18041" y="1143000"/>
                  </a:cubicBezTo>
                  <a:cubicBezTo>
                    <a:pt x="20859" y="1138069"/>
                    <a:pt x="23424" y="1132980"/>
                    <a:pt x="25661" y="1127760"/>
                  </a:cubicBezTo>
                  <a:cubicBezTo>
                    <a:pt x="28238" y="1121747"/>
                    <a:pt x="32263" y="1106687"/>
                    <a:pt x="33281" y="1101090"/>
                  </a:cubicBezTo>
                  <a:cubicBezTo>
                    <a:pt x="41433" y="1056251"/>
                    <a:pt x="31185" y="1091439"/>
                    <a:pt x="44711" y="1055370"/>
                  </a:cubicBezTo>
                  <a:cubicBezTo>
                    <a:pt x="46121" y="1051610"/>
                    <a:pt x="46111" y="1047153"/>
                    <a:pt x="48521" y="1043940"/>
                  </a:cubicBezTo>
                  <a:cubicBezTo>
                    <a:pt x="53909" y="1036756"/>
                    <a:pt x="62058" y="1031979"/>
                    <a:pt x="67571" y="1024890"/>
                  </a:cubicBezTo>
                  <a:cubicBezTo>
                    <a:pt x="71058" y="1020407"/>
                    <a:pt x="71594" y="1014046"/>
                    <a:pt x="75191" y="1009650"/>
                  </a:cubicBezTo>
                  <a:cubicBezTo>
                    <a:pt x="83152" y="999920"/>
                    <a:pt x="92971" y="991870"/>
                    <a:pt x="101861" y="982980"/>
                  </a:cubicBezTo>
                  <a:cubicBezTo>
                    <a:pt x="105671" y="979170"/>
                    <a:pt x="110302" y="976033"/>
                    <a:pt x="113291" y="971550"/>
                  </a:cubicBezTo>
                  <a:cubicBezTo>
                    <a:pt x="123900" y="955637"/>
                    <a:pt x="117673" y="963358"/>
                    <a:pt x="132341" y="948690"/>
                  </a:cubicBezTo>
                  <a:cubicBezTo>
                    <a:pt x="133611" y="944880"/>
                    <a:pt x="135280" y="941180"/>
                    <a:pt x="136151" y="937260"/>
                  </a:cubicBezTo>
                  <a:cubicBezTo>
                    <a:pt x="137827" y="929719"/>
                    <a:pt x="136506" y="921310"/>
                    <a:pt x="139961" y="914400"/>
                  </a:cubicBezTo>
                  <a:cubicBezTo>
                    <a:pt x="142009" y="910304"/>
                    <a:pt x="147295" y="908828"/>
                    <a:pt x="151391" y="906780"/>
                  </a:cubicBezTo>
                  <a:cubicBezTo>
                    <a:pt x="154983" y="904984"/>
                    <a:pt x="158925" y="903944"/>
                    <a:pt x="162821" y="902970"/>
                  </a:cubicBezTo>
                  <a:cubicBezTo>
                    <a:pt x="189122" y="896395"/>
                    <a:pt x="203566" y="897610"/>
                    <a:pt x="235211" y="895350"/>
                  </a:cubicBezTo>
                  <a:cubicBezTo>
                    <a:pt x="241038" y="891465"/>
                    <a:pt x="253514" y="885265"/>
                    <a:pt x="254261" y="876300"/>
                  </a:cubicBezTo>
                  <a:cubicBezTo>
                    <a:pt x="255682" y="859247"/>
                    <a:pt x="255853" y="839557"/>
                    <a:pt x="239021" y="830580"/>
                  </a:cubicBezTo>
                  <a:cubicBezTo>
                    <a:pt x="205418" y="812658"/>
                    <a:pt x="202393" y="813348"/>
                    <a:pt x="174251" y="807720"/>
                  </a:cubicBezTo>
                  <a:cubicBezTo>
                    <a:pt x="160512" y="799476"/>
                    <a:pt x="154016" y="794917"/>
                    <a:pt x="139961" y="788670"/>
                  </a:cubicBezTo>
                  <a:cubicBezTo>
                    <a:pt x="133711" y="785892"/>
                    <a:pt x="127261" y="783590"/>
                    <a:pt x="120911" y="781050"/>
                  </a:cubicBezTo>
                  <a:cubicBezTo>
                    <a:pt x="117101" y="777240"/>
                    <a:pt x="112470" y="774103"/>
                    <a:pt x="109481" y="769620"/>
                  </a:cubicBezTo>
                  <a:cubicBezTo>
                    <a:pt x="101910" y="758263"/>
                    <a:pt x="106508" y="737224"/>
                    <a:pt x="109481" y="727710"/>
                  </a:cubicBezTo>
                  <a:cubicBezTo>
                    <a:pt x="112869" y="716868"/>
                    <a:pt x="113945" y="700822"/>
                    <a:pt x="124721" y="697230"/>
                  </a:cubicBezTo>
                  <a:lnTo>
                    <a:pt x="136151" y="693420"/>
                  </a:lnTo>
                  <a:cubicBezTo>
                    <a:pt x="146828" y="680074"/>
                    <a:pt x="153637" y="670125"/>
                    <a:pt x="166631" y="659130"/>
                  </a:cubicBezTo>
                  <a:cubicBezTo>
                    <a:pt x="177685" y="649777"/>
                    <a:pt x="190682" y="642699"/>
                    <a:pt x="200921" y="632460"/>
                  </a:cubicBezTo>
                  <a:cubicBezTo>
                    <a:pt x="206001" y="627380"/>
                    <a:pt x="210791" y="621993"/>
                    <a:pt x="216161" y="617220"/>
                  </a:cubicBezTo>
                  <a:cubicBezTo>
                    <a:pt x="222239" y="611817"/>
                    <a:pt x="228705" y="606859"/>
                    <a:pt x="235211" y="601980"/>
                  </a:cubicBezTo>
                  <a:cubicBezTo>
                    <a:pt x="238874" y="599233"/>
                    <a:pt x="243123" y="597291"/>
                    <a:pt x="246641" y="594360"/>
                  </a:cubicBezTo>
                  <a:cubicBezTo>
                    <a:pt x="261307" y="582138"/>
                    <a:pt x="261575" y="575616"/>
                    <a:pt x="277121" y="560070"/>
                  </a:cubicBezTo>
                  <a:cubicBezTo>
                    <a:pt x="281611" y="555580"/>
                    <a:pt x="287871" y="553130"/>
                    <a:pt x="292361" y="548640"/>
                  </a:cubicBezTo>
                  <a:cubicBezTo>
                    <a:pt x="298111" y="542890"/>
                    <a:pt x="302085" y="535565"/>
                    <a:pt x="307601" y="529590"/>
                  </a:cubicBezTo>
                  <a:cubicBezTo>
                    <a:pt x="317347" y="519032"/>
                    <a:pt x="330111" y="511065"/>
                    <a:pt x="338081" y="499110"/>
                  </a:cubicBezTo>
                  <a:cubicBezTo>
                    <a:pt x="340621" y="495300"/>
                    <a:pt x="342721" y="491157"/>
                    <a:pt x="345701" y="487680"/>
                  </a:cubicBezTo>
                  <a:cubicBezTo>
                    <a:pt x="350376" y="482225"/>
                    <a:pt x="356630" y="478187"/>
                    <a:pt x="360941" y="472440"/>
                  </a:cubicBezTo>
                  <a:cubicBezTo>
                    <a:pt x="376634" y="451515"/>
                    <a:pt x="358734" y="460476"/>
                    <a:pt x="379991" y="453390"/>
                  </a:cubicBezTo>
                  <a:cubicBezTo>
                    <a:pt x="400311" y="422910"/>
                    <a:pt x="373641" y="459740"/>
                    <a:pt x="399041" y="434340"/>
                  </a:cubicBezTo>
                  <a:cubicBezTo>
                    <a:pt x="402279" y="431102"/>
                    <a:pt x="403646" y="426356"/>
                    <a:pt x="406661" y="422910"/>
                  </a:cubicBezTo>
                  <a:cubicBezTo>
                    <a:pt x="438701" y="386293"/>
                    <a:pt x="412517" y="418495"/>
                    <a:pt x="440951" y="392430"/>
                  </a:cubicBezTo>
                  <a:cubicBezTo>
                    <a:pt x="451543" y="382721"/>
                    <a:pt x="461271" y="372110"/>
                    <a:pt x="471431" y="361950"/>
                  </a:cubicBezTo>
                  <a:cubicBezTo>
                    <a:pt x="475241" y="358140"/>
                    <a:pt x="478378" y="353509"/>
                    <a:pt x="482861" y="350520"/>
                  </a:cubicBezTo>
                  <a:cubicBezTo>
                    <a:pt x="498664" y="339985"/>
                    <a:pt x="497132" y="342086"/>
                    <a:pt x="513341" y="323850"/>
                  </a:cubicBezTo>
                  <a:cubicBezTo>
                    <a:pt x="517560" y="319104"/>
                    <a:pt x="519950" y="312743"/>
                    <a:pt x="524771" y="308610"/>
                  </a:cubicBezTo>
                  <a:cubicBezTo>
                    <a:pt x="529083" y="304914"/>
                    <a:pt x="535141" y="303912"/>
                    <a:pt x="540011" y="300990"/>
                  </a:cubicBezTo>
                  <a:cubicBezTo>
                    <a:pt x="547864" y="296278"/>
                    <a:pt x="555368" y="291002"/>
                    <a:pt x="562871" y="285750"/>
                  </a:cubicBezTo>
                  <a:cubicBezTo>
                    <a:pt x="568073" y="282109"/>
                    <a:pt x="572598" y="277470"/>
                    <a:pt x="578111" y="274320"/>
                  </a:cubicBezTo>
                  <a:cubicBezTo>
                    <a:pt x="581598" y="272327"/>
                    <a:pt x="585949" y="272306"/>
                    <a:pt x="589541" y="270510"/>
                  </a:cubicBezTo>
                  <a:cubicBezTo>
                    <a:pt x="594365" y="268098"/>
                    <a:pt x="613795" y="253531"/>
                    <a:pt x="616211" y="251460"/>
                  </a:cubicBezTo>
                  <a:cubicBezTo>
                    <a:pt x="620302" y="247953"/>
                    <a:pt x="623158" y="243019"/>
                    <a:pt x="627641" y="240030"/>
                  </a:cubicBezTo>
                  <a:cubicBezTo>
                    <a:pt x="630983" y="237802"/>
                    <a:pt x="635479" y="238016"/>
                    <a:pt x="639071" y="236220"/>
                  </a:cubicBezTo>
                  <a:cubicBezTo>
                    <a:pt x="643167" y="234172"/>
                    <a:pt x="646691" y="231140"/>
                    <a:pt x="650501" y="228600"/>
                  </a:cubicBezTo>
                  <a:cubicBezTo>
                    <a:pt x="661931" y="229870"/>
                    <a:pt x="673291" y="232410"/>
                    <a:pt x="684791" y="232410"/>
                  </a:cubicBezTo>
                  <a:cubicBezTo>
                    <a:pt x="694531" y="232410"/>
                    <a:pt x="755938" y="226057"/>
                    <a:pt x="768611" y="224790"/>
                  </a:cubicBezTo>
                  <a:cubicBezTo>
                    <a:pt x="769881" y="220980"/>
                    <a:pt x="774487" y="216804"/>
                    <a:pt x="772421" y="213360"/>
                  </a:cubicBezTo>
                  <a:cubicBezTo>
                    <a:pt x="769499" y="208490"/>
                    <a:pt x="762621" y="207372"/>
                    <a:pt x="757181" y="205740"/>
                  </a:cubicBezTo>
                  <a:cubicBezTo>
                    <a:pt x="749782" y="203520"/>
                    <a:pt x="741922" y="203312"/>
                    <a:pt x="734321" y="201930"/>
                  </a:cubicBezTo>
                  <a:cubicBezTo>
                    <a:pt x="716586" y="198705"/>
                    <a:pt x="716338" y="198387"/>
                    <a:pt x="700031" y="194310"/>
                  </a:cubicBezTo>
                  <a:cubicBezTo>
                    <a:pt x="698761" y="190500"/>
                    <a:pt x="696221" y="186896"/>
                    <a:pt x="696221" y="182880"/>
                  </a:cubicBezTo>
                  <a:cubicBezTo>
                    <a:pt x="696221" y="176404"/>
                    <a:pt x="698327" y="170078"/>
                    <a:pt x="700031" y="163830"/>
                  </a:cubicBezTo>
                  <a:cubicBezTo>
                    <a:pt x="706908" y="138614"/>
                    <a:pt x="705006" y="144496"/>
                    <a:pt x="719081" y="125730"/>
                  </a:cubicBezTo>
                  <a:cubicBezTo>
                    <a:pt x="721621" y="118110"/>
                    <a:pt x="722246" y="109553"/>
                    <a:pt x="726701" y="102870"/>
                  </a:cubicBezTo>
                  <a:cubicBezTo>
                    <a:pt x="737321" y="86940"/>
                    <a:pt x="739942" y="79771"/>
                    <a:pt x="753371" y="68580"/>
                  </a:cubicBezTo>
                  <a:cubicBezTo>
                    <a:pt x="756889" y="65649"/>
                    <a:pt x="760991" y="63500"/>
                    <a:pt x="764801" y="60960"/>
                  </a:cubicBezTo>
                  <a:cubicBezTo>
                    <a:pt x="767341" y="57150"/>
                    <a:pt x="769441" y="53007"/>
                    <a:pt x="772421" y="49530"/>
                  </a:cubicBezTo>
                  <a:cubicBezTo>
                    <a:pt x="779503" y="41267"/>
                    <a:pt x="793093" y="28465"/>
                    <a:pt x="802901" y="22860"/>
                  </a:cubicBezTo>
                  <a:cubicBezTo>
                    <a:pt x="806388" y="20867"/>
                    <a:pt x="810739" y="20846"/>
                    <a:pt x="814331" y="19050"/>
                  </a:cubicBezTo>
                  <a:cubicBezTo>
                    <a:pt x="824940" y="13746"/>
                    <a:pt x="828765" y="8426"/>
                    <a:pt x="837191" y="0"/>
                  </a:cubicBezTo>
                  <a:cubicBezTo>
                    <a:pt x="845971" y="1463"/>
                    <a:pt x="862102" y="2930"/>
                    <a:pt x="871481" y="7620"/>
                  </a:cubicBezTo>
                  <a:cubicBezTo>
                    <a:pt x="901024" y="22392"/>
                    <a:pt x="865611" y="9473"/>
                    <a:pt x="894341" y="19050"/>
                  </a:cubicBezTo>
                  <a:cubicBezTo>
                    <a:pt x="898876" y="32656"/>
                    <a:pt x="900795" y="36431"/>
                    <a:pt x="901961" y="53340"/>
                  </a:cubicBezTo>
                  <a:cubicBezTo>
                    <a:pt x="903973" y="82508"/>
                    <a:pt x="885523" y="119878"/>
                    <a:pt x="905771" y="140970"/>
                  </a:cubicBezTo>
                  <a:cubicBezTo>
                    <a:pt x="926076" y="162121"/>
                    <a:pt x="993401" y="148590"/>
                    <a:pt x="993401" y="148590"/>
                  </a:cubicBezTo>
                  <a:cubicBezTo>
                    <a:pt x="1010014" y="154128"/>
                    <a:pt x="1015616" y="153767"/>
                    <a:pt x="1027691" y="163830"/>
                  </a:cubicBezTo>
                  <a:cubicBezTo>
                    <a:pt x="1031830" y="167279"/>
                    <a:pt x="1035311" y="171450"/>
                    <a:pt x="1039121" y="175260"/>
                  </a:cubicBezTo>
                  <a:cubicBezTo>
                    <a:pt x="1040391" y="179070"/>
                    <a:pt x="1041957" y="182794"/>
                    <a:pt x="1042931" y="186690"/>
                  </a:cubicBezTo>
                  <a:cubicBezTo>
                    <a:pt x="1048440" y="208726"/>
                    <a:pt x="1049606" y="222618"/>
                    <a:pt x="1042931" y="247650"/>
                  </a:cubicBezTo>
                  <a:cubicBezTo>
                    <a:pt x="1041295" y="253786"/>
                    <a:pt x="1035634" y="258069"/>
                    <a:pt x="1031501" y="262890"/>
                  </a:cubicBezTo>
                  <a:cubicBezTo>
                    <a:pt x="1019564" y="276817"/>
                    <a:pt x="1014410" y="278094"/>
                    <a:pt x="997211" y="289560"/>
                  </a:cubicBezTo>
                  <a:cubicBezTo>
                    <a:pt x="993401" y="292100"/>
                    <a:pt x="989444" y="294433"/>
                    <a:pt x="985781" y="297180"/>
                  </a:cubicBezTo>
                  <a:cubicBezTo>
                    <a:pt x="980701" y="300990"/>
                    <a:pt x="976054" y="305460"/>
                    <a:pt x="970541" y="308610"/>
                  </a:cubicBezTo>
                  <a:cubicBezTo>
                    <a:pt x="967054" y="310603"/>
                    <a:pt x="962921" y="311150"/>
                    <a:pt x="959111" y="312420"/>
                  </a:cubicBezTo>
                  <a:cubicBezTo>
                    <a:pt x="937397" y="334134"/>
                    <a:pt x="959304" y="316147"/>
                    <a:pt x="932441" y="327660"/>
                  </a:cubicBezTo>
                  <a:cubicBezTo>
                    <a:pt x="928232" y="329464"/>
                    <a:pt x="925107" y="333232"/>
                    <a:pt x="921011" y="335280"/>
                  </a:cubicBezTo>
                  <a:cubicBezTo>
                    <a:pt x="917419" y="337076"/>
                    <a:pt x="913391" y="337820"/>
                    <a:pt x="909581" y="339090"/>
                  </a:cubicBezTo>
                  <a:cubicBezTo>
                    <a:pt x="904501" y="342900"/>
                    <a:pt x="899543" y="346879"/>
                    <a:pt x="894341" y="350520"/>
                  </a:cubicBezTo>
                  <a:cubicBezTo>
                    <a:pt x="886838" y="355772"/>
                    <a:pt x="877957" y="359284"/>
                    <a:pt x="871481" y="365760"/>
                  </a:cubicBezTo>
                  <a:cubicBezTo>
                    <a:pt x="861383" y="375858"/>
                    <a:pt x="847800" y="386452"/>
                    <a:pt x="841001" y="400050"/>
                  </a:cubicBezTo>
                  <a:cubicBezTo>
                    <a:pt x="839205" y="403642"/>
                    <a:pt x="838461" y="407670"/>
                    <a:pt x="837191" y="411480"/>
                  </a:cubicBezTo>
                  <a:cubicBezTo>
                    <a:pt x="838461" y="422910"/>
                    <a:pt x="841001" y="434270"/>
                    <a:pt x="841001" y="445770"/>
                  </a:cubicBezTo>
                  <a:cubicBezTo>
                    <a:pt x="841001" y="452246"/>
                    <a:pt x="841337" y="459845"/>
                    <a:pt x="837191" y="464820"/>
                  </a:cubicBezTo>
                  <a:cubicBezTo>
                    <a:pt x="833839" y="468843"/>
                    <a:pt x="827171" y="468212"/>
                    <a:pt x="821951" y="468630"/>
                  </a:cubicBezTo>
                  <a:cubicBezTo>
                    <a:pt x="795336" y="470759"/>
                    <a:pt x="768611" y="471170"/>
                    <a:pt x="741941" y="472440"/>
                  </a:cubicBezTo>
                  <a:cubicBezTo>
                    <a:pt x="740671" y="476250"/>
                    <a:pt x="738131" y="479854"/>
                    <a:pt x="738131" y="483870"/>
                  </a:cubicBezTo>
                  <a:cubicBezTo>
                    <a:pt x="738131" y="489106"/>
                    <a:pt x="738493" y="495169"/>
                    <a:pt x="741941" y="499110"/>
                  </a:cubicBezTo>
                  <a:cubicBezTo>
                    <a:pt x="768055" y="528954"/>
                    <a:pt x="816786" y="516713"/>
                    <a:pt x="848621" y="518160"/>
                  </a:cubicBezTo>
                  <a:cubicBezTo>
                    <a:pt x="854195" y="526521"/>
                    <a:pt x="860638" y="535162"/>
                    <a:pt x="863861" y="544830"/>
                  </a:cubicBezTo>
                  <a:cubicBezTo>
                    <a:pt x="865909" y="550973"/>
                    <a:pt x="866100" y="557598"/>
                    <a:pt x="867671" y="563880"/>
                  </a:cubicBezTo>
                  <a:cubicBezTo>
                    <a:pt x="868645" y="567776"/>
                    <a:pt x="870424" y="571435"/>
                    <a:pt x="871481" y="575310"/>
                  </a:cubicBezTo>
                  <a:cubicBezTo>
                    <a:pt x="874237" y="585414"/>
                    <a:pt x="879101" y="605790"/>
                    <a:pt x="879101" y="605790"/>
                  </a:cubicBezTo>
                  <a:cubicBezTo>
                    <a:pt x="879005" y="607510"/>
                    <a:pt x="881840" y="665081"/>
                    <a:pt x="871481" y="685800"/>
                  </a:cubicBezTo>
                  <a:cubicBezTo>
                    <a:pt x="868169" y="692424"/>
                    <a:pt x="863115" y="698108"/>
                    <a:pt x="860051" y="704850"/>
                  </a:cubicBezTo>
                  <a:cubicBezTo>
                    <a:pt x="856727" y="712162"/>
                    <a:pt x="852431" y="727710"/>
                    <a:pt x="852431" y="727710"/>
                  </a:cubicBezTo>
                  <a:cubicBezTo>
                    <a:pt x="859151" y="754590"/>
                    <a:pt x="854706" y="758309"/>
                    <a:pt x="905771" y="735330"/>
                  </a:cubicBezTo>
                  <a:cubicBezTo>
                    <a:pt x="917236" y="730171"/>
                    <a:pt x="920768" y="713329"/>
                    <a:pt x="932441" y="708660"/>
                  </a:cubicBezTo>
                  <a:cubicBezTo>
                    <a:pt x="938791" y="706120"/>
                    <a:pt x="945003" y="703203"/>
                    <a:pt x="951491" y="701040"/>
                  </a:cubicBezTo>
                  <a:cubicBezTo>
                    <a:pt x="956459" y="699384"/>
                    <a:pt x="961619" y="698366"/>
                    <a:pt x="966731" y="697230"/>
                  </a:cubicBezTo>
                  <a:cubicBezTo>
                    <a:pt x="1013970" y="686732"/>
                    <a:pt x="1024992" y="690716"/>
                    <a:pt x="1096271" y="685800"/>
                  </a:cubicBezTo>
                  <a:cubicBezTo>
                    <a:pt x="1100081" y="684530"/>
                    <a:pt x="1104109" y="683786"/>
                    <a:pt x="1107701" y="681990"/>
                  </a:cubicBezTo>
                  <a:cubicBezTo>
                    <a:pt x="1137244" y="667218"/>
                    <a:pt x="1101831" y="680137"/>
                    <a:pt x="1130561" y="670560"/>
                  </a:cubicBezTo>
                  <a:cubicBezTo>
                    <a:pt x="1137081" y="672733"/>
                    <a:pt x="1149201" y="675659"/>
                    <a:pt x="1153421" y="681990"/>
                  </a:cubicBezTo>
                  <a:cubicBezTo>
                    <a:pt x="1156326" y="686347"/>
                    <a:pt x="1155792" y="692195"/>
                    <a:pt x="1157231" y="697230"/>
                  </a:cubicBezTo>
                  <a:cubicBezTo>
                    <a:pt x="1161175" y="711032"/>
                    <a:pt x="1160312" y="707567"/>
                    <a:pt x="1168661" y="720090"/>
                  </a:cubicBezTo>
                  <a:cubicBezTo>
                    <a:pt x="1167391" y="726440"/>
                    <a:pt x="1168328" y="733677"/>
                    <a:pt x="1164851" y="739140"/>
                  </a:cubicBezTo>
                  <a:cubicBezTo>
                    <a:pt x="1151013" y="760886"/>
                    <a:pt x="1147794" y="760066"/>
                    <a:pt x="1130561" y="765810"/>
                  </a:cubicBezTo>
                  <a:cubicBezTo>
                    <a:pt x="1128021" y="770890"/>
                    <a:pt x="1125863" y="776180"/>
                    <a:pt x="1122941" y="781050"/>
                  </a:cubicBezTo>
                  <a:cubicBezTo>
                    <a:pt x="1118229" y="788903"/>
                    <a:pt x="1110597" y="795222"/>
                    <a:pt x="1107701" y="803910"/>
                  </a:cubicBezTo>
                  <a:lnTo>
                    <a:pt x="1100081" y="826770"/>
                  </a:lnTo>
                  <a:cubicBezTo>
                    <a:pt x="1101351" y="855980"/>
                    <a:pt x="1101649" y="885249"/>
                    <a:pt x="1103891" y="914400"/>
                  </a:cubicBezTo>
                  <a:cubicBezTo>
                    <a:pt x="1104199" y="918404"/>
                    <a:pt x="1106830" y="921910"/>
                    <a:pt x="1107701" y="925830"/>
                  </a:cubicBezTo>
                  <a:cubicBezTo>
                    <a:pt x="1109377" y="933371"/>
                    <a:pt x="1109996" y="941115"/>
                    <a:pt x="1111511" y="948690"/>
                  </a:cubicBezTo>
                  <a:cubicBezTo>
                    <a:pt x="1112538" y="953825"/>
                    <a:pt x="1114185" y="958818"/>
                    <a:pt x="1115321" y="963930"/>
                  </a:cubicBezTo>
                  <a:cubicBezTo>
                    <a:pt x="1116726" y="970252"/>
                    <a:pt x="1117560" y="976698"/>
                    <a:pt x="1119131" y="982980"/>
                  </a:cubicBezTo>
                  <a:cubicBezTo>
                    <a:pt x="1130847" y="1029843"/>
                    <a:pt x="1112708" y="943245"/>
                    <a:pt x="1126751" y="1013460"/>
                  </a:cubicBezTo>
                  <a:cubicBezTo>
                    <a:pt x="1115351" y="1047661"/>
                    <a:pt x="1130996" y="1012517"/>
                    <a:pt x="1058171" y="1028700"/>
                  </a:cubicBezTo>
                  <a:cubicBezTo>
                    <a:pt x="1054251" y="1029571"/>
                    <a:pt x="1055494" y="1036277"/>
                    <a:pt x="1054361" y="1040130"/>
                  </a:cubicBezTo>
                  <a:cubicBezTo>
                    <a:pt x="1049143" y="1057870"/>
                    <a:pt x="1044969" y="1075927"/>
                    <a:pt x="1039121" y="1093470"/>
                  </a:cubicBezTo>
                  <a:cubicBezTo>
                    <a:pt x="1037851" y="1097280"/>
                    <a:pt x="1036893" y="1101209"/>
                    <a:pt x="1035311" y="1104900"/>
                  </a:cubicBezTo>
                  <a:cubicBezTo>
                    <a:pt x="1029510" y="1118435"/>
                    <a:pt x="1027724" y="1120091"/>
                    <a:pt x="1020071" y="1131570"/>
                  </a:cubicBezTo>
                  <a:cubicBezTo>
                    <a:pt x="1011458" y="1174637"/>
                    <a:pt x="1021501" y="1121558"/>
                    <a:pt x="1012451" y="1184910"/>
                  </a:cubicBezTo>
                  <a:cubicBezTo>
                    <a:pt x="1007770" y="1217677"/>
                    <a:pt x="1010741" y="1191752"/>
                    <a:pt x="1004831" y="1215390"/>
                  </a:cubicBezTo>
                  <a:cubicBezTo>
                    <a:pt x="1004410" y="1217074"/>
                    <a:pt x="1001582" y="1244507"/>
                    <a:pt x="993401" y="1245870"/>
                  </a:cubicBezTo>
                  <a:cubicBezTo>
                    <a:pt x="965813" y="1250468"/>
                    <a:pt x="937521" y="1248410"/>
                    <a:pt x="909581" y="1249680"/>
                  </a:cubicBezTo>
                  <a:cubicBezTo>
                    <a:pt x="905771" y="1250950"/>
                    <a:pt x="900991" y="1250650"/>
                    <a:pt x="898151" y="1253490"/>
                  </a:cubicBezTo>
                  <a:cubicBezTo>
                    <a:pt x="877831" y="1273810"/>
                    <a:pt x="913391" y="1258570"/>
                    <a:pt x="882911" y="1268730"/>
                  </a:cubicBezTo>
                  <a:cubicBezTo>
                    <a:pt x="849506" y="1260379"/>
                    <a:pt x="882270" y="1271899"/>
                    <a:pt x="841001" y="1230630"/>
                  </a:cubicBezTo>
                  <a:cubicBezTo>
                    <a:pt x="831128" y="1220757"/>
                    <a:pt x="817495" y="1203637"/>
                    <a:pt x="802901" y="1196340"/>
                  </a:cubicBezTo>
                  <a:cubicBezTo>
                    <a:pt x="799309" y="1194544"/>
                    <a:pt x="795281" y="1193800"/>
                    <a:pt x="791471" y="1192530"/>
                  </a:cubicBezTo>
                  <a:cubicBezTo>
                    <a:pt x="762456" y="1199784"/>
                    <a:pt x="780915" y="1193998"/>
                    <a:pt x="738131" y="1215390"/>
                  </a:cubicBezTo>
                  <a:cubicBezTo>
                    <a:pt x="730511" y="1217930"/>
                    <a:pt x="723063" y="1221062"/>
                    <a:pt x="715271" y="1223010"/>
                  </a:cubicBezTo>
                  <a:cubicBezTo>
                    <a:pt x="693749" y="1228391"/>
                    <a:pt x="705166" y="1225793"/>
                    <a:pt x="680981" y="1230630"/>
                  </a:cubicBezTo>
                  <a:cubicBezTo>
                    <a:pt x="659265" y="1252346"/>
                    <a:pt x="669726" y="1239892"/>
                    <a:pt x="650501" y="1268730"/>
                  </a:cubicBezTo>
                  <a:cubicBezTo>
                    <a:pt x="647961" y="1272540"/>
                    <a:pt x="644329" y="1275816"/>
                    <a:pt x="642881" y="1280160"/>
                  </a:cubicBezTo>
                  <a:cubicBezTo>
                    <a:pt x="641611" y="1283970"/>
                    <a:pt x="641299" y="1288248"/>
                    <a:pt x="639071" y="1291590"/>
                  </a:cubicBezTo>
                  <a:cubicBezTo>
                    <a:pt x="602800" y="1345997"/>
                    <a:pt x="634516" y="1292548"/>
                    <a:pt x="608591" y="1325880"/>
                  </a:cubicBezTo>
                  <a:cubicBezTo>
                    <a:pt x="585185" y="1355974"/>
                    <a:pt x="604653" y="1343089"/>
                    <a:pt x="578111" y="1356360"/>
                  </a:cubicBezTo>
                  <a:cubicBezTo>
                    <a:pt x="559192" y="1384739"/>
                    <a:pt x="583507" y="1349884"/>
                    <a:pt x="559061" y="1379220"/>
                  </a:cubicBezTo>
                  <a:cubicBezTo>
                    <a:pt x="556130" y="1382738"/>
                    <a:pt x="553981" y="1386840"/>
                    <a:pt x="551441" y="1390650"/>
                  </a:cubicBezTo>
                  <a:cubicBezTo>
                    <a:pt x="550171" y="1395730"/>
                    <a:pt x="549694" y="1401077"/>
                    <a:pt x="547631" y="1405890"/>
                  </a:cubicBezTo>
                  <a:cubicBezTo>
                    <a:pt x="545827" y="1410099"/>
                    <a:pt x="541619" y="1413033"/>
                    <a:pt x="540011" y="1417320"/>
                  </a:cubicBezTo>
                  <a:cubicBezTo>
                    <a:pt x="537737" y="1423383"/>
                    <a:pt x="538475" y="1430307"/>
                    <a:pt x="536201" y="1436370"/>
                  </a:cubicBezTo>
                  <a:cubicBezTo>
                    <a:pt x="534593" y="1440657"/>
                    <a:pt x="530629" y="1443704"/>
                    <a:pt x="528581" y="1447800"/>
                  </a:cubicBezTo>
                  <a:cubicBezTo>
                    <a:pt x="511119" y="1482724"/>
                    <a:pt x="532013" y="1452114"/>
                    <a:pt x="509531" y="1482090"/>
                  </a:cubicBezTo>
                  <a:cubicBezTo>
                    <a:pt x="508261" y="1485900"/>
                    <a:pt x="508561" y="1490680"/>
                    <a:pt x="505721" y="1493520"/>
                  </a:cubicBezTo>
                  <a:cubicBezTo>
                    <a:pt x="502881" y="1496360"/>
                    <a:pt x="498153" y="1496227"/>
                    <a:pt x="494291" y="1497330"/>
                  </a:cubicBezTo>
                  <a:cubicBezTo>
                    <a:pt x="474712" y="1502924"/>
                    <a:pt x="473308" y="1501858"/>
                    <a:pt x="448571" y="1504950"/>
                  </a:cubicBezTo>
                  <a:cubicBezTo>
                    <a:pt x="444761" y="1506220"/>
                    <a:pt x="440733" y="1506964"/>
                    <a:pt x="437141" y="1508760"/>
                  </a:cubicBezTo>
                  <a:cubicBezTo>
                    <a:pt x="420839" y="1516911"/>
                    <a:pt x="426879" y="1521816"/>
                    <a:pt x="402851" y="1524000"/>
                  </a:cubicBezTo>
                  <a:lnTo>
                    <a:pt x="360941" y="1527810"/>
                  </a:lnTo>
                  <a:cubicBezTo>
                    <a:pt x="340788" y="1534528"/>
                    <a:pt x="356155" y="1530066"/>
                    <a:pt x="326651" y="1535430"/>
                  </a:cubicBezTo>
                  <a:cubicBezTo>
                    <a:pt x="288252" y="1542412"/>
                    <a:pt x="328745" y="1536597"/>
                    <a:pt x="277121" y="1543050"/>
                  </a:cubicBezTo>
                  <a:cubicBezTo>
                    <a:pt x="269501" y="1548130"/>
                    <a:pt x="262949" y="1555394"/>
                    <a:pt x="254261" y="1558290"/>
                  </a:cubicBezTo>
                  <a:lnTo>
                    <a:pt x="231401" y="1565910"/>
                  </a:lnTo>
                  <a:cubicBezTo>
                    <a:pt x="228302" y="1556614"/>
                    <a:pt x="227357" y="1550436"/>
                    <a:pt x="219971" y="1543050"/>
                  </a:cubicBezTo>
                  <a:cubicBezTo>
                    <a:pt x="216733" y="1539812"/>
                    <a:pt x="212351" y="1537970"/>
                    <a:pt x="208541" y="1535430"/>
                  </a:cubicBezTo>
                  <a:cubicBezTo>
                    <a:pt x="188221" y="1504950"/>
                    <a:pt x="214891" y="1541780"/>
                    <a:pt x="189491" y="1516380"/>
                  </a:cubicBezTo>
                  <a:cubicBezTo>
                    <a:pt x="186253" y="1513142"/>
                    <a:pt x="186404" y="1505598"/>
                    <a:pt x="181871" y="1504950"/>
                  </a:cubicBezTo>
                  <a:cubicBezTo>
                    <a:pt x="149159" y="1500277"/>
                    <a:pt x="115831" y="1502410"/>
                    <a:pt x="82811" y="1501140"/>
                  </a:cubicBezTo>
                  <a:cubicBezTo>
                    <a:pt x="79001" y="1499870"/>
                    <a:pt x="74221" y="1500170"/>
                    <a:pt x="71381" y="1497330"/>
                  </a:cubicBezTo>
                  <a:cubicBezTo>
                    <a:pt x="68541" y="1494490"/>
                    <a:pt x="68289" y="1489851"/>
                    <a:pt x="67571" y="1485900"/>
                  </a:cubicBezTo>
                  <a:cubicBezTo>
                    <a:pt x="65739" y="1475826"/>
                    <a:pt x="67564" y="1464927"/>
                    <a:pt x="63761" y="1455420"/>
                  </a:cubicBezTo>
                  <a:cubicBezTo>
                    <a:pt x="62060" y="1451168"/>
                    <a:pt x="56141" y="1450340"/>
                    <a:pt x="52331" y="1447800"/>
                  </a:cubicBezTo>
                  <a:cubicBezTo>
                    <a:pt x="49335" y="1443306"/>
                    <a:pt x="40150" y="1431700"/>
                    <a:pt x="40901" y="1424940"/>
                  </a:cubicBezTo>
                  <a:cubicBezTo>
                    <a:pt x="41788" y="1416957"/>
                    <a:pt x="48521" y="1402080"/>
                    <a:pt x="48521" y="1402080"/>
                  </a:cubicBezTo>
                  <a:cubicBezTo>
                    <a:pt x="49791" y="1391920"/>
                    <a:pt x="49637" y="1381478"/>
                    <a:pt x="52331" y="1371600"/>
                  </a:cubicBezTo>
                  <a:cubicBezTo>
                    <a:pt x="53536" y="1367182"/>
                    <a:pt x="57679" y="1364146"/>
                    <a:pt x="59951" y="1360170"/>
                  </a:cubicBezTo>
                  <a:cubicBezTo>
                    <a:pt x="62769" y="1355239"/>
                    <a:pt x="64649" y="1349800"/>
                    <a:pt x="67571" y="1344930"/>
                  </a:cubicBezTo>
                  <a:cubicBezTo>
                    <a:pt x="72283" y="1337077"/>
                    <a:pt x="82811" y="1322070"/>
                    <a:pt x="82811" y="1322070"/>
                  </a:cubicBezTo>
                  <a:cubicBezTo>
                    <a:pt x="84081" y="1316990"/>
                    <a:pt x="85182" y="1311865"/>
                    <a:pt x="86621" y="1306830"/>
                  </a:cubicBezTo>
                  <a:cubicBezTo>
                    <a:pt x="87724" y="1302968"/>
                    <a:pt x="90431" y="1299416"/>
                    <a:pt x="90431" y="1295400"/>
                  </a:cubicBezTo>
                  <a:cubicBezTo>
                    <a:pt x="90431" y="1281372"/>
                    <a:pt x="87697" y="1267476"/>
                    <a:pt x="86621" y="1253490"/>
                  </a:cubicBezTo>
                  <a:cubicBezTo>
                    <a:pt x="85157" y="1234454"/>
                    <a:pt x="86953" y="1214978"/>
                    <a:pt x="82811" y="1196340"/>
                  </a:cubicBezTo>
                  <a:cubicBezTo>
                    <a:pt x="81642" y="1191080"/>
                    <a:pt x="74830" y="1189049"/>
                    <a:pt x="71381" y="1184910"/>
                  </a:cubicBezTo>
                  <a:cubicBezTo>
                    <a:pt x="60495" y="1171847"/>
                    <a:pt x="68297" y="1173843"/>
                    <a:pt x="52331" y="1165860"/>
                  </a:cubicBezTo>
                  <a:cubicBezTo>
                    <a:pt x="37913" y="1158651"/>
                    <a:pt x="15913" y="1160425"/>
                    <a:pt x="2801" y="1158240"/>
                  </a:cubicBezTo>
                  <a:cubicBezTo>
                    <a:pt x="0" y="1157773"/>
                    <a:pt x="7881" y="1156970"/>
                    <a:pt x="10421" y="1154430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7" name="Freeform 357">
              <a:extLst>
                <a:ext uri="{FF2B5EF4-FFF2-40B4-BE49-F238E27FC236}">
                  <a16:creationId xmlns:a16="http://schemas.microsoft.com/office/drawing/2014/main" xmlns="" id="{E54499C4-8C12-2142-A2A2-1001D5DC0B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8600" y="2158816"/>
              <a:ext cx="795338" cy="1147762"/>
            </a:xfrm>
            <a:custGeom>
              <a:avLst/>
              <a:gdLst>
                <a:gd name="T0" fmla="*/ 0 w 832722"/>
                <a:gd name="T1" fmla="*/ 0 h 1199594"/>
                <a:gd name="T2" fmla="*/ 832722 w 832722"/>
                <a:gd name="T3" fmla="*/ 1199594 h 1199594"/>
              </a:gdLst>
              <a:ahLst/>
              <a:cxnLst/>
              <a:rect l="T0" t="T1" r="T2" b="T3"/>
              <a:pathLst>
                <a:path w="832722" h="1199594">
                  <a:moveTo>
                    <a:pt x="209550" y="85169"/>
                  </a:moveTo>
                  <a:cubicBezTo>
                    <a:pt x="214312" y="83185"/>
                    <a:pt x="206637" y="86417"/>
                    <a:pt x="242887" y="70881"/>
                  </a:cubicBezTo>
                  <a:cubicBezTo>
                    <a:pt x="249110" y="68214"/>
                    <a:pt x="252845" y="68132"/>
                    <a:pt x="259556" y="66119"/>
                  </a:cubicBezTo>
                  <a:cubicBezTo>
                    <a:pt x="264364" y="64676"/>
                    <a:pt x="269081" y="62944"/>
                    <a:pt x="273843" y="61356"/>
                  </a:cubicBezTo>
                  <a:cubicBezTo>
                    <a:pt x="276224" y="60562"/>
                    <a:pt x="278511" y="59388"/>
                    <a:pt x="280987" y="58975"/>
                  </a:cubicBezTo>
                  <a:cubicBezTo>
                    <a:pt x="285750" y="58181"/>
                    <a:pt x="290540" y="57541"/>
                    <a:pt x="295275" y="56594"/>
                  </a:cubicBezTo>
                  <a:cubicBezTo>
                    <a:pt x="302261" y="55197"/>
                    <a:pt x="309587" y="52424"/>
                    <a:pt x="316706" y="51831"/>
                  </a:cubicBezTo>
                  <a:cubicBezTo>
                    <a:pt x="331756" y="50577"/>
                    <a:pt x="346869" y="50244"/>
                    <a:pt x="361950" y="49450"/>
                  </a:cubicBezTo>
                  <a:cubicBezTo>
                    <a:pt x="384091" y="43915"/>
                    <a:pt x="356545" y="50532"/>
                    <a:pt x="385762" y="44688"/>
                  </a:cubicBezTo>
                  <a:cubicBezTo>
                    <a:pt x="388971" y="44046"/>
                    <a:pt x="392078" y="42948"/>
                    <a:pt x="395287" y="42306"/>
                  </a:cubicBezTo>
                  <a:cubicBezTo>
                    <a:pt x="421185" y="37126"/>
                    <a:pt x="398455" y="42660"/>
                    <a:pt x="421481" y="37544"/>
                  </a:cubicBezTo>
                  <a:cubicBezTo>
                    <a:pt x="438242" y="33820"/>
                    <a:pt x="424219" y="36762"/>
                    <a:pt x="438150" y="32781"/>
                  </a:cubicBezTo>
                  <a:cubicBezTo>
                    <a:pt x="441297" y="31882"/>
                    <a:pt x="444500" y="31194"/>
                    <a:pt x="447675" y="30400"/>
                  </a:cubicBezTo>
                  <a:cubicBezTo>
                    <a:pt x="450850" y="28019"/>
                    <a:pt x="453650" y="25031"/>
                    <a:pt x="457200" y="23256"/>
                  </a:cubicBezTo>
                  <a:cubicBezTo>
                    <a:pt x="461690" y="21011"/>
                    <a:pt x="471487" y="18494"/>
                    <a:pt x="471487" y="18494"/>
                  </a:cubicBezTo>
                  <a:cubicBezTo>
                    <a:pt x="473868" y="16906"/>
                    <a:pt x="476071" y="15011"/>
                    <a:pt x="478631" y="13731"/>
                  </a:cubicBezTo>
                  <a:cubicBezTo>
                    <a:pt x="480876" y="12608"/>
                    <a:pt x="483686" y="12742"/>
                    <a:pt x="485775" y="11350"/>
                  </a:cubicBezTo>
                  <a:cubicBezTo>
                    <a:pt x="502799" y="0"/>
                    <a:pt x="482297" y="6861"/>
                    <a:pt x="502443" y="1825"/>
                  </a:cubicBezTo>
                  <a:cubicBezTo>
                    <a:pt x="512762" y="2619"/>
                    <a:pt x="523177" y="2592"/>
                    <a:pt x="533400" y="4206"/>
                  </a:cubicBezTo>
                  <a:cubicBezTo>
                    <a:pt x="538359" y="4989"/>
                    <a:pt x="547687" y="8969"/>
                    <a:pt x="547687" y="8969"/>
                  </a:cubicBezTo>
                  <a:cubicBezTo>
                    <a:pt x="549275" y="12144"/>
                    <a:pt x="551052" y="15231"/>
                    <a:pt x="552450" y="18494"/>
                  </a:cubicBezTo>
                  <a:cubicBezTo>
                    <a:pt x="553439" y="20801"/>
                    <a:pt x="553709" y="23393"/>
                    <a:pt x="554831" y="25638"/>
                  </a:cubicBezTo>
                  <a:cubicBezTo>
                    <a:pt x="558146" y="32268"/>
                    <a:pt x="561471" y="34659"/>
                    <a:pt x="566737" y="39925"/>
                  </a:cubicBezTo>
                  <a:cubicBezTo>
                    <a:pt x="570485" y="51171"/>
                    <a:pt x="566527" y="44907"/>
                    <a:pt x="578643" y="51831"/>
                  </a:cubicBezTo>
                  <a:cubicBezTo>
                    <a:pt x="581128" y="53251"/>
                    <a:pt x="583227" y="55314"/>
                    <a:pt x="585787" y="56594"/>
                  </a:cubicBezTo>
                  <a:cubicBezTo>
                    <a:pt x="594367" y="60884"/>
                    <a:pt x="609919" y="60674"/>
                    <a:pt x="616743" y="61356"/>
                  </a:cubicBezTo>
                  <a:cubicBezTo>
                    <a:pt x="621506" y="64531"/>
                    <a:pt x="628905" y="65566"/>
                    <a:pt x="631031" y="70881"/>
                  </a:cubicBezTo>
                  <a:cubicBezTo>
                    <a:pt x="637043" y="85915"/>
                    <a:pt x="632770" y="79766"/>
                    <a:pt x="642937" y="89931"/>
                  </a:cubicBezTo>
                  <a:cubicBezTo>
                    <a:pt x="644525" y="94694"/>
                    <a:pt x="646990" y="99249"/>
                    <a:pt x="647700" y="104219"/>
                  </a:cubicBezTo>
                  <a:cubicBezTo>
                    <a:pt x="648494" y="109775"/>
                    <a:pt x="647996" y="115677"/>
                    <a:pt x="650081" y="120888"/>
                  </a:cubicBezTo>
                  <a:cubicBezTo>
                    <a:pt x="651332" y="124015"/>
                    <a:pt x="653900" y="127499"/>
                    <a:pt x="657225" y="128031"/>
                  </a:cubicBezTo>
                  <a:cubicBezTo>
                    <a:pt x="674486" y="130793"/>
                    <a:pt x="692150" y="129619"/>
                    <a:pt x="709612" y="130413"/>
                  </a:cubicBezTo>
                  <a:cubicBezTo>
                    <a:pt x="711993" y="132794"/>
                    <a:pt x="714564" y="134999"/>
                    <a:pt x="716756" y="137556"/>
                  </a:cubicBezTo>
                  <a:cubicBezTo>
                    <a:pt x="719339" y="140569"/>
                    <a:pt x="721094" y="144275"/>
                    <a:pt x="723900" y="147081"/>
                  </a:cubicBezTo>
                  <a:cubicBezTo>
                    <a:pt x="728274" y="151455"/>
                    <a:pt x="735582" y="153490"/>
                    <a:pt x="740568" y="156606"/>
                  </a:cubicBezTo>
                  <a:cubicBezTo>
                    <a:pt x="743934" y="158709"/>
                    <a:pt x="746864" y="161443"/>
                    <a:pt x="750093" y="163750"/>
                  </a:cubicBezTo>
                  <a:cubicBezTo>
                    <a:pt x="761697" y="172039"/>
                    <a:pt x="753262" y="164539"/>
                    <a:pt x="764381" y="175656"/>
                  </a:cubicBezTo>
                  <a:cubicBezTo>
                    <a:pt x="769565" y="186024"/>
                    <a:pt x="770622" y="189124"/>
                    <a:pt x="778668" y="199469"/>
                  </a:cubicBezTo>
                  <a:cubicBezTo>
                    <a:pt x="780736" y="202127"/>
                    <a:pt x="783854" y="203873"/>
                    <a:pt x="785812" y="206613"/>
                  </a:cubicBezTo>
                  <a:cubicBezTo>
                    <a:pt x="801484" y="228553"/>
                    <a:pt x="779146" y="204709"/>
                    <a:pt x="797718" y="223281"/>
                  </a:cubicBezTo>
                  <a:cubicBezTo>
                    <a:pt x="798512" y="225662"/>
                    <a:pt x="798977" y="228180"/>
                    <a:pt x="800100" y="230425"/>
                  </a:cubicBezTo>
                  <a:cubicBezTo>
                    <a:pt x="802233" y="234692"/>
                    <a:pt x="809843" y="243849"/>
                    <a:pt x="812006" y="247094"/>
                  </a:cubicBezTo>
                  <a:cubicBezTo>
                    <a:pt x="816160" y="253325"/>
                    <a:pt x="823912" y="266144"/>
                    <a:pt x="823912" y="266144"/>
                  </a:cubicBezTo>
                  <a:cubicBezTo>
                    <a:pt x="828883" y="325795"/>
                    <a:pt x="822631" y="305159"/>
                    <a:pt x="831056" y="330438"/>
                  </a:cubicBezTo>
                  <a:cubicBezTo>
                    <a:pt x="830262" y="355044"/>
                    <a:pt x="832722" y="379972"/>
                    <a:pt x="828675" y="404256"/>
                  </a:cubicBezTo>
                  <a:cubicBezTo>
                    <a:pt x="828137" y="407484"/>
                    <a:pt x="822285" y="402815"/>
                    <a:pt x="819150" y="401875"/>
                  </a:cubicBezTo>
                  <a:cubicBezTo>
                    <a:pt x="814341" y="400433"/>
                    <a:pt x="809785" y="398098"/>
                    <a:pt x="804862" y="397113"/>
                  </a:cubicBezTo>
                  <a:lnTo>
                    <a:pt x="792956" y="394731"/>
                  </a:lnTo>
                  <a:cubicBezTo>
                    <a:pt x="788206" y="393867"/>
                    <a:pt x="783403" y="393297"/>
                    <a:pt x="778668" y="392350"/>
                  </a:cubicBezTo>
                  <a:cubicBezTo>
                    <a:pt x="775459" y="391708"/>
                    <a:pt x="772318" y="390763"/>
                    <a:pt x="769143" y="389969"/>
                  </a:cubicBezTo>
                  <a:cubicBezTo>
                    <a:pt x="756913" y="359392"/>
                    <a:pt x="772805" y="397293"/>
                    <a:pt x="757237" y="366156"/>
                  </a:cubicBezTo>
                  <a:cubicBezTo>
                    <a:pt x="756115" y="363911"/>
                    <a:pt x="756248" y="361101"/>
                    <a:pt x="754856" y="359013"/>
                  </a:cubicBezTo>
                  <a:cubicBezTo>
                    <a:pt x="752988" y="356211"/>
                    <a:pt x="749868" y="354456"/>
                    <a:pt x="747712" y="351869"/>
                  </a:cubicBezTo>
                  <a:cubicBezTo>
                    <a:pt x="739427" y="341926"/>
                    <a:pt x="747534" y="346253"/>
                    <a:pt x="735806" y="342344"/>
                  </a:cubicBezTo>
                  <a:cubicBezTo>
                    <a:pt x="731043" y="343138"/>
                    <a:pt x="726231" y="343678"/>
                    <a:pt x="721518" y="344725"/>
                  </a:cubicBezTo>
                  <a:cubicBezTo>
                    <a:pt x="719068" y="345269"/>
                    <a:pt x="716303" y="345499"/>
                    <a:pt x="714375" y="347106"/>
                  </a:cubicBezTo>
                  <a:cubicBezTo>
                    <a:pt x="708167" y="352279"/>
                    <a:pt x="706264" y="359514"/>
                    <a:pt x="702468" y="366156"/>
                  </a:cubicBezTo>
                  <a:cubicBezTo>
                    <a:pt x="696733" y="376192"/>
                    <a:pt x="698676" y="371170"/>
                    <a:pt x="690562" y="380444"/>
                  </a:cubicBezTo>
                  <a:cubicBezTo>
                    <a:pt x="687215" y="384269"/>
                    <a:pt x="684212" y="388381"/>
                    <a:pt x="681037" y="392350"/>
                  </a:cubicBezTo>
                  <a:cubicBezTo>
                    <a:pt x="679450" y="396319"/>
                    <a:pt x="678351" y="400520"/>
                    <a:pt x="676275" y="404256"/>
                  </a:cubicBezTo>
                  <a:cubicBezTo>
                    <a:pt x="674348" y="407725"/>
                    <a:pt x="671438" y="410552"/>
                    <a:pt x="669131" y="413781"/>
                  </a:cubicBezTo>
                  <a:cubicBezTo>
                    <a:pt x="663520" y="421636"/>
                    <a:pt x="664257" y="421146"/>
                    <a:pt x="659606" y="430450"/>
                  </a:cubicBezTo>
                  <a:cubicBezTo>
                    <a:pt x="658958" y="433692"/>
                    <a:pt x="656287" y="448031"/>
                    <a:pt x="654843" y="451881"/>
                  </a:cubicBezTo>
                  <a:cubicBezTo>
                    <a:pt x="653597" y="455205"/>
                    <a:pt x="651668" y="458231"/>
                    <a:pt x="650081" y="461406"/>
                  </a:cubicBezTo>
                  <a:cubicBezTo>
                    <a:pt x="649287" y="466169"/>
                    <a:pt x="649227" y="471113"/>
                    <a:pt x="647700" y="475694"/>
                  </a:cubicBezTo>
                  <a:cubicBezTo>
                    <a:pt x="646795" y="478409"/>
                    <a:pt x="644357" y="480353"/>
                    <a:pt x="642937" y="482838"/>
                  </a:cubicBezTo>
                  <a:cubicBezTo>
                    <a:pt x="641176" y="485920"/>
                    <a:pt x="639762" y="489188"/>
                    <a:pt x="638175" y="492363"/>
                  </a:cubicBezTo>
                  <a:cubicBezTo>
                    <a:pt x="638969" y="511413"/>
                    <a:pt x="638594" y="530548"/>
                    <a:pt x="640556" y="549513"/>
                  </a:cubicBezTo>
                  <a:cubicBezTo>
                    <a:pt x="640996" y="553765"/>
                    <a:pt x="644692" y="557191"/>
                    <a:pt x="645318" y="561419"/>
                  </a:cubicBezTo>
                  <a:cubicBezTo>
                    <a:pt x="658196" y="648341"/>
                    <a:pt x="644369" y="590958"/>
                    <a:pt x="652462" y="623331"/>
                  </a:cubicBezTo>
                  <a:cubicBezTo>
                    <a:pt x="654644" y="664788"/>
                    <a:pt x="652554" y="666560"/>
                    <a:pt x="661987" y="704294"/>
                  </a:cubicBezTo>
                  <a:cubicBezTo>
                    <a:pt x="662751" y="707352"/>
                    <a:pt x="665040" y="717543"/>
                    <a:pt x="666750" y="720963"/>
                  </a:cubicBezTo>
                  <a:cubicBezTo>
                    <a:pt x="668030" y="723522"/>
                    <a:pt x="670232" y="725547"/>
                    <a:pt x="671512" y="728106"/>
                  </a:cubicBezTo>
                  <a:cubicBezTo>
                    <a:pt x="673424" y="731929"/>
                    <a:pt x="673651" y="736639"/>
                    <a:pt x="676275" y="740013"/>
                  </a:cubicBezTo>
                  <a:cubicBezTo>
                    <a:pt x="682679" y="748247"/>
                    <a:pt x="688309" y="748453"/>
                    <a:pt x="695325" y="754300"/>
                  </a:cubicBezTo>
                  <a:cubicBezTo>
                    <a:pt x="697912" y="756456"/>
                    <a:pt x="699911" y="759252"/>
                    <a:pt x="702468" y="761444"/>
                  </a:cubicBezTo>
                  <a:cubicBezTo>
                    <a:pt x="705481" y="764027"/>
                    <a:pt x="709187" y="765782"/>
                    <a:pt x="711993" y="768588"/>
                  </a:cubicBezTo>
                  <a:cubicBezTo>
                    <a:pt x="714017" y="770612"/>
                    <a:pt x="714732" y="773707"/>
                    <a:pt x="716756" y="775731"/>
                  </a:cubicBezTo>
                  <a:cubicBezTo>
                    <a:pt x="719562" y="778537"/>
                    <a:pt x="723268" y="780292"/>
                    <a:pt x="726281" y="782875"/>
                  </a:cubicBezTo>
                  <a:cubicBezTo>
                    <a:pt x="737632" y="792604"/>
                    <a:pt x="728418" y="788350"/>
                    <a:pt x="740568" y="792400"/>
                  </a:cubicBezTo>
                  <a:cubicBezTo>
                    <a:pt x="752573" y="791066"/>
                    <a:pt x="763459" y="791785"/>
                    <a:pt x="773906" y="785256"/>
                  </a:cubicBezTo>
                  <a:cubicBezTo>
                    <a:pt x="776762" y="783471"/>
                    <a:pt x="778106" y="779748"/>
                    <a:pt x="781050" y="778113"/>
                  </a:cubicBezTo>
                  <a:cubicBezTo>
                    <a:pt x="785438" y="775675"/>
                    <a:pt x="795337" y="773350"/>
                    <a:pt x="795337" y="773350"/>
                  </a:cubicBezTo>
                  <a:cubicBezTo>
                    <a:pt x="798512" y="774144"/>
                    <a:pt x="802377" y="773601"/>
                    <a:pt x="804862" y="775731"/>
                  </a:cubicBezTo>
                  <a:cubicBezTo>
                    <a:pt x="817040" y="786169"/>
                    <a:pt x="811616" y="786959"/>
                    <a:pt x="807243" y="797163"/>
                  </a:cubicBezTo>
                  <a:cubicBezTo>
                    <a:pt x="806254" y="799470"/>
                    <a:pt x="805984" y="802061"/>
                    <a:pt x="804862" y="804306"/>
                  </a:cubicBezTo>
                  <a:cubicBezTo>
                    <a:pt x="803509" y="807013"/>
                    <a:pt x="794037" y="819894"/>
                    <a:pt x="792956" y="820975"/>
                  </a:cubicBezTo>
                  <a:cubicBezTo>
                    <a:pt x="790150" y="823781"/>
                    <a:pt x="786606" y="825738"/>
                    <a:pt x="783431" y="828119"/>
                  </a:cubicBezTo>
                  <a:cubicBezTo>
                    <a:pt x="771612" y="857664"/>
                    <a:pt x="786237" y="827623"/>
                    <a:pt x="771525" y="844788"/>
                  </a:cubicBezTo>
                  <a:cubicBezTo>
                    <a:pt x="768513" y="848302"/>
                    <a:pt x="766948" y="852843"/>
                    <a:pt x="764381" y="856694"/>
                  </a:cubicBezTo>
                  <a:cubicBezTo>
                    <a:pt x="762179" y="859996"/>
                    <a:pt x="759340" y="862853"/>
                    <a:pt x="757237" y="866219"/>
                  </a:cubicBezTo>
                  <a:cubicBezTo>
                    <a:pt x="755356" y="869229"/>
                    <a:pt x="754236" y="872662"/>
                    <a:pt x="752475" y="875744"/>
                  </a:cubicBezTo>
                  <a:cubicBezTo>
                    <a:pt x="751055" y="878229"/>
                    <a:pt x="749300" y="880507"/>
                    <a:pt x="747712" y="882888"/>
                  </a:cubicBezTo>
                  <a:cubicBezTo>
                    <a:pt x="746918" y="894794"/>
                    <a:pt x="746649" y="906747"/>
                    <a:pt x="745331" y="918606"/>
                  </a:cubicBezTo>
                  <a:cubicBezTo>
                    <a:pt x="745054" y="921101"/>
                    <a:pt x="743671" y="923346"/>
                    <a:pt x="742950" y="925750"/>
                  </a:cubicBezTo>
                  <a:cubicBezTo>
                    <a:pt x="741289" y="931285"/>
                    <a:pt x="739886" y="936896"/>
                    <a:pt x="738187" y="942419"/>
                  </a:cubicBezTo>
                  <a:cubicBezTo>
                    <a:pt x="736711" y="947217"/>
                    <a:pt x="735012" y="951944"/>
                    <a:pt x="733425" y="956706"/>
                  </a:cubicBezTo>
                  <a:lnTo>
                    <a:pt x="731043" y="963850"/>
                  </a:lnTo>
                  <a:cubicBezTo>
                    <a:pt x="726036" y="1008918"/>
                    <a:pt x="731436" y="969026"/>
                    <a:pt x="726281" y="994806"/>
                  </a:cubicBezTo>
                  <a:cubicBezTo>
                    <a:pt x="725334" y="999541"/>
                    <a:pt x="725071" y="1004410"/>
                    <a:pt x="723900" y="1009094"/>
                  </a:cubicBezTo>
                  <a:cubicBezTo>
                    <a:pt x="722682" y="1013964"/>
                    <a:pt x="723899" y="1021793"/>
                    <a:pt x="719137" y="1023381"/>
                  </a:cubicBezTo>
                  <a:cubicBezTo>
                    <a:pt x="701172" y="1029371"/>
                    <a:pt x="723322" y="1021289"/>
                    <a:pt x="704850" y="1030525"/>
                  </a:cubicBezTo>
                  <a:cubicBezTo>
                    <a:pt x="702605" y="1031647"/>
                    <a:pt x="700087" y="1032112"/>
                    <a:pt x="697706" y="1032906"/>
                  </a:cubicBezTo>
                  <a:cubicBezTo>
                    <a:pt x="690562" y="1032112"/>
                    <a:pt x="683094" y="1032798"/>
                    <a:pt x="676275" y="1030525"/>
                  </a:cubicBezTo>
                  <a:cubicBezTo>
                    <a:pt x="673080" y="1029460"/>
                    <a:pt x="671718" y="1025537"/>
                    <a:pt x="669131" y="1023381"/>
                  </a:cubicBezTo>
                  <a:cubicBezTo>
                    <a:pt x="666932" y="1021549"/>
                    <a:pt x="664368" y="1020206"/>
                    <a:pt x="661987" y="1018619"/>
                  </a:cubicBezTo>
                  <a:cubicBezTo>
                    <a:pt x="661193" y="1016238"/>
                    <a:pt x="659606" y="1013985"/>
                    <a:pt x="659606" y="1011475"/>
                  </a:cubicBezTo>
                  <a:cubicBezTo>
                    <a:pt x="659606" y="998642"/>
                    <a:pt x="660999" y="998670"/>
                    <a:pt x="666750" y="990044"/>
                  </a:cubicBezTo>
                  <a:cubicBezTo>
                    <a:pt x="665162" y="984488"/>
                    <a:pt x="664794" y="978426"/>
                    <a:pt x="661987" y="973375"/>
                  </a:cubicBezTo>
                  <a:cubicBezTo>
                    <a:pt x="659335" y="968602"/>
                    <a:pt x="649368" y="967244"/>
                    <a:pt x="645318" y="966231"/>
                  </a:cubicBezTo>
                  <a:cubicBezTo>
                    <a:pt x="604843" y="977797"/>
                    <a:pt x="659885" y="963331"/>
                    <a:pt x="592931" y="973375"/>
                  </a:cubicBezTo>
                  <a:cubicBezTo>
                    <a:pt x="587597" y="974175"/>
                    <a:pt x="578403" y="979132"/>
                    <a:pt x="573881" y="982900"/>
                  </a:cubicBezTo>
                  <a:cubicBezTo>
                    <a:pt x="571294" y="985056"/>
                    <a:pt x="569118" y="987663"/>
                    <a:pt x="566737" y="990044"/>
                  </a:cubicBezTo>
                  <a:cubicBezTo>
                    <a:pt x="565943" y="993219"/>
                    <a:pt x="565645" y="996561"/>
                    <a:pt x="564356" y="999569"/>
                  </a:cubicBezTo>
                  <a:cubicBezTo>
                    <a:pt x="563229" y="1002200"/>
                    <a:pt x="561013" y="1004228"/>
                    <a:pt x="559593" y="1006713"/>
                  </a:cubicBezTo>
                  <a:cubicBezTo>
                    <a:pt x="549132" y="1025020"/>
                    <a:pt x="561348" y="1007548"/>
                    <a:pt x="547687" y="1025763"/>
                  </a:cubicBezTo>
                  <a:cubicBezTo>
                    <a:pt x="546893" y="1028144"/>
                    <a:pt x="545850" y="1030456"/>
                    <a:pt x="545306" y="1032906"/>
                  </a:cubicBezTo>
                  <a:cubicBezTo>
                    <a:pt x="544259" y="1037619"/>
                    <a:pt x="544312" y="1042569"/>
                    <a:pt x="542925" y="1047194"/>
                  </a:cubicBezTo>
                  <a:cubicBezTo>
                    <a:pt x="541905" y="1050594"/>
                    <a:pt x="539560" y="1053456"/>
                    <a:pt x="538162" y="1056719"/>
                  </a:cubicBezTo>
                  <a:cubicBezTo>
                    <a:pt x="537173" y="1059026"/>
                    <a:pt x="536575" y="1061482"/>
                    <a:pt x="535781" y="1063863"/>
                  </a:cubicBezTo>
                  <a:cubicBezTo>
                    <a:pt x="538314" y="1076529"/>
                    <a:pt x="540543" y="1085661"/>
                    <a:pt x="540543" y="1099581"/>
                  </a:cubicBezTo>
                  <a:cubicBezTo>
                    <a:pt x="540543" y="1102091"/>
                    <a:pt x="539151" y="1104418"/>
                    <a:pt x="538162" y="1106725"/>
                  </a:cubicBezTo>
                  <a:cubicBezTo>
                    <a:pt x="536764" y="1109988"/>
                    <a:pt x="536240" y="1114120"/>
                    <a:pt x="533400" y="1116250"/>
                  </a:cubicBezTo>
                  <a:cubicBezTo>
                    <a:pt x="529384" y="1119262"/>
                    <a:pt x="519112" y="1121013"/>
                    <a:pt x="519112" y="1121013"/>
                  </a:cubicBezTo>
                  <a:cubicBezTo>
                    <a:pt x="516731" y="1123394"/>
                    <a:pt x="514574" y="1126024"/>
                    <a:pt x="511968" y="1128156"/>
                  </a:cubicBezTo>
                  <a:cubicBezTo>
                    <a:pt x="504178" y="1134529"/>
                    <a:pt x="491000" y="1144594"/>
                    <a:pt x="481012" y="1149588"/>
                  </a:cubicBezTo>
                  <a:cubicBezTo>
                    <a:pt x="478767" y="1150711"/>
                    <a:pt x="476249" y="1151175"/>
                    <a:pt x="473868" y="1151969"/>
                  </a:cubicBezTo>
                  <a:cubicBezTo>
                    <a:pt x="460773" y="1160699"/>
                    <a:pt x="471884" y="1151969"/>
                    <a:pt x="461962" y="1163875"/>
                  </a:cubicBezTo>
                  <a:cubicBezTo>
                    <a:pt x="459806" y="1166462"/>
                    <a:pt x="456886" y="1168361"/>
                    <a:pt x="454818" y="1171019"/>
                  </a:cubicBezTo>
                  <a:cubicBezTo>
                    <a:pt x="451304" y="1175537"/>
                    <a:pt x="448468" y="1180544"/>
                    <a:pt x="445293" y="1185306"/>
                  </a:cubicBezTo>
                  <a:cubicBezTo>
                    <a:pt x="443706" y="1187687"/>
                    <a:pt x="443246" y="1191545"/>
                    <a:pt x="440531" y="1192450"/>
                  </a:cubicBezTo>
                  <a:lnTo>
                    <a:pt x="433387" y="1194831"/>
                  </a:lnTo>
                  <a:cubicBezTo>
                    <a:pt x="431006" y="1196419"/>
                    <a:pt x="429105" y="1199594"/>
                    <a:pt x="426243" y="1199594"/>
                  </a:cubicBezTo>
                  <a:cubicBezTo>
                    <a:pt x="421223" y="1199594"/>
                    <a:pt x="416718" y="1196419"/>
                    <a:pt x="411956" y="1194831"/>
                  </a:cubicBezTo>
                  <a:lnTo>
                    <a:pt x="404812" y="1192450"/>
                  </a:lnTo>
                  <a:cubicBezTo>
                    <a:pt x="402431" y="1191656"/>
                    <a:pt x="400163" y="1190346"/>
                    <a:pt x="397668" y="1190069"/>
                  </a:cubicBezTo>
                  <a:lnTo>
                    <a:pt x="376237" y="1187688"/>
                  </a:lnTo>
                  <a:cubicBezTo>
                    <a:pt x="371475" y="1186100"/>
                    <a:pt x="366127" y="1185709"/>
                    <a:pt x="361950" y="1182925"/>
                  </a:cubicBezTo>
                  <a:cubicBezTo>
                    <a:pt x="357043" y="1179654"/>
                    <a:pt x="353727" y="1176539"/>
                    <a:pt x="347662" y="1175781"/>
                  </a:cubicBezTo>
                  <a:cubicBezTo>
                    <a:pt x="337393" y="1174497"/>
                    <a:pt x="327025" y="1174194"/>
                    <a:pt x="316706" y="1173400"/>
                  </a:cubicBezTo>
                  <a:cubicBezTo>
                    <a:pt x="312963" y="1170905"/>
                    <a:pt x="305367" y="1167165"/>
                    <a:pt x="304800" y="1161494"/>
                  </a:cubicBezTo>
                  <a:cubicBezTo>
                    <a:pt x="304435" y="1157840"/>
                    <a:pt x="306793" y="1143218"/>
                    <a:pt x="309562" y="1137681"/>
                  </a:cubicBezTo>
                  <a:cubicBezTo>
                    <a:pt x="310842" y="1135121"/>
                    <a:pt x="312737" y="1132919"/>
                    <a:pt x="314325" y="1130538"/>
                  </a:cubicBezTo>
                  <a:cubicBezTo>
                    <a:pt x="311220" y="1102601"/>
                    <a:pt x="313686" y="1116079"/>
                    <a:pt x="307181" y="1090056"/>
                  </a:cubicBezTo>
                  <a:cubicBezTo>
                    <a:pt x="306416" y="1086996"/>
                    <a:pt x="304129" y="1076810"/>
                    <a:pt x="302418" y="1073388"/>
                  </a:cubicBezTo>
                  <a:cubicBezTo>
                    <a:pt x="297981" y="1064515"/>
                    <a:pt x="297099" y="1067005"/>
                    <a:pt x="290512" y="1059100"/>
                  </a:cubicBezTo>
                  <a:cubicBezTo>
                    <a:pt x="288680" y="1056901"/>
                    <a:pt x="287582" y="1054155"/>
                    <a:pt x="285750" y="1051956"/>
                  </a:cubicBezTo>
                  <a:cubicBezTo>
                    <a:pt x="278757" y="1043565"/>
                    <a:pt x="274271" y="1041924"/>
                    <a:pt x="264318" y="1035288"/>
                  </a:cubicBezTo>
                  <a:lnTo>
                    <a:pt x="257175" y="1030525"/>
                  </a:lnTo>
                  <a:cubicBezTo>
                    <a:pt x="252678" y="1027527"/>
                    <a:pt x="248592" y="1023900"/>
                    <a:pt x="242887" y="1023381"/>
                  </a:cubicBezTo>
                  <a:cubicBezTo>
                    <a:pt x="227847" y="1022014"/>
                    <a:pt x="212724" y="1021794"/>
                    <a:pt x="197643" y="1021000"/>
                  </a:cubicBezTo>
                  <a:cubicBezTo>
                    <a:pt x="190318" y="1018558"/>
                    <a:pt x="187062" y="1016161"/>
                    <a:pt x="178593" y="1021000"/>
                  </a:cubicBezTo>
                  <a:cubicBezTo>
                    <a:pt x="176108" y="1022420"/>
                    <a:pt x="175855" y="1026120"/>
                    <a:pt x="173831" y="1028144"/>
                  </a:cubicBezTo>
                  <a:cubicBezTo>
                    <a:pt x="171807" y="1030168"/>
                    <a:pt x="169247" y="1031626"/>
                    <a:pt x="166687" y="1032906"/>
                  </a:cubicBezTo>
                  <a:cubicBezTo>
                    <a:pt x="160034" y="1036233"/>
                    <a:pt x="149026" y="1036790"/>
                    <a:pt x="142875" y="1037669"/>
                  </a:cubicBezTo>
                  <a:cubicBezTo>
                    <a:pt x="137318" y="1054337"/>
                    <a:pt x="142874" y="1053543"/>
                    <a:pt x="130968" y="1049575"/>
                  </a:cubicBezTo>
                  <a:lnTo>
                    <a:pt x="121443" y="1035288"/>
                  </a:lnTo>
                  <a:cubicBezTo>
                    <a:pt x="119856" y="1032907"/>
                    <a:pt x="117586" y="1030859"/>
                    <a:pt x="116681" y="1028144"/>
                  </a:cubicBezTo>
                  <a:cubicBezTo>
                    <a:pt x="115887" y="1025763"/>
                    <a:pt x="115907" y="1022928"/>
                    <a:pt x="114300" y="1021000"/>
                  </a:cubicBezTo>
                  <a:cubicBezTo>
                    <a:pt x="103444" y="1007972"/>
                    <a:pt x="102293" y="1020691"/>
                    <a:pt x="95250" y="999569"/>
                  </a:cubicBezTo>
                  <a:cubicBezTo>
                    <a:pt x="94456" y="997188"/>
                    <a:pt x="93477" y="994860"/>
                    <a:pt x="92868" y="992425"/>
                  </a:cubicBezTo>
                  <a:cubicBezTo>
                    <a:pt x="91886" y="988499"/>
                    <a:pt x="92297" y="984139"/>
                    <a:pt x="90487" y="980519"/>
                  </a:cubicBezTo>
                  <a:cubicBezTo>
                    <a:pt x="88732" y="977008"/>
                    <a:pt x="79847" y="970437"/>
                    <a:pt x="76200" y="968613"/>
                  </a:cubicBezTo>
                  <a:cubicBezTo>
                    <a:pt x="73955" y="967490"/>
                    <a:pt x="71250" y="967450"/>
                    <a:pt x="69056" y="966231"/>
                  </a:cubicBezTo>
                  <a:cubicBezTo>
                    <a:pt x="64052" y="963451"/>
                    <a:pt x="54768" y="956706"/>
                    <a:pt x="54768" y="956706"/>
                  </a:cubicBezTo>
                  <a:cubicBezTo>
                    <a:pt x="51593" y="951944"/>
                    <a:pt x="47803" y="947538"/>
                    <a:pt x="45243" y="942419"/>
                  </a:cubicBezTo>
                  <a:cubicBezTo>
                    <a:pt x="42068" y="936069"/>
                    <a:pt x="37963" y="930104"/>
                    <a:pt x="35718" y="923369"/>
                  </a:cubicBezTo>
                  <a:cubicBezTo>
                    <a:pt x="32432" y="913510"/>
                    <a:pt x="34729" y="918314"/>
                    <a:pt x="28575" y="909081"/>
                  </a:cubicBezTo>
                  <a:cubicBezTo>
                    <a:pt x="24975" y="894685"/>
                    <a:pt x="27228" y="902662"/>
                    <a:pt x="21431" y="885269"/>
                  </a:cubicBezTo>
                  <a:cubicBezTo>
                    <a:pt x="21429" y="885264"/>
                    <a:pt x="16671" y="870985"/>
                    <a:pt x="16668" y="870981"/>
                  </a:cubicBezTo>
                  <a:cubicBezTo>
                    <a:pt x="10038" y="861036"/>
                    <a:pt x="13929" y="865861"/>
                    <a:pt x="4762" y="856694"/>
                  </a:cubicBezTo>
                  <a:cubicBezTo>
                    <a:pt x="1037" y="845516"/>
                    <a:pt x="0" y="844069"/>
                    <a:pt x="0" y="828119"/>
                  </a:cubicBezTo>
                  <a:cubicBezTo>
                    <a:pt x="0" y="823291"/>
                    <a:pt x="524" y="818288"/>
                    <a:pt x="2381" y="813831"/>
                  </a:cubicBezTo>
                  <a:cubicBezTo>
                    <a:pt x="4582" y="808548"/>
                    <a:pt x="8731" y="804306"/>
                    <a:pt x="11906" y="799544"/>
                  </a:cubicBezTo>
                  <a:cubicBezTo>
                    <a:pt x="13493" y="797163"/>
                    <a:pt x="15763" y="795115"/>
                    <a:pt x="16668" y="792400"/>
                  </a:cubicBezTo>
                  <a:cubicBezTo>
                    <a:pt x="17462" y="790019"/>
                    <a:pt x="18360" y="787670"/>
                    <a:pt x="19050" y="785256"/>
                  </a:cubicBezTo>
                  <a:cubicBezTo>
                    <a:pt x="19949" y="782109"/>
                    <a:pt x="19807" y="778572"/>
                    <a:pt x="21431" y="775731"/>
                  </a:cubicBezTo>
                  <a:cubicBezTo>
                    <a:pt x="23102" y="772807"/>
                    <a:pt x="25917" y="770655"/>
                    <a:pt x="28575" y="768588"/>
                  </a:cubicBezTo>
                  <a:cubicBezTo>
                    <a:pt x="33093" y="765074"/>
                    <a:pt x="38100" y="762238"/>
                    <a:pt x="42862" y="759063"/>
                  </a:cubicBezTo>
                  <a:lnTo>
                    <a:pt x="57150" y="749538"/>
                  </a:lnTo>
                  <a:lnTo>
                    <a:pt x="64293" y="744775"/>
                  </a:lnTo>
                  <a:lnTo>
                    <a:pt x="71437" y="740013"/>
                  </a:lnTo>
                  <a:cubicBezTo>
                    <a:pt x="73025" y="737632"/>
                    <a:pt x="76761" y="735676"/>
                    <a:pt x="76200" y="732869"/>
                  </a:cubicBezTo>
                  <a:cubicBezTo>
                    <a:pt x="75639" y="730062"/>
                    <a:pt x="70941" y="730260"/>
                    <a:pt x="69056" y="728106"/>
                  </a:cubicBezTo>
                  <a:cubicBezTo>
                    <a:pt x="65287" y="723799"/>
                    <a:pt x="62965" y="718398"/>
                    <a:pt x="59531" y="713819"/>
                  </a:cubicBezTo>
                  <a:lnTo>
                    <a:pt x="52387" y="704294"/>
                  </a:lnTo>
                  <a:cubicBezTo>
                    <a:pt x="50800" y="699531"/>
                    <a:pt x="46408" y="694876"/>
                    <a:pt x="47625" y="690006"/>
                  </a:cubicBezTo>
                  <a:cubicBezTo>
                    <a:pt x="48419" y="686831"/>
                    <a:pt x="48717" y="683489"/>
                    <a:pt x="50006" y="680481"/>
                  </a:cubicBezTo>
                  <a:cubicBezTo>
                    <a:pt x="51605" y="676749"/>
                    <a:pt x="58665" y="668049"/>
                    <a:pt x="61912" y="666194"/>
                  </a:cubicBezTo>
                  <a:cubicBezTo>
                    <a:pt x="64754" y="664570"/>
                    <a:pt x="68262" y="664607"/>
                    <a:pt x="71437" y="663813"/>
                  </a:cubicBezTo>
                  <a:cubicBezTo>
                    <a:pt x="74434" y="661815"/>
                    <a:pt x="84734" y="655622"/>
                    <a:pt x="85725" y="651906"/>
                  </a:cubicBezTo>
                  <a:cubicBezTo>
                    <a:pt x="87475" y="645345"/>
                    <a:pt x="80413" y="621187"/>
                    <a:pt x="95250" y="618569"/>
                  </a:cubicBezTo>
                  <a:cubicBezTo>
                    <a:pt x="106221" y="616633"/>
                    <a:pt x="117475" y="616982"/>
                    <a:pt x="128587" y="616188"/>
                  </a:cubicBezTo>
                  <a:cubicBezTo>
                    <a:pt x="148480" y="602926"/>
                    <a:pt x="138826" y="610711"/>
                    <a:pt x="157162" y="592375"/>
                  </a:cubicBezTo>
                  <a:lnTo>
                    <a:pt x="164306" y="585231"/>
                  </a:lnTo>
                  <a:cubicBezTo>
                    <a:pt x="165100" y="582850"/>
                    <a:pt x="166027" y="580509"/>
                    <a:pt x="166687" y="578088"/>
                  </a:cubicBezTo>
                  <a:cubicBezTo>
                    <a:pt x="168409" y="571773"/>
                    <a:pt x="169380" y="565248"/>
                    <a:pt x="171450" y="559038"/>
                  </a:cubicBezTo>
                  <a:lnTo>
                    <a:pt x="176212" y="544750"/>
                  </a:lnTo>
                  <a:cubicBezTo>
                    <a:pt x="176214" y="544745"/>
                    <a:pt x="180971" y="530468"/>
                    <a:pt x="180975" y="530463"/>
                  </a:cubicBezTo>
                  <a:cubicBezTo>
                    <a:pt x="182562" y="528082"/>
                    <a:pt x="184575" y="525934"/>
                    <a:pt x="185737" y="523319"/>
                  </a:cubicBezTo>
                  <a:cubicBezTo>
                    <a:pt x="187776" y="518731"/>
                    <a:pt x="190500" y="509031"/>
                    <a:pt x="190500" y="509031"/>
                  </a:cubicBezTo>
                  <a:cubicBezTo>
                    <a:pt x="189706" y="497919"/>
                    <a:pt x="190054" y="486665"/>
                    <a:pt x="188118" y="475694"/>
                  </a:cubicBezTo>
                  <a:cubicBezTo>
                    <a:pt x="187324" y="471192"/>
                    <a:pt x="178513" y="464167"/>
                    <a:pt x="176212" y="461406"/>
                  </a:cubicBezTo>
                  <a:cubicBezTo>
                    <a:pt x="174380" y="459208"/>
                    <a:pt x="173282" y="456461"/>
                    <a:pt x="171450" y="454263"/>
                  </a:cubicBezTo>
                  <a:cubicBezTo>
                    <a:pt x="169294" y="451676"/>
                    <a:pt x="166462" y="449706"/>
                    <a:pt x="164306" y="447119"/>
                  </a:cubicBezTo>
                  <a:cubicBezTo>
                    <a:pt x="162474" y="444920"/>
                    <a:pt x="161567" y="441999"/>
                    <a:pt x="159543" y="439975"/>
                  </a:cubicBezTo>
                  <a:cubicBezTo>
                    <a:pt x="157520" y="437952"/>
                    <a:pt x="154781" y="436800"/>
                    <a:pt x="152400" y="435213"/>
                  </a:cubicBezTo>
                  <a:cubicBezTo>
                    <a:pt x="151606" y="432038"/>
                    <a:pt x="151895" y="428369"/>
                    <a:pt x="150018" y="425688"/>
                  </a:cubicBezTo>
                  <a:cubicBezTo>
                    <a:pt x="146156" y="420170"/>
                    <a:pt x="135731" y="411400"/>
                    <a:pt x="135731" y="411400"/>
                  </a:cubicBezTo>
                  <a:cubicBezTo>
                    <a:pt x="129746" y="393443"/>
                    <a:pt x="137820" y="415577"/>
                    <a:pt x="128587" y="397113"/>
                  </a:cubicBezTo>
                  <a:cubicBezTo>
                    <a:pt x="127464" y="394868"/>
                    <a:pt x="126896" y="392383"/>
                    <a:pt x="126206" y="389969"/>
                  </a:cubicBezTo>
                  <a:cubicBezTo>
                    <a:pt x="125307" y="386822"/>
                    <a:pt x="125702" y="383125"/>
                    <a:pt x="123825" y="380444"/>
                  </a:cubicBezTo>
                  <a:cubicBezTo>
                    <a:pt x="119963" y="374926"/>
                    <a:pt x="109537" y="366156"/>
                    <a:pt x="109537" y="366156"/>
                  </a:cubicBezTo>
                  <a:cubicBezTo>
                    <a:pt x="107950" y="362981"/>
                    <a:pt x="106838" y="359519"/>
                    <a:pt x="104775" y="356631"/>
                  </a:cubicBezTo>
                  <a:cubicBezTo>
                    <a:pt x="102818" y="353891"/>
                    <a:pt x="99266" y="352432"/>
                    <a:pt x="97631" y="349488"/>
                  </a:cubicBezTo>
                  <a:cubicBezTo>
                    <a:pt x="95193" y="345100"/>
                    <a:pt x="94456" y="339963"/>
                    <a:pt x="92868" y="335200"/>
                  </a:cubicBezTo>
                  <a:lnTo>
                    <a:pt x="90487" y="328056"/>
                  </a:lnTo>
                  <a:cubicBezTo>
                    <a:pt x="89693" y="312975"/>
                    <a:pt x="89414" y="297858"/>
                    <a:pt x="88106" y="282813"/>
                  </a:cubicBezTo>
                  <a:cubicBezTo>
                    <a:pt x="87823" y="279553"/>
                    <a:pt x="85725" y="276561"/>
                    <a:pt x="85725" y="273288"/>
                  </a:cubicBezTo>
                  <a:cubicBezTo>
                    <a:pt x="85725" y="261355"/>
                    <a:pt x="86144" y="249339"/>
                    <a:pt x="88106" y="237569"/>
                  </a:cubicBezTo>
                  <a:cubicBezTo>
                    <a:pt x="88576" y="234746"/>
                    <a:pt x="90714" y="232310"/>
                    <a:pt x="92868" y="230425"/>
                  </a:cubicBezTo>
                  <a:cubicBezTo>
                    <a:pt x="97176" y="226656"/>
                    <a:pt x="102577" y="224334"/>
                    <a:pt x="107156" y="220900"/>
                  </a:cubicBezTo>
                  <a:cubicBezTo>
                    <a:pt x="113506" y="216138"/>
                    <a:pt x="119107" y="210163"/>
                    <a:pt x="126206" y="206613"/>
                  </a:cubicBezTo>
                  <a:lnTo>
                    <a:pt x="145256" y="197088"/>
                  </a:lnTo>
                  <a:cubicBezTo>
                    <a:pt x="152771" y="193330"/>
                    <a:pt x="163322" y="188546"/>
                    <a:pt x="169068" y="182800"/>
                  </a:cubicBezTo>
                  <a:cubicBezTo>
                    <a:pt x="171449" y="180419"/>
                    <a:pt x="173606" y="177789"/>
                    <a:pt x="176212" y="175656"/>
                  </a:cubicBezTo>
                  <a:cubicBezTo>
                    <a:pt x="182355" y="170630"/>
                    <a:pt x="195262" y="161369"/>
                    <a:pt x="195262" y="161369"/>
                  </a:cubicBezTo>
                  <a:cubicBezTo>
                    <a:pt x="197147" y="155712"/>
                    <a:pt x="199029" y="150673"/>
                    <a:pt x="200025" y="144700"/>
                  </a:cubicBezTo>
                  <a:cubicBezTo>
                    <a:pt x="201077" y="138388"/>
                    <a:pt x="201433" y="131975"/>
                    <a:pt x="202406" y="125650"/>
                  </a:cubicBezTo>
                  <a:cubicBezTo>
                    <a:pt x="203021" y="121650"/>
                    <a:pt x="203993" y="117713"/>
                    <a:pt x="204787" y="113744"/>
                  </a:cubicBezTo>
                  <a:cubicBezTo>
                    <a:pt x="205581" y="105013"/>
                    <a:pt x="204590" y="95930"/>
                    <a:pt x="207168" y="87550"/>
                  </a:cubicBezTo>
                  <a:cubicBezTo>
                    <a:pt x="208010" y="84815"/>
                    <a:pt x="211571" y="83610"/>
                    <a:pt x="214312" y="82788"/>
                  </a:cubicBezTo>
                  <a:cubicBezTo>
                    <a:pt x="247212" y="72918"/>
                    <a:pt x="204788" y="87153"/>
                    <a:pt x="209550" y="85169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8" name="Freeform 358">
              <a:extLst>
                <a:ext uri="{FF2B5EF4-FFF2-40B4-BE49-F238E27FC236}">
                  <a16:creationId xmlns:a16="http://schemas.microsoft.com/office/drawing/2014/main" xmlns="" id="{B9ABE5F6-6557-C245-A20B-9997F6F89E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20088" y="1722253"/>
              <a:ext cx="1133475" cy="1728788"/>
            </a:xfrm>
            <a:custGeom>
              <a:avLst/>
              <a:gdLst>
                <a:gd name="T0" fmla="*/ 0 w 1184627"/>
                <a:gd name="T1" fmla="*/ 0 h 1806875"/>
                <a:gd name="T2" fmla="*/ 1184627 w 1184627"/>
                <a:gd name="T3" fmla="*/ 1806875 h 1806875"/>
              </a:gdLst>
              <a:ahLst/>
              <a:cxnLst/>
              <a:rect l="T0" t="T1" r="T2" b="T3"/>
              <a:pathLst>
                <a:path w="1184627" h="1806875">
                  <a:moveTo>
                    <a:pt x="593725" y="10054"/>
                  </a:moveTo>
                  <a:cubicBezTo>
                    <a:pt x="596371" y="20108"/>
                    <a:pt x="593471" y="31349"/>
                    <a:pt x="603250" y="67204"/>
                  </a:cubicBezTo>
                  <a:cubicBezTo>
                    <a:pt x="604398" y="71414"/>
                    <a:pt x="605226" y="75708"/>
                    <a:pt x="606425" y="79904"/>
                  </a:cubicBezTo>
                  <a:cubicBezTo>
                    <a:pt x="607344" y="83122"/>
                    <a:pt x="608681" y="86211"/>
                    <a:pt x="609600" y="89429"/>
                  </a:cubicBezTo>
                  <a:cubicBezTo>
                    <a:pt x="610799" y="93625"/>
                    <a:pt x="611056" y="98118"/>
                    <a:pt x="612775" y="102129"/>
                  </a:cubicBezTo>
                  <a:cubicBezTo>
                    <a:pt x="614278" y="105636"/>
                    <a:pt x="617008" y="108479"/>
                    <a:pt x="619125" y="111654"/>
                  </a:cubicBezTo>
                  <a:cubicBezTo>
                    <a:pt x="620779" y="119925"/>
                    <a:pt x="622913" y="131902"/>
                    <a:pt x="625475" y="140229"/>
                  </a:cubicBezTo>
                  <a:cubicBezTo>
                    <a:pt x="628428" y="149825"/>
                    <a:pt x="631825" y="159279"/>
                    <a:pt x="635000" y="168804"/>
                  </a:cubicBezTo>
                  <a:cubicBezTo>
                    <a:pt x="636058" y="171979"/>
                    <a:pt x="637519" y="175047"/>
                    <a:pt x="638175" y="178329"/>
                  </a:cubicBezTo>
                  <a:cubicBezTo>
                    <a:pt x="647886" y="226885"/>
                    <a:pt x="632992" y="150406"/>
                    <a:pt x="644525" y="219604"/>
                  </a:cubicBezTo>
                  <a:cubicBezTo>
                    <a:pt x="646299" y="230250"/>
                    <a:pt x="649349" y="240670"/>
                    <a:pt x="650875" y="251354"/>
                  </a:cubicBezTo>
                  <a:cubicBezTo>
                    <a:pt x="653308" y="268384"/>
                    <a:pt x="655436" y="285609"/>
                    <a:pt x="660400" y="302154"/>
                  </a:cubicBezTo>
                  <a:cubicBezTo>
                    <a:pt x="662323" y="308565"/>
                    <a:pt x="666750" y="321204"/>
                    <a:pt x="666750" y="321204"/>
                  </a:cubicBezTo>
                  <a:cubicBezTo>
                    <a:pt x="667808" y="328612"/>
                    <a:pt x="668457" y="336091"/>
                    <a:pt x="669925" y="343429"/>
                  </a:cubicBezTo>
                  <a:cubicBezTo>
                    <a:pt x="670581" y="346711"/>
                    <a:pt x="674822" y="350084"/>
                    <a:pt x="673100" y="352954"/>
                  </a:cubicBezTo>
                  <a:cubicBezTo>
                    <a:pt x="670665" y="357013"/>
                    <a:pt x="664096" y="356347"/>
                    <a:pt x="660400" y="359304"/>
                  </a:cubicBezTo>
                  <a:cubicBezTo>
                    <a:pt x="653388" y="364914"/>
                    <a:pt x="647700" y="372004"/>
                    <a:pt x="641350" y="378354"/>
                  </a:cubicBezTo>
                  <a:cubicBezTo>
                    <a:pt x="638175" y="381529"/>
                    <a:pt x="635561" y="385388"/>
                    <a:pt x="631825" y="387879"/>
                  </a:cubicBezTo>
                  <a:lnTo>
                    <a:pt x="622300" y="394229"/>
                  </a:lnTo>
                  <a:cubicBezTo>
                    <a:pt x="621242" y="398462"/>
                    <a:pt x="620324" y="402733"/>
                    <a:pt x="619125" y="406929"/>
                  </a:cubicBezTo>
                  <a:cubicBezTo>
                    <a:pt x="618206" y="410147"/>
                    <a:pt x="616676" y="413187"/>
                    <a:pt x="615950" y="416454"/>
                  </a:cubicBezTo>
                  <a:cubicBezTo>
                    <a:pt x="614553" y="422738"/>
                    <a:pt x="614038" y="429191"/>
                    <a:pt x="612775" y="435504"/>
                  </a:cubicBezTo>
                  <a:cubicBezTo>
                    <a:pt x="610782" y="445471"/>
                    <a:pt x="609451" y="448651"/>
                    <a:pt x="606425" y="457729"/>
                  </a:cubicBezTo>
                  <a:cubicBezTo>
                    <a:pt x="605367" y="465137"/>
                    <a:pt x="603250" y="472470"/>
                    <a:pt x="603250" y="479954"/>
                  </a:cubicBezTo>
                  <a:cubicBezTo>
                    <a:pt x="603250" y="503574"/>
                    <a:pt x="606295" y="527124"/>
                    <a:pt x="612775" y="549804"/>
                  </a:cubicBezTo>
                  <a:cubicBezTo>
                    <a:pt x="613694" y="553022"/>
                    <a:pt x="614892" y="556154"/>
                    <a:pt x="615950" y="559329"/>
                  </a:cubicBezTo>
                  <a:cubicBezTo>
                    <a:pt x="613833" y="565679"/>
                    <a:pt x="615047" y="574488"/>
                    <a:pt x="609600" y="578379"/>
                  </a:cubicBezTo>
                  <a:cubicBezTo>
                    <a:pt x="605209" y="581516"/>
                    <a:pt x="599034" y="576169"/>
                    <a:pt x="593725" y="575204"/>
                  </a:cubicBezTo>
                  <a:cubicBezTo>
                    <a:pt x="565181" y="570014"/>
                    <a:pt x="584438" y="574470"/>
                    <a:pt x="561975" y="568854"/>
                  </a:cubicBezTo>
                  <a:cubicBezTo>
                    <a:pt x="540441" y="554498"/>
                    <a:pt x="560783" y="567662"/>
                    <a:pt x="568325" y="575204"/>
                  </a:cubicBezTo>
                  <a:cubicBezTo>
                    <a:pt x="571023" y="577902"/>
                    <a:pt x="572558" y="581554"/>
                    <a:pt x="574675" y="584729"/>
                  </a:cubicBezTo>
                  <a:cubicBezTo>
                    <a:pt x="575733" y="588962"/>
                    <a:pt x="578024" y="593069"/>
                    <a:pt x="577850" y="597429"/>
                  </a:cubicBezTo>
                  <a:cubicBezTo>
                    <a:pt x="576958" y="619737"/>
                    <a:pt x="576915" y="642445"/>
                    <a:pt x="571500" y="664104"/>
                  </a:cubicBezTo>
                  <a:cubicBezTo>
                    <a:pt x="570442" y="668337"/>
                    <a:pt x="569857" y="672718"/>
                    <a:pt x="568325" y="676804"/>
                  </a:cubicBezTo>
                  <a:cubicBezTo>
                    <a:pt x="565388" y="684637"/>
                    <a:pt x="560473" y="692242"/>
                    <a:pt x="555625" y="699029"/>
                  </a:cubicBezTo>
                  <a:cubicBezTo>
                    <a:pt x="552549" y="703335"/>
                    <a:pt x="548905" y="707242"/>
                    <a:pt x="546100" y="711729"/>
                  </a:cubicBezTo>
                  <a:cubicBezTo>
                    <a:pt x="543592" y="715743"/>
                    <a:pt x="541867" y="720196"/>
                    <a:pt x="539750" y="724429"/>
                  </a:cubicBezTo>
                  <a:cubicBezTo>
                    <a:pt x="539885" y="725506"/>
                    <a:pt x="541582" y="752577"/>
                    <a:pt x="546100" y="759354"/>
                  </a:cubicBezTo>
                  <a:cubicBezTo>
                    <a:pt x="548591" y="763090"/>
                    <a:pt x="552450" y="765704"/>
                    <a:pt x="555625" y="768879"/>
                  </a:cubicBezTo>
                  <a:cubicBezTo>
                    <a:pt x="557742" y="774171"/>
                    <a:pt x="559043" y="779867"/>
                    <a:pt x="561975" y="784754"/>
                  </a:cubicBezTo>
                  <a:cubicBezTo>
                    <a:pt x="576727" y="809341"/>
                    <a:pt x="570382" y="792388"/>
                    <a:pt x="584200" y="810154"/>
                  </a:cubicBezTo>
                  <a:cubicBezTo>
                    <a:pt x="588885" y="816178"/>
                    <a:pt x="590941" y="824436"/>
                    <a:pt x="596900" y="829204"/>
                  </a:cubicBezTo>
                  <a:cubicBezTo>
                    <a:pt x="605478" y="836066"/>
                    <a:pt x="615142" y="842839"/>
                    <a:pt x="622300" y="851429"/>
                  </a:cubicBezTo>
                  <a:cubicBezTo>
                    <a:pt x="644402" y="877951"/>
                    <a:pt x="610348" y="842652"/>
                    <a:pt x="638175" y="870479"/>
                  </a:cubicBezTo>
                  <a:cubicBezTo>
                    <a:pt x="639233" y="874712"/>
                    <a:pt x="639399" y="879276"/>
                    <a:pt x="641350" y="883179"/>
                  </a:cubicBezTo>
                  <a:cubicBezTo>
                    <a:pt x="643717" y="887912"/>
                    <a:pt x="647431" y="891861"/>
                    <a:pt x="650875" y="895879"/>
                  </a:cubicBezTo>
                  <a:cubicBezTo>
                    <a:pt x="658715" y="905025"/>
                    <a:pt x="668701" y="912729"/>
                    <a:pt x="679450" y="918104"/>
                  </a:cubicBezTo>
                  <a:lnTo>
                    <a:pt x="692150" y="924454"/>
                  </a:lnTo>
                  <a:cubicBezTo>
                    <a:pt x="703048" y="920821"/>
                    <a:pt x="704764" y="921365"/>
                    <a:pt x="714375" y="911754"/>
                  </a:cubicBezTo>
                  <a:cubicBezTo>
                    <a:pt x="718117" y="908012"/>
                    <a:pt x="720158" y="902796"/>
                    <a:pt x="723900" y="899054"/>
                  </a:cubicBezTo>
                  <a:cubicBezTo>
                    <a:pt x="733794" y="889160"/>
                    <a:pt x="749299" y="888471"/>
                    <a:pt x="762000" y="886354"/>
                  </a:cubicBezTo>
                  <a:cubicBezTo>
                    <a:pt x="768350" y="887412"/>
                    <a:pt x="775694" y="885958"/>
                    <a:pt x="781050" y="889529"/>
                  </a:cubicBezTo>
                  <a:cubicBezTo>
                    <a:pt x="790951" y="896130"/>
                    <a:pt x="789353" y="906136"/>
                    <a:pt x="793750" y="914929"/>
                  </a:cubicBezTo>
                  <a:cubicBezTo>
                    <a:pt x="797649" y="922727"/>
                    <a:pt x="804517" y="930666"/>
                    <a:pt x="812800" y="933979"/>
                  </a:cubicBezTo>
                  <a:cubicBezTo>
                    <a:pt x="818777" y="936370"/>
                    <a:pt x="825462" y="936356"/>
                    <a:pt x="831850" y="937154"/>
                  </a:cubicBezTo>
                  <a:cubicBezTo>
                    <a:pt x="839899" y="938160"/>
                    <a:pt x="888734" y="942387"/>
                    <a:pt x="908050" y="946679"/>
                  </a:cubicBezTo>
                  <a:cubicBezTo>
                    <a:pt x="911317" y="947405"/>
                    <a:pt x="914400" y="948796"/>
                    <a:pt x="917575" y="949854"/>
                  </a:cubicBezTo>
                  <a:cubicBezTo>
                    <a:pt x="919692" y="953029"/>
                    <a:pt x="923504" y="955586"/>
                    <a:pt x="923925" y="959379"/>
                  </a:cubicBezTo>
                  <a:cubicBezTo>
                    <a:pt x="924636" y="965777"/>
                    <a:pt x="921936" y="972102"/>
                    <a:pt x="920750" y="978429"/>
                  </a:cubicBezTo>
                  <a:cubicBezTo>
                    <a:pt x="909331" y="1039329"/>
                    <a:pt x="918445" y="985911"/>
                    <a:pt x="911225" y="1029229"/>
                  </a:cubicBezTo>
                  <a:cubicBezTo>
                    <a:pt x="913430" y="1071119"/>
                    <a:pt x="909776" y="1074958"/>
                    <a:pt x="917575" y="1102254"/>
                  </a:cubicBezTo>
                  <a:cubicBezTo>
                    <a:pt x="918494" y="1105472"/>
                    <a:pt x="918894" y="1108994"/>
                    <a:pt x="920750" y="1111779"/>
                  </a:cubicBezTo>
                  <a:cubicBezTo>
                    <a:pt x="924477" y="1117369"/>
                    <a:pt x="948259" y="1136433"/>
                    <a:pt x="949325" y="1137179"/>
                  </a:cubicBezTo>
                  <a:cubicBezTo>
                    <a:pt x="953202" y="1139893"/>
                    <a:pt x="957433" y="1142381"/>
                    <a:pt x="962025" y="1143529"/>
                  </a:cubicBezTo>
                  <a:cubicBezTo>
                    <a:pt x="974516" y="1146652"/>
                    <a:pt x="987500" y="1147354"/>
                    <a:pt x="1000125" y="1149879"/>
                  </a:cubicBezTo>
                  <a:cubicBezTo>
                    <a:pt x="1003407" y="1150535"/>
                    <a:pt x="1006657" y="1151557"/>
                    <a:pt x="1009650" y="1153054"/>
                  </a:cubicBezTo>
                  <a:cubicBezTo>
                    <a:pt x="1013063" y="1154761"/>
                    <a:pt x="1016000" y="1157287"/>
                    <a:pt x="1019175" y="1159404"/>
                  </a:cubicBezTo>
                  <a:cubicBezTo>
                    <a:pt x="1021292" y="1163637"/>
                    <a:pt x="1024028" y="1167614"/>
                    <a:pt x="1025525" y="1172104"/>
                  </a:cubicBezTo>
                  <a:cubicBezTo>
                    <a:pt x="1028285" y="1180383"/>
                    <a:pt x="1029115" y="1189225"/>
                    <a:pt x="1031875" y="1197504"/>
                  </a:cubicBezTo>
                  <a:lnTo>
                    <a:pt x="1035050" y="1207029"/>
                  </a:lnTo>
                  <a:cubicBezTo>
                    <a:pt x="1029502" y="1245864"/>
                    <a:pt x="1036299" y="1215019"/>
                    <a:pt x="1025525" y="1241954"/>
                  </a:cubicBezTo>
                  <a:cubicBezTo>
                    <a:pt x="1023039" y="1248169"/>
                    <a:pt x="1019175" y="1261004"/>
                    <a:pt x="1019175" y="1261004"/>
                  </a:cubicBezTo>
                  <a:cubicBezTo>
                    <a:pt x="1020233" y="1290637"/>
                    <a:pt x="1016885" y="1320760"/>
                    <a:pt x="1022350" y="1349904"/>
                  </a:cubicBezTo>
                  <a:cubicBezTo>
                    <a:pt x="1023599" y="1356565"/>
                    <a:pt x="1032478" y="1359012"/>
                    <a:pt x="1038225" y="1362604"/>
                  </a:cubicBezTo>
                  <a:cubicBezTo>
                    <a:pt x="1042063" y="1365003"/>
                    <a:pt x="1057316" y="1367779"/>
                    <a:pt x="1060450" y="1368954"/>
                  </a:cubicBezTo>
                  <a:cubicBezTo>
                    <a:pt x="1064882" y="1370616"/>
                    <a:pt x="1068917" y="1373187"/>
                    <a:pt x="1073150" y="1375304"/>
                  </a:cubicBezTo>
                  <a:cubicBezTo>
                    <a:pt x="1075267" y="1379537"/>
                    <a:pt x="1077578" y="1383679"/>
                    <a:pt x="1079500" y="1388004"/>
                  </a:cubicBezTo>
                  <a:cubicBezTo>
                    <a:pt x="1081815" y="1393212"/>
                    <a:pt x="1083301" y="1398781"/>
                    <a:pt x="1085850" y="1403879"/>
                  </a:cubicBezTo>
                  <a:cubicBezTo>
                    <a:pt x="1090270" y="1412720"/>
                    <a:pt x="1094703" y="1415907"/>
                    <a:pt x="1101725" y="1422929"/>
                  </a:cubicBezTo>
                  <a:cubicBezTo>
                    <a:pt x="1100667" y="1432454"/>
                    <a:pt x="1098550" y="1441920"/>
                    <a:pt x="1098550" y="1451504"/>
                  </a:cubicBezTo>
                  <a:cubicBezTo>
                    <a:pt x="1098550" y="1458988"/>
                    <a:pt x="1100587" y="1466332"/>
                    <a:pt x="1101725" y="1473729"/>
                  </a:cubicBezTo>
                  <a:cubicBezTo>
                    <a:pt x="1104918" y="1494484"/>
                    <a:pt x="1103141" y="1487502"/>
                    <a:pt x="1108075" y="1502304"/>
                  </a:cubicBezTo>
                  <a:cubicBezTo>
                    <a:pt x="1109133" y="1513946"/>
                    <a:pt x="1110026" y="1525604"/>
                    <a:pt x="1111250" y="1537229"/>
                  </a:cubicBezTo>
                  <a:cubicBezTo>
                    <a:pt x="1112126" y="1545547"/>
                    <a:pt x="1112791" y="1562537"/>
                    <a:pt x="1117600" y="1572154"/>
                  </a:cubicBezTo>
                  <a:cubicBezTo>
                    <a:pt x="1119307" y="1575567"/>
                    <a:pt x="1122057" y="1578366"/>
                    <a:pt x="1123950" y="1581679"/>
                  </a:cubicBezTo>
                  <a:cubicBezTo>
                    <a:pt x="1131587" y="1595044"/>
                    <a:pt x="1129840" y="1598410"/>
                    <a:pt x="1143000" y="1610254"/>
                  </a:cubicBezTo>
                  <a:cubicBezTo>
                    <a:pt x="1153373" y="1619589"/>
                    <a:pt x="1165014" y="1622743"/>
                    <a:pt x="1174750" y="1632479"/>
                  </a:cubicBezTo>
                  <a:cubicBezTo>
                    <a:pt x="1177448" y="1635177"/>
                    <a:pt x="1178983" y="1638829"/>
                    <a:pt x="1181100" y="1642004"/>
                  </a:cubicBezTo>
                  <a:cubicBezTo>
                    <a:pt x="1180042" y="1694921"/>
                    <a:pt x="1184627" y="1748253"/>
                    <a:pt x="1177925" y="1800754"/>
                  </a:cubicBezTo>
                  <a:cubicBezTo>
                    <a:pt x="1177144" y="1806875"/>
                    <a:pt x="1167445" y="1794226"/>
                    <a:pt x="1162050" y="1791229"/>
                  </a:cubicBezTo>
                  <a:cubicBezTo>
                    <a:pt x="1157913" y="1788930"/>
                    <a:pt x="1153331" y="1787438"/>
                    <a:pt x="1149350" y="1784879"/>
                  </a:cubicBezTo>
                  <a:cubicBezTo>
                    <a:pt x="1118446" y="1765012"/>
                    <a:pt x="1122853" y="1762726"/>
                    <a:pt x="1092200" y="1749954"/>
                  </a:cubicBezTo>
                  <a:cubicBezTo>
                    <a:pt x="1088172" y="1748276"/>
                    <a:pt x="1083733" y="1747837"/>
                    <a:pt x="1079500" y="1746779"/>
                  </a:cubicBezTo>
                  <a:cubicBezTo>
                    <a:pt x="1073150" y="1742546"/>
                    <a:pt x="1067150" y="1737733"/>
                    <a:pt x="1060450" y="1734079"/>
                  </a:cubicBezTo>
                  <a:cubicBezTo>
                    <a:pt x="1025419" y="1714971"/>
                    <a:pt x="1061931" y="1739413"/>
                    <a:pt x="1031875" y="1721379"/>
                  </a:cubicBezTo>
                  <a:cubicBezTo>
                    <a:pt x="1025331" y="1717452"/>
                    <a:pt x="1019264" y="1712776"/>
                    <a:pt x="1012825" y="1708679"/>
                  </a:cubicBezTo>
                  <a:cubicBezTo>
                    <a:pt x="977923" y="1686469"/>
                    <a:pt x="1013950" y="1709775"/>
                    <a:pt x="984250" y="1692804"/>
                  </a:cubicBezTo>
                  <a:cubicBezTo>
                    <a:pt x="980937" y="1690911"/>
                    <a:pt x="978038" y="1688347"/>
                    <a:pt x="974725" y="1686454"/>
                  </a:cubicBezTo>
                  <a:cubicBezTo>
                    <a:pt x="963740" y="1680177"/>
                    <a:pt x="963186" y="1680491"/>
                    <a:pt x="952500" y="1676929"/>
                  </a:cubicBezTo>
                  <a:cubicBezTo>
                    <a:pt x="939744" y="1666724"/>
                    <a:pt x="935207" y="1661933"/>
                    <a:pt x="920750" y="1654704"/>
                  </a:cubicBezTo>
                  <a:cubicBezTo>
                    <a:pt x="915652" y="1652155"/>
                    <a:pt x="910063" y="1650712"/>
                    <a:pt x="904875" y="1648354"/>
                  </a:cubicBezTo>
                  <a:cubicBezTo>
                    <a:pt x="889666" y="1641441"/>
                    <a:pt x="883776" y="1637813"/>
                    <a:pt x="869950" y="1629304"/>
                  </a:cubicBezTo>
                  <a:cubicBezTo>
                    <a:pt x="861447" y="1624071"/>
                    <a:pt x="852346" y="1619666"/>
                    <a:pt x="844550" y="1613429"/>
                  </a:cubicBezTo>
                  <a:cubicBezTo>
                    <a:pt x="839258" y="1609196"/>
                    <a:pt x="834314" y="1604488"/>
                    <a:pt x="828675" y="1600729"/>
                  </a:cubicBezTo>
                  <a:cubicBezTo>
                    <a:pt x="820828" y="1595498"/>
                    <a:pt x="814917" y="1594026"/>
                    <a:pt x="806450" y="1591204"/>
                  </a:cubicBezTo>
                  <a:cubicBezTo>
                    <a:pt x="802217" y="1588029"/>
                    <a:pt x="798237" y="1584484"/>
                    <a:pt x="793750" y="1581679"/>
                  </a:cubicBezTo>
                  <a:cubicBezTo>
                    <a:pt x="784130" y="1575667"/>
                    <a:pt x="775597" y="1573611"/>
                    <a:pt x="765175" y="1568979"/>
                  </a:cubicBezTo>
                  <a:cubicBezTo>
                    <a:pt x="760850" y="1567057"/>
                    <a:pt x="756584" y="1564977"/>
                    <a:pt x="752475" y="1562629"/>
                  </a:cubicBezTo>
                  <a:cubicBezTo>
                    <a:pt x="749162" y="1560736"/>
                    <a:pt x="746003" y="1558569"/>
                    <a:pt x="742950" y="1556279"/>
                  </a:cubicBezTo>
                  <a:cubicBezTo>
                    <a:pt x="737529" y="1552213"/>
                    <a:pt x="732886" y="1547066"/>
                    <a:pt x="727075" y="1543579"/>
                  </a:cubicBezTo>
                  <a:cubicBezTo>
                    <a:pt x="722188" y="1540647"/>
                    <a:pt x="716492" y="1539346"/>
                    <a:pt x="711200" y="1537229"/>
                  </a:cubicBezTo>
                  <a:cubicBezTo>
                    <a:pt x="687183" y="1505207"/>
                    <a:pt x="717748" y="1544713"/>
                    <a:pt x="688975" y="1511829"/>
                  </a:cubicBezTo>
                  <a:cubicBezTo>
                    <a:pt x="685490" y="1507847"/>
                    <a:pt x="683192" y="1502871"/>
                    <a:pt x="679450" y="1499129"/>
                  </a:cubicBezTo>
                  <a:cubicBezTo>
                    <a:pt x="675708" y="1495387"/>
                    <a:pt x="670768" y="1493048"/>
                    <a:pt x="666750" y="1489604"/>
                  </a:cubicBezTo>
                  <a:cubicBezTo>
                    <a:pt x="657463" y="1481644"/>
                    <a:pt x="655229" y="1477417"/>
                    <a:pt x="647700" y="1467379"/>
                  </a:cubicBezTo>
                  <a:cubicBezTo>
                    <a:pt x="644336" y="1457286"/>
                    <a:pt x="642998" y="1450977"/>
                    <a:pt x="635000" y="1441979"/>
                  </a:cubicBezTo>
                  <a:cubicBezTo>
                    <a:pt x="630498" y="1436914"/>
                    <a:pt x="624417" y="1433512"/>
                    <a:pt x="619125" y="1429279"/>
                  </a:cubicBezTo>
                  <a:cubicBezTo>
                    <a:pt x="618067" y="1425046"/>
                    <a:pt x="617901" y="1420482"/>
                    <a:pt x="615950" y="1416579"/>
                  </a:cubicBezTo>
                  <a:cubicBezTo>
                    <a:pt x="613583" y="1411846"/>
                    <a:pt x="609230" y="1408366"/>
                    <a:pt x="606425" y="1403879"/>
                  </a:cubicBezTo>
                  <a:cubicBezTo>
                    <a:pt x="603917" y="1399865"/>
                    <a:pt x="602192" y="1395412"/>
                    <a:pt x="600075" y="1391179"/>
                  </a:cubicBezTo>
                  <a:cubicBezTo>
                    <a:pt x="599017" y="1381654"/>
                    <a:pt x="597696" y="1372155"/>
                    <a:pt x="596900" y="1362604"/>
                  </a:cubicBezTo>
                  <a:cubicBezTo>
                    <a:pt x="596870" y="1362246"/>
                    <a:pt x="595657" y="1312722"/>
                    <a:pt x="590550" y="1299104"/>
                  </a:cubicBezTo>
                  <a:cubicBezTo>
                    <a:pt x="587046" y="1289759"/>
                    <a:pt x="575450" y="1281629"/>
                    <a:pt x="568325" y="1276879"/>
                  </a:cubicBezTo>
                  <a:cubicBezTo>
                    <a:pt x="557058" y="1269368"/>
                    <a:pt x="553129" y="1270030"/>
                    <a:pt x="539750" y="1267354"/>
                  </a:cubicBezTo>
                  <a:cubicBezTo>
                    <a:pt x="538730" y="1266334"/>
                    <a:pt x="523195" y="1252044"/>
                    <a:pt x="523875" y="1248304"/>
                  </a:cubicBezTo>
                  <a:cubicBezTo>
                    <a:pt x="525568" y="1238991"/>
                    <a:pt x="532342" y="1231371"/>
                    <a:pt x="536575" y="1222904"/>
                  </a:cubicBezTo>
                  <a:cubicBezTo>
                    <a:pt x="554254" y="1187546"/>
                    <a:pt x="533131" y="1232087"/>
                    <a:pt x="546100" y="1197504"/>
                  </a:cubicBezTo>
                  <a:cubicBezTo>
                    <a:pt x="547762" y="1193072"/>
                    <a:pt x="550333" y="1189037"/>
                    <a:pt x="552450" y="1184804"/>
                  </a:cubicBezTo>
                  <a:cubicBezTo>
                    <a:pt x="551392" y="1168929"/>
                    <a:pt x="552960" y="1152657"/>
                    <a:pt x="549275" y="1137179"/>
                  </a:cubicBezTo>
                  <a:cubicBezTo>
                    <a:pt x="547507" y="1129755"/>
                    <a:pt x="538988" y="1125369"/>
                    <a:pt x="536575" y="1118129"/>
                  </a:cubicBezTo>
                  <a:lnTo>
                    <a:pt x="530225" y="1099079"/>
                  </a:lnTo>
                  <a:cubicBezTo>
                    <a:pt x="525378" y="1074846"/>
                    <a:pt x="524000" y="1069726"/>
                    <a:pt x="520700" y="1048279"/>
                  </a:cubicBezTo>
                  <a:cubicBezTo>
                    <a:pt x="519562" y="1040882"/>
                    <a:pt x="518864" y="1033417"/>
                    <a:pt x="517525" y="1026054"/>
                  </a:cubicBezTo>
                  <a:cubicBezTo>
                    <a:pt x="516100" y="1018216"/>
                    <a:pt x="509159" y="995767"/>
                    <a:pt x="508000" y="991129"/>
                  </a:cubicBezTo>
                  <a:cubicBezTo>
                    <a:pt x="507096" y="987513"/>
                    <a:pt x="503606" y="967117"/>
                    <a:pt x="501650" y="962554"/>
                  </a:cubicBezTo>
                  <a:cubicBezTo>
                    <a:pt x="500147" y="959047"/>
                    <a:pt x="497417" y="956204"/>
                    <a:pt x="495300" y="953029"/>
                  </a:cubicBezTo>
                  <a:cubicBezTo>
                    <a:pt x="492587" y="942176"/>
                    <a:pt x="487069" y="912814"/>
                    <a:pt x="479425" y="899054"/>
                  </a:cubicBezTo>
                  <a:cubicBezTo>
                    <a:pt x="468652" y="879662"/>
                    <a:pt x="464339" y="889511"/>
                    <a:pt x="457200" y="860954"/>
                  </a:cubicBezTo>
                  <a:cubicBezTo>
                    <a:pt x="449925" y="831852"/>
                    <a:pt x="455691" y="842816"/>
                    <a:pt x="444500" y="826029"/>
                  </a:cubicBezTo>
                  <a:cubicBezTo>
                    <a:pt x="443442" y="820737"/>
                    <a:pt x="442146" y="815488"/>
                    <a:pt x="441325" y="810154"/>
                  </a:cubicBezTo>
                  <a:cubicBezTo>
                    <a:pt x="440028" y="801721"/>
                    <a:pt x="439722" y="793140"/>
                    <a:pt x="438150" y="784754"/>
                  </a:cubicBezTo>
                  <a:cubicBezTo>
                    <a:pt x="433335" y="759073"/>
                    <a:pt x="430951" y="763563"/>
                    <a:pt x="428625" y="740304"/>
                  </a:cubicBezTo>
                  <a:cubicBezTo>
                    <a:pt x="426089" y="714942"/>
                    <a:pt x="426010" y="689317"/>
                    <a:pt x="422275" y="664104"/>
                  </a:cubicBezTo>
                  <a:cubicBezTo>
                    <a:pt x="421716" y="660329"/>
                    <a:pt x="417632" y="657992"/>
                    <a:pt x="415925" y="654579"/>
                  </a:cubicBezTo>
                  <a:cubicBezTo>
                    <a:pt x="414428" y="651586"/>
                    <a:pt x="414841" y="647667"/>
                    <a:pt x="412750" y="645054"/>
                  </a:cubicBezTo>
                  <a:cubicBezTo>
                    <a:pt x="372238" y="594414"/>
                    <a:pt x="404920" y="638007"/>
                    <a:pt x="381000" y="616479"/>
                  </a:cubicBezTo>
                  <a:cubicBezTo>
                    <a:pt x="351981" y="590362"/>
                    <a:pt x="366615" y="601853"/>
                    <a:pt x="346075" y="578379"/>
                  </a:cubicBezTo>
                  <a:cubicBezTo>
                    <a:pt x="343118" y="575000"/>
                    <a:pt x="339425" y="572303"/>
                    <a:pt x="336550" y="568854"/>
                  </a:cubicBezTo>
                  <a:cubicBezTo>
                    <a:pt x="334107" y="565923"/>
                    <a:pt x="332643" y="562260"/>
                    <a:pt x="330200" y="559329"/>
                  </a:cubicBezTo>
                  <a:cubicBezTo>
                    <a:pt x="309828" y="534883"/>
                    <a:pt x="330091" y="563928"/>
                    <a:pt x="314325" y="540279"/>
                  </a:cubicBezTo>
                  <a:cubicBezTo>
                    <a:pt x="318813" y="517840"/>
                    <a:pt x="315793" y="529524"/>
                    <a:pt x="323850" y="505354"/>
                  </a:cubicBezTo>
                  <a:lnTo>
                    <a:pt x="327025" y="495829"/>
                  </a:lnTo>
                  <a:cubicBezTo>
                    <a:pt x="325967" y="489479"/>
                    <a:pt x="328040" y="481667"/>
                    <a:pt x="323850" y="476779"/>
                  </a:cubicBezTo>
                  <a:cubicBezTo>
                    <a:pt x="320338" y="472682"/>
                    <a:pt x="313284" y="474569"/>
                    <a:pt x="307975" y="473604"/>
                  </a:cubicBezTo>
                  <a:cubicBezTo>
                    <a:pt x="283389" y="469134"/>
                    <a:pt x="296194" y="472852"/>
                    <a:pt x="279400" y="467254"/>
                  </a:cubicBezTo>
                  <a:cubicBezTo>
                    <a:pt x="276225" y="471487"/>
                    <a:pt x="273319" y="475936"/>
                    <a:pt x="269875" y="479954"/>
                  </a:cubicBezTo>
                  <a:cubicBezTo>
                    <a:pt x="266953" y="483363"/>
                    <a:pt x="263107" y="485935"/>
                    <a:pt x="260350" y="489479"/>
                  </a:cubicBezTo>
                  <a:cubicBezTo>
                    <a:pt x="253168" y="498713"/>
                    <a:pt x="246013" y="510233"/>
                    <a:pt x="241300" y="521229"/>
                  </a:cubicBezTo>
                  <a:cubicBezTo>
                    <a:pt x="239982" y="524305"/>
                    <a:pt x="239183" y="527579"/>
                    <a:pt x="238125" y="530754"/>
                  </a:cubicBezTo>
                  <a:cubicBezTo>
                    <a:pt x="239183" y="539221"/>
                    <a:pt x="238018" y="548278"/>
                    <a:pt x="241300" y="556154"/>
                  </a:cubicBezTo>
                  <a:cubicBezTo>
                    <a:pt x="243603" y="561680"/>
                    <a:pt x="249211" y="565262"/>
                    <a:pt x="254000" y="568854"/>
                  </a:cubicBezTo>
                  <a:cubicBezTo>
                    <a:pt x="257786" y="571694"/>
                    <a:pt x="262350" y="573340"/>
                    <a:pt x="266700" y="575204"/>
                  </a:cubicBezTo>
                  <a:cubicBezTo>
                    <a:pt x="273077" y="577937"/>
                    <a:pt x="282480" y="579943"/>
                    <a:pt x="288925" y="581554"/>
                  </a:cubicBezTo>
                  <a:cubicBezTo>
                    <a:pt x="293158" y="584729"/>
                    <a:pt x="298237" y="587014"/>
                    <a:pt x="301625" y="591079"/>
                  </a:cubicBezTo>
                  <a:cubicBezTo>
                    <a:pt x="303768" y="593650"/>
                    <a:pt x="303303" y="597611"/>
                    <a:pt x="304800" y="600604"/>
                  </a:cubicBezTo>
                  <a:cubicBezTo>
                    <a:pt x="306507" y="604017"/>
                    <a:pt x="309443" y="606716"/>
                    <a:pt x="311150" y="610129"/>
                  </a:cubicBezTo>
                  <a:cubicBezTo>
                    <a:pt x="314779" y="617387"/>
                    <a:pt x="315689" y="628283"/>
                    <a:pt x="317500" y="635529"/>
                  </a:cubicBezTo>
                  <a:cubicBezTo>
                    <a:pt x="318312" y="638776"/>
                    <a:pt x="319617" y="641879"/>
                    <a:pt x="320675" y="645054"/>
                  </a:cubicBezTo>
                  <a:cubicBezTo>
                    <a:pt x="322049" y="654674"/>
                    <a:pt x="327412" y="676223"/>
                    <a:pt x="320675" y="686329"/>
                  </a:cubicBezTo>
                  <a:cubicBezTo>
                    <a:pt x="318819" y="689114"/>
                    <a:pt x="319356" y="679589"/>
                    <a:pt x="317500" y="676804"/>
                  </a:cubicBezTo>
                  <a:cubicBezTo>
                    <a:pt x="315009" y="673068"/>
                    <a:pt x="310850" y="670728"/>
                    <a:pt x="307975" y="667279"/>
                  </a:cubicBezTo>
                  <a:cubicBezTo>
                    <a:pt x="305532" y="664348"/>
                    <a:pt x="304068" y="660685"/>
                    <a:pt x="301625" y="657754"/>
                  </a:cubicBezTo>
                  <a:cubicBezTo>
                    <a:pt x="298750" y="654305"/>
                    <a:pt x="294975" y="651678"/>
                    <a:pt x="292100" y="648229"/>
                  </a:cubicBezTo>
                  <a:cubicBezTo>
                    <a:pt x="289657" y="645298"/>
                    <a:pt x="288448" y="641402"/>
                    <a:pt x="285750" y="638704"/>
                  </a:cubicBezTo>
                  <a:cubicBezTo>
                    <a:pt x="283052" y="636006"/>
                    <a:pt x="279400" y="634471"/>
                    <a:pt x="276225" y="632354"/>
                  </a:cubicBezTo>
                  <a:cubicBezTo>
                    <a:pt x="270044" y="613811"/>
                    <a:pt x="277886" y="630840"/>
                    <a:pt x="263525" y="616479"/>
                  </a:cubicBezTo>
                  <a:cubicBezTo>
                    <a:pt x="251811" y="604765"/>
                    <a:pt x="263254" y="607832"/>
                    <a:pt x="247650" y="597429"/>
                  </a:cubicBezTo>
                  <a:cubicBezTo>
                    <a:pt x="244865" y="595573"/>
                    <a:pt x="241118" y="595751"/>
                    <a:pt x="238125" y="594254"/>
                  </a:cubicBezTo>
                  <a:cubicBezTo>
                    <a:pt x="234712" y="592547"/>
                    <a:pt x="232013" y="589611"/>
                    <a:pt x="228600" y="587904"/>
                  </a:cubicBezTo>
                  <a:cubicBezTo>
                    <a:pt x="217158" y="582183"/>
                    <a:pt x="196431" y="582465"/>
                    <a:pt x="187325" y="581554"/>
                  </a:cubicBezTo>
                  <a:cubicBezTo>
                    <a:pt x="184150" y="580496"/>
                    <a:pt x="180585" y="580235"/>
                    <a:pt x="177800" y="578379"/>
                  </a:cubicBezTo>
                  <a:cubicBezTo>
                    <a:pt x="170756" y="573683"/>
                    <a:pt x="157377" y="555210"/>
                    <a:pt x="155575" y="549804"/>
                  </a:cubicBezTo>
                  <a:cubicBezTo>
                    <a:pt x="152993" y="542057"/>
                    <a:pt x="152205" y="536909"/>
                    <a:pt x="146050" y="530754"/>
                  </a:cubicBezTo>
                  <a:cubicBezTo>
                    <a:pt x="143352" y="528056"/>
                    <a:pt x="139700" y="526521"/>
                    <a:pt x="136525" y="524404"/>
                  </a:cubicBezTo>
                  <a:cubicBezTo>
                    <a:pt x="132058" y="517704"/>
                    <a:pt x="127727" y="509857"/>
                    <a:pt x="120650" y="505354"/>
                  </a:cubicBezTo>
                  <a:cubicBezTo>
                    <a:pt x="112664" y="500272"/>
                    <a:pt x="103126" y="497905"/>
                    <a:pt x="95250" y="492654"/>
                  </a:cubicBezTo>
                  <a:cubicBezTo>
                    <a:pt x="71601" y="476888"/>
                    <a:pt x="100646" y="497151"/>
                    <a:pt x="76200" y="476779"/>
                  </a:cubicBezTo>
                  <a:cubicBezTo>
                    <a:pt x="73269" y="474336"/>
                    <a:pt x="69850" y="472546"/>
                    <a:pt x="66675" y="470429"/>
                  </a:cubicBezTo>
                  <a:cubicBezTo>
                    <a:pt x="64558" y="467254"/>
                    <a:pt x="63197" y="463417"/>
                    <a:pt x="60325" y="460904"/>
                  </a:cubicBezTo>
                  <a:cubicBezTo>
                    <a:pt x="54582" y="455878"/>
                    <a:pt x="47625" y="452437"/>
                    <a:pt x="41275" y="448204"/>
                  </a:cubicBezTo>
                  <a:cubicBezTo>
                    <a:pt x="38100" y="446087"/>
                    <a:pt x="35370" y="443061"/>
                    <a:pt x="31750" y="441854"/>
                  </a:cubicBezTo>
                  <a:cubicBezTo>
                    <a:pt x="8560" y="434124"/>
                    <a:pt x="19194" y="437127"/>
                    <a:pt x="0" y="432329"/>
                  </a:cubicBezTo>
                  <a:cubicBezTo>
                    <a:pt x="236" y="431386"/>
                    <a:pt x="4672" y="412262"/>
                    <a:pt x="6350" y="410104"/>
                  </a:cubicBezTo>
                  <a:cubicBezTo>
                    <a:pt x="11863" y="403015"/>
                    <a:pt x="25400" y="391054"/>
                    <a:pt x="25400" y="391054"/>
                  </a:cubicBezTo>
                  <a:lnTo>
                    <a:pt x="31750" y="372004"/>
                  </a:lnTo>
                  <a:cubicBezTo>
                    <a:pt x="32808" y="368829"/>
                    <a:pt x="32558" y="364846"/>
                    <a:pt x="34925" y="362479"/>
                  </a:cubicBezTo>
                  <a:cubicBezTo>
                    <a:pt x="52981" y="344423"/>
                    <a:pt x="35595" y="358969"/>
                    <a:pt x="53975" y="349779"/>
                  </a:cubicBezTo>
                  <a:cubicBezTo>
                    <a:pt x="78594" y="337469"/>
                    <a:pt x="49084" y="348234"/>
                    <a:pt x="73025" y="340254"/>
                  </a:cubicBezTo>
                  <a:cubicBezTo>
                    <a:pt x="76200" y="336021"/>
                    <a:pt x="78808" y="331296"/>
                    <a:pt x="82550" y="327554"/>
                  </a:cubicBezTo>
                  <a:cubicBezTo>
                    <a:pt x="106539" y="303565"/>
                    <a:pt x="85019" y="333551"/>
                    <a:pt x="104775" y="305329"/>
                  </a:cubicBezTo>
                  <a:cubicBezTo>
                    <a:pt x="109152" y="299077"/>
                    <a:pt x="113242" y="292629"/>
                    <a:pt x="117475" y="286279"/>
                  </a:cubicBezTo>
                  <a:lnTo>
                    <a:pt x="123825" y="276754"/>
                  </a:lnTo>
                  <a:cubicBezTo>
                    <a:pt x="132224" y="243159"/>
                    <a:pt x="120821" y="282720"/>
                    <a:pt x="133350" y="254529"/>
                  </a:cubicBezTo>
                  <a:cubicBezTo>
                    <a:pt x="136068" y="248412"/>
                    <a:pt x="134131" y="239192"/>
                    <a:pt x="139700" y="235479"/>
                  </a:cubicBezTo>
                  <a:lnTo>
                    <a:pt x="158750" y="222779"/>
                  </a:lnTo>
                  <a:cubicBezTo>
                    <a:pt x="161925" y="220662"/>
                    <a:pt x="164655" y="217636"/>
                    <a:pt x="168275" y="216429"/>
                  </a:cubicBezTo>
                  <a:lnTo>
                    <a:pt x="187325" y="210079"/>
                  </a:lnTo>
                  <a:cubicBezTo>
                    <a:pt x="190500" y="209021"/>
                    <a:pt x="193857" y="208401"/>
                    <a:pt x="196850" y="206904"/>
                  </a:cubicBezTo>
                  <a:cubicBezTo>
                    <a:pt x="201083" y="204787"/>
                    <a:pt x="205491" y="202989"/>
                    <a:pt x="209550" y="200554"/>
                  </a:cubicBezTo>
                  <a:cubicBezTo>
                    <a:pt x="236843" y="184178"/>
                    <a:pt x="218966" y="191065"/>
                    <a:pt x="238125" y="184679"/>
                  </a:cubicBezTo>
                  <a:cubicBezTo>
                    <a:pt x="252942" y="185737"/>
                    <a:pt x="268115" y="184452"/>
                    <a:pt x="282575" y="187854"/>
                  </a:cubicBezTo>
                  <a:cubicBezTo>
                    <a:pt x="293383" y="190397"/>
                    <a:pt x="291488" y="200087"/>
                    <a:pt x="295275" y="206904"/>
                  </a:cubicBezTo>
                  <a:cubicBezTo>
                    <a:pt x="298981" y="213575"/>
                    <a:pt x="305562" y="218714"/>
                    <a:pt x="307975" y="225954"/>
                  </a:cubicBezTo>
                  <a:cubicBezTo>
                    <a:pt x="309033" y="229129"/>
                    <a:pt x="309294" y="232694"/>
                    <a:pt x="311150" y="235479"/>
                  </a:cubicBezTo>
                  <a:cubicBezTo>
                    <a:pt x="313641" y="239215"/>
                    <a:pt x="316750" y="242823"/>
                    <a:pt x="320675" y="245004"/>
                  </a:cubicBezTo>
                  <a:cubicBezTo>
                    <a:pt x="326526" y="248255"/>
                    <a:pt x="339725" y="251354"/>
                    <a:pt x="339725" y="251354"/>
                  </a:cubicBezTo>
                  <a:cubicBezTo>
                    <a:pt x="347133" y="250296"/>
                    <a:pt x="355002" y="250958"/>
                    <a:pt x="361950" y="248179"/>
                  </a:cubicBezTo>
                  <a:cubicBezTo>
                    <a:pt x="382420" y="239991"/>
                    <a:pt x="360821" y="237313"/>
                    <a:pt x="381000" y="235479"/>
                  </a:cubicBezTo>
                  <a:cubicBezTo>
                    <a:pt x="401053" y="233656"/>
                    <a:pt x="421217" y="233362"/>
                    <a:pt x="441325" y="232304"/>
                  </a:cubicBezTo>
                  <a:cubicBezTo>
                    <a:pt x="444500" y="230187"/>
                    <a:pt x="447998" y="228489"/>
                    <a:pt x="450850" y="225954"/>
                  </a:cubicBezTo>
                  <a:cubicBezTo>
                    <a:pt x="457562" y="219988"/>
                    <a:pt x="469900" y="206904"/>
                    <a:pt x="469900" y="206904"/>
                  </a:cubicBezTo>
                  <a:cubicBezTo>
                    <a:pt x="470958" y="203729"/>
                    <a:pt x="471450" y="200305"/>
                    <a:pt x="473075" y="197379"/>
                  </a:cubicBezTo>
                  <a:cubicBezTo>
                    <a:pt x="476781" y="190708"/>
                    <a:pt x="481542" y="184679"/>
                    <a:pt x="485775" y="178329"/>
                  </a:cubicBezTo>
                  <a:cubicBezTo>
                    <a:pt x="487892" y="175154"/>
                    <a:pt x="489427" y="171502"/>
                    <a:pt x="492125" y="168804"/>
                  </a:cubicBezTo>
                  <a:lnTo>
                    <a:pt x="501650" y="159279"/>
                  </a:lnTo>
                  <a:cubicBezTo>
                    <a:pt x="502708" y="144462"/>
                    <a:pt x="503089" y="129582"/>
                    <a:pt x="504825" y="114829"/>
                  </a:cubicBezTo>
                  <a:cubicBezTo>
                    <a:pt x="505216" y="111505"/>
                    <a:pt x="507630" y="108630"/>
                    <a:pt x="508000" y="105304"/>
                  </a:cubicBezTo>
                  <a:cubicBezTo>
                    <a:pt x="509757" y="89491"/>
                    <a:pt x="509509" y="73502"/>
                    <a:pt x="511175" y="57679"/>
                  </a:cubicBezTo>
                  <a:cubicBezTo>
                    <a:pt x="512002" y="49821"/>
                    <a:pt x="515393" y="42915"/>
                    <a:pt x="517525" y="35454"/>
                  </a:cubicBezTo>
                  <a:cubicBezTo>
                    <a:pt x="518724" y="31258"/>
                    <a:pt x="518749" y="26657"/>
                    <a:pt x="520700" y="22754"/>
                  </a:cubicBezTo>
                  <a:cubicBezTo>
                    <a:pt x="524113" y="15928"/>
                    <a:pt x="533400" y="3704"/>
                    <a:pt x="533400" y="3704"/>
                  </a:cubicBezTo>
                  <a:cubicBezTo>
                    <a:pt x="551392" y="4762"/>
                    <a:pt x="569552" y="4205"/>
                    <a:pt x="587375" y="6879"/>
                  </a:cubicBezTo>
                  <a:cubicBezTo>
                    <a:pt x="591149" y="7445"/>
                    <a:pt x="591079" y="0"/>
                    <a:pt x="593725" y="10054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89" name="Freeform 359">
              <a:extLst>
                <a:ext uri="{FF2B5EF4-FFF2-40B4-BE49-F238E27FC236}">
                  <a16:creationId xmlns:a16="http://schemas.microsoft.com/office/drawing/2014/main" xmlns="" id="{9311CFC8-77FC-2F4E-8E4F-14F43D6428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59800" y="3986028"/>
              <a:ext cx="731838" cy="838200"/>
            </a:xfrm>
            <a:custGeom>
              <a:avLst/>
              <a:gdLst>
                <a:gd name="T0" fmla="*/ 0 w 765001"/>
                <a:gd name="T1" fmla="*/ 0 h 876121"/>
                <a:gd name="T2" fmla="*/ 765001 w 765001"/>
                <a:gd name="T3" fmla="*/ 876121 h 876121"/>
              </a:gdLst>
              <a:ahLst/>
              <a:cxnLst/>
              <a:rect l="T0" t="T1" r="T2" b="T3"/>
              <a:pathLst>
                <a:path w="765001" h="876121">
                  <a:moveTo>
                    <a:pt x="25400" y="174625"/>
                  </a:moveTo>
                  <a:cubicBezTo>
                    <a:pt x="26458" y="174096"/>
                    <a:pt x="38511" y="162760"/>
                    <a:pt x="47625" y="146050"/>
                  </a:cubicBezTo>
                  <a:cubicBezTo>
                    <a:pt x="50354" y="141047"/>
                    <a:pt x="51858" y="135467"/>
                    <a:pt x="53975" y="130175"/>
                  </a:cubicBezTo>
                  <a:cubicBezTo>
                    <a:pt x="49758" y="94332"/>
                    <a:pt x="59499" y="81053"/>
                    <a:pt x="34925" y="63500"/>
                  </a:cubicBezTo>
                  <a:cubicBezTo>
                    <a:pt x="32202" y="61555"/>
                    <a:pt x="28575" y="61383"/>
                    <a:pt x="25400" y="60325"/>
                  </a:cubicBezTo>
                  <a:cubicBezTo>
                    <a:pt x="89" y="35014"/>
                    <a:pt x="5716" y="48264"/>
                    <a:pt x="0" y="25400"/>
                  </a:cubicBezTo>
                  <a:cubicBezTo>
                    <a:pt x="1058" y="21167"/>
                    <a:pt x="1010" y="16489"/>
                    <a:pt x="3175" y="12700"/>
                  </a:cubicBezTo>
                  <a:cubicBezTo>
                    <a:pt x="10061" y="650"/>
                    <a:pt x="16055" y="2504"/>
                    <a:pt x="28575" y="0"/>
                  </a:cubicBezTo>
                  <a:cubicBezTo>
                    <a:pt x="34925" y="1058"/>
                    <a:pt x="41648" y="784"/>
                    <a:pt x="47625" y="3175"/>
                  </a:cubicBezTo>
                  <a:cubicBezTo>
                    <a:pt x="52538" y="5140"/>
                    <a:pt x="56343" y="9215"/>
                    <a:pt x="60325" y="12700"/>
                  </a:cubicBezTo>
                  <a:cubicBezTo>
                    <a:pt x="64831" y="16642"/>
                    <a:pt x="69704" y="20419"/>
                    <a:pt x="73025" y="25400"/>
                  </a:cubicBezTo>
                  <a:cubicBezTo>
                    <a:pt x="80263" y="36257"/>
                    <a:pt x="83364" y="50162"/>
                    <a:pt x="92075" y="60325"/>
                  </a:cubicBezTo>
                  <a:cubicBezTo>
                    <a:pt x="106369" y="77002"/>
                    <a:pt x="100806" y="69850"/>
                    <a:pt x="117475" y="79375"/>
                  </a:cubicBezTo>
                  <a:cubicBezTo>
                    <a:pt x="139668" y="92057"/>
                    <a:pt x="111619" y="79572"/>
                    <a:pt x="142875" y="92075"/>
                  </a:cubicBezTo>
                  <a:cubicBezTo>
                    <a:pt x="146050" y="95250"/>
                    <a:pt x="148951" y="98725"/>
                    <a:pt x="152400" y="101600"/>
                  </a:cubicBezTo>
                  <a:cubicBezTo>
                    <a:pt x="155331" y="104043"/>
                    <a:pt x="159358" y="105126"/>
                    <a:pt x="161925" y="107950"/>
                  </a:cubicBezTo>
                  <a:cubicBezTo>
                    <a:pt x="170042" y="116879"/>
                    <a:pt x="184150" y="136525"/>
                    <a:pt x="184150" y="136525"/>
                  </a:cubicBezTo>
                  <a:cubicBezTo>
                    <a:pt x="185208" y="139700"/>
                    <a:pt x="185828" y="143057"/>
                    <a:pt x="187325" y="146050"/>
                  </a:cubicBezTo>
                  <a:cubicBezTo>
                    <a:pt x="191650" y="154700"/>
                    <a:pt x="207466" y="172521"/>
                    <a:pt x="212725" y="174625"/>
                  </a:cubicBezTo>
                  <a:cubicBezTo>
                    <a:pt x="231707" y="182218"/>
                    <a:pt x="223193" y="179173"/>
                    <a:pt x="238125" y="184150"/>
                  </a:cubicBezTo>
                  <a:cubicBezTo>
                    <a:pt x="274354" y="220379"/>
                    <a:pt x="228546" y="175768"/>
                    <a:pt x="263525" y="206375"/>
                  </a:cubicBezTo>
                  <a:cubicBezTo>
                    <a:pt x="268031" y="210317"/>
                    <a:pt x="271719" y="215133"/>
                    <a:pt x="276225" y="219075"/>
                  </a:cubicBezTo>
                  <a:cubicBezTo>
                    <a:pt x="279432" y="221881"/>
                    <a:pt x="293569" y="232161"/>
                    <a:pt x="298450" y="234950"/>
                  </a:cubicBezTo>
                  <a:cubicBezTo>
                    <a:pt x="302559" y="237298"/>
                    <a:pt x="306800" y="239436"/>
                    <a:pt x="311150" y="241300"/>
                  </a:cubicBezTo>
                  <a:cubicBezTo>
                    <a:pt x="323003" y="246380"/>
                    <a:pt x="320739" y="242401"/>
                    <a:pt x="333375" y="250825"/>
                  </a:cubicBezTo>
                  <a:cubicBezTo>
                    <a:pt x="342181" y="256696"/>
                    <a:pt x="350308" y="263525"/>
                    <a:pt x="358775" y="269875"/>
                  </a:cubicBezTo>
                  <a:cubicBezTo>
                    <a:pt x="361651" y="272032"/>
                    <a:pt x="376357" y="283429"/>
                    <a:pt x="381000" y="285750"/>
                  </a:cubicBezTo>
                  <a:cubicBezTo>
                    <a:pt x="393272" y="291886"/>
                    <a:pt x="395408" y="291153"/>
                    <a:pt x="406400" y="295275"/>
                  </a:cubicBezTo>
                  <a:cubicBezTo>
                    <a:pt x="411736" y="297276"/>
                    <a:pt x="416919" y="299677"/>
                    <a:pt x="422275" y="301625"/>
                  </a:cubicBezTo>
                  <a:cubicBezTo>
                    <a:pt x="428565" y="303912"/>
                    <a:pt x="434975" y="305858"/>
                    <a:pt x="441325" y="307975"/>
                  </a:cubicBezTo>
                  <a:cubicBezTo>
                    <a:pt x="444500" y="309033"/>
                    <a:pt x="447857" y="309653"/>
                    <a:pt x="450850" y="311150"/>
                  </a:cubicBezTo>
                  <a:cubicBezTo>
                    <a:pt x="455083" y="313267"/>
                    <a:pt x="459441" y="315152"/>
                    <a:pt x="463550" y="317500"/>
                  </a:cubicBezTo>
                  <a:cubicBezTo>
                    <a:pt x="479493" y="326610"/>
                    <a:pt x="466586" y="321976"/>
                    <a:pt x="485775" y="330200"/>
                  </a:cubicBezTo>
                  <a:cubicBezTo>
                    <a:pt x="496139" y="334642"/>
                    <a:pt x="497470" y="332203"/>
                    <a:pt x="508000" y="339725"/>
                  </a:cubicBezTo>
                  <a:cubicBezTo>
                    <a:pt x="518019" y="346882"/>
                    <a:pt x="518658" y="352859"/>
                    <a:pt x="527050" y="361950"/>
                  </a:cubicBezTo>
                  <a:cubicBezTo>
                    <a:pt x="536187" y="371848"/>
                    <a:pt x="555625" y="390525"/>
                    <a:pt x="555625" y="390525"/>
                  </a:cubicBezTo>
                  <a:cubicBezTo>
                    <a:pt x="511831" y="419721"/>
                    <a:pt x="556784" y="389243"/>
                    <a:pt x="523875" y="412750"/>
                  </a:cubicBezTo>
                  <a:cubicBezTo>
                    <a:pt x="520770" y="414968"/>
                    <a:pt x="517247" y="416617"/>
                    <a:pt x="514350" y="419100"/>
                  </a:cubicBezTo>
                  <a:cubicBezTo>
                    <a:pt x="489719" y="440213"/>
                    <a:pt x="510856" y="423176"/>
                    <a:pt x="495300" y="441325"/>
                  </a:cubicBezTo>
                  <a:cubicBezTo>
                    <a:pt x="472549" y="467868"/>
                    <a:pt x="491543" y="439120"/>
                    <a:pt x="473075" y="469900"/>
                  </a:cubicBezTo>
                  <a:cubicBezTo>
                    <a:pt x="474638" y="479279"/>
                    <a:pt x="476267" y="492177"/>
                    <a:pt x="479425" y="501650"/>
                  </a:cubicBezTo>
                  <a:cubicBezTo>
                    <a:pt x="486135" y="521780"/>
                    <a:pt x="484491" y="511444"/>
                    <a:pt x="488950" y="527050"/>
                  </a:cubicBezTo>
                  <a:cubicBezTo>
                    <a:pt x="495259" y="549131"/>
                    <a:pt x="489502" y="533262"/>
                    <a:pt x="495300" y="565150"/>
                  </a:cubicBezTo>
                  <a:cubicBezTo>
                    <a:pt x="495899" y="568443"/>
                    <a:pt x="496619" y="571890"/>
                    <a:pt x="498475" y="574675"/>
                  </a:cubicBezTo>
                  <a:cubicBezTo>
                    <a:pt x="516671" y="601968"/>
                    <a:pt x="514238" y="598404"/>
                    <a:pt x="533400" y="612775"/>
                  </a:cubicBezTo>
                  <a:cubicBezTo>
                    <a:pt x="540564" y="634267"/>
                    <a:pt x="530469" y="612449"/>
                    <a:pt x="546100" y="625475"/>
                  </a:cubicBezTo>
                  <a:cubicBezTo>
                    <a:pt x="550165" y="628863"/>
                    <a:pt x="551883" y="634433"/>
                    <a:pt x="555625" y="638175"/>
                  </a:cubicBezTo>
                  <a:cubicBezTo>
                    <a:pt x="558323" y="640873"/>
                    <a:pt x="562219" y="642082"/>
                    <a:pt x="565150" y="644525"/>
                  </a:cubicBezTo>
                  <a:cubicBezTo>
                    <a:pt x="581005" y="657738"/>
                    <a:pt x="567461" y="651645"/>
                    <a:pt x="584200" y="657225"/>
                  </a:cubicBezTo>
                  <a:cubicBezTo>
                    <a:pt x="606255" y="673766"/>
                    <a:pt x="587186" y="660648"/>
                    <a:pt x="609600" y="673100"/>
                  </a:cubicBezTo>
                  <a:cubicBezTo>
                    <a:pt x="614995" y="676097"/>
                    <a:pt x="619857" y="680071"/>
                    <a:pt x="625475" y="682625"/>
                  </a:cubicBezTo>
                  <a:cubicBezTo>
                    <a:pt x="631569" y="685395"/>
                    <a:pt x="638310" y="686489"/>
                    <a:pt x="644525" y="688975"/>
                  </a:cubicBezTo>
                  <a:cubicBezTo>
                    <a:pt x="648919" y="690733"/>
                    <a:pt x="652916" y="693366"/>
                    <a:pt x="657225" y="695325"/>
                  </a:cubicBezTo>
                  <a:cubicBezTo>
                    <a:pt x="664563" y="698660"/>
                    <a:pt x="672112" y="701515"/>
                    <a:pt x="679450" y="704850"/>
                  </a:cubicBezTo>
                  <a:cubicBezTo>
                    <a:pt x="683759" y="706809"/>
                    <a:pt x="687584" y="709955"/>
                    <a:pt x="692150" y="711200"/>
                  </a:cubicBezTo>
                  <a:cubicBezTo>
                    <a:pt x="699370" y="713169"/>
                    <a:pt x="706993" y="713145"/>
                    <a:pt x="714375" y="714375"/>
                  </a:cubicBezTo>
                  <a:cubicBezTo>
                    <a:pt x="719698" y="715262"/>
                    <a:pt x="724958" y="716492"/>
                    <a:pt x="730250" y="717550"/>
                  </a:cubicBezTo>
                  <a:cubicBezTo>
                    <a:pt x="735542" y="720725"/>
                    <a:pt x="741440" y="723059"/>
                    <a:pt x="746125" y="727075"/>
                  </a:cubicBezTo>
                  <a:cubicBezTo>
                    <a:pt x="751870" y="731999"/>
                    <a:pt x="753428" y="739458"/>
                    <a:pt x="755650" y="746125"/>
                  </a:cubicBezTo>
                  <a:cubicBezTo>
                    <a:pt x="748248" y="812747"/>
                    <a:pt x="765001" y="747823"/>
                    <a:pt x="663575" y="777875"/>
                  </a:cubicBezTo>
                  <a:cubicBezTo>
                    <a:pt x="656400" y="780001"/>
                    <a:pt x="663653" y="793287"/>
                    <a:pt x="666750" y="800100"/>
                  </a:cubicBezTo>
                  <a:cubicBezTo>
                    <a:pt x="669227" y="805550"/>
                    <a:pt x="675508" y="808294"/>
                    <a:pt x="679450" y="812800"/>
                  </a:cubicBezTo>
                  <a:cubicBezTo>
                    <a:pt x="684963" y="819101"/>
                    <a:pt x="690583" y="827913"/>
                    <a:pt x="695325" y="835025"/>
                  </a:cubicBezTo>
                  <a:cubicBezTo>
                    <a:pt x="694267" y="846667"/>
                    <a:pt x="700416" y="861684"/>
                    <a:pt x="692150" y="869950"/>
                  </a:cubicBezTo>
                  <a:cubicBezTo>
                    <a:pt x="685979" y="876121"/>
                    <a:pt x="674896" y="866733"/>
                    <a:pt x="666750" y="863600"/>
                  </a:cubicBezTo>
                  <a:cubicBezTo>
                    <a:pt x="655377" y="859226"/>
                    <a:pt x="651203" y="853099"/>
                    <a:pt x="641350" y="847725"/>
                  </a:cubicBezTo>
                  <a:cubicBezTo>
                    <a:pt x="633040" y="843192"/>
                    <a:pt x="622643" y="841718"/>
                    <a:pt x="615950" y="835025"/>
                  </a:cubicBezTo>
                  <a:lnTo>
                    <a:pt x="593725" y="812800"/>
                  </a:lnTo>
                  <a:lnTo>
                    <a:pt x="584200" y="803275"/>
                  </a:lnTo>
                  <a:cubicBezTo>
                    <a:pt x="572134" y="773110"/>
                    <a:pt x="585069" y="799404"/>
                    <a:pt x="568325" y="777875"/>
                  </a:cubicBezTo>
                  <a:cubicBezTo>
                    <a:pt x="558954" y="765827"/>
                    <a:pt x="552083" y="751986"/>
                    <a:pt x="542925" y="739775"/>
                  </a:cubicBezTo>
                  <a:cubicBezTo>
                    <a:pt x="539750" y="735542"/>
                    <a:pt x="536205" y="731562"/>
                    <a:pt x="533400" y="727075"/>
                  </a:cubicBezTo>
                  <a:cubicBezTo>
                    <a:pt x="530892" y="723061"/>
                    <a:pt x="529349" y="718512"/>
                    <a:pt x="527050" y="714375"/>
                  </a:cubicBezTo>
                  <a:cubicBezTo>
                    <a:pt x="524053" y="708980"/>
                    <a:pt x="520079" y="704118"/>
                    <a:pt x="517525" y="698500"/>
                  </a:cubicBezTo>
                  <a:cubicBezTo>
                    <a:pt x="514755" y="692406"/>
                    <a:pt x="514168" y="685437"/>
                    <a:pt x="511175" y="679450"/>
                  </a:cubicBezTo>
                  <a:cubicBezTo>
                    <a:pt x="496454" y="650008"/>
                    <a:pt x="491553" y="661754"/>
                    <a:pt x="466725" y="628650"/>
                  </a:cubicBezTo>
                  <a:cubicBezTo>
                    <a:pt x="463550" y="624417"/>
                    <a:pt x="460644" y="619968"/>
                    <a:pt x="457200" y="615950"/>
                  </a:cubicBezTo>
                  <a:cubicBezTo>
                    <a:pt x="454278" y="612541"/>
                    <a:pt x="450597" y="609834"/>
                    <a:pt x="447675" y="606425"/>
                  </a:cubicBezTo>
                  <a:cubicBezTo>
                    <a:pt x="444231" y="602407"/>
                    <a:pt x="441635" y="597707"/>
                    <a:pt x="438150" y="593725"/>
                  </a:cubicBezTo>
                  <a:cubicBezTo>
                    <a:pt x="434208" y="589219"/>
                    <a:pt x="429392" y="585531"/>
                    <a:pt x="425450" y="581025"/>
                  </a:cubicBezTo>
                  <a:cubicBezTo>
                    <a:pt x="421965" y="577043"/>
                    <a:pt x="419803" y="571926"/>
                    <a:pt x="415925" y="568325"/>
                  </a:cubicBezTo>
                  <a:cubicBezTo>
                    <a:pt x="404903" y="558090"/>
                    <a:pt x="381000" y="539750"/>
                    <a:pt x="381000" y="539750"/>
                  </a:cubicBezTo>
                  <a:cubicBezTo>
                    <a:pt x="365705" y="514259"/>
                    <a:pt x="374406" y="527317"/>
                    <a:pt x="349250" y="495300"/>
                  </a:cubicBezTo>
                  <a:cubicBezTo>
                    <a:pt x="345063" y="489971"/>
                    <a:pt x="336550" y="479425"/>
                    <a:pt x="336550" y="479425"/>
                  </a:cubicBezTo>
                  <a:cubicBezTo>
                    <a:pt x="334433" y="473075"/>
                    <a:pt x="333451" y="466226"/>
                    <a:pt x="330200" y="460375"/>
                  </a:cubicBezTo>
                  <a:cubicBezTo>
                    <a:pt x="328019" y="456450"/>
                    <a:pt x="323632" y="454229"/>
                    <a:pt x="320675" y="450850"/>
                  </a:cubicBezTo>
                  <a:cubicBezTo>
                    <a:pt x="316213" y="445750"/>
                    <a:pt x="311527" y="440746"/>
                    <a:pt x="307975" y="434975"/>
                  </a:cubicBezTo>
                  <a:cubicBezTo>
                    <a:pt x="291879" y="408819"/>
                    <a:pt x="299460" y="407410"/>
                    <a:pt x="276225" y="384175"/>
                  </a:cubicBezTo>
                  <a:cubicBezTo>
                    <a:pt x="266379" y="374329"/>
                    <a:pt x="262485" y="369237"/>
                    <a:pt x="250825" y="361950"/>
                  </a:cubicBezTo>
                  <a:cubicBezTo>
                    <a:pt x="233820" y="351322"/>
                    <a:pt x="224623" y="354798"/>
                    <a:pt x="206375" y="336550"/>
                  </a:cubicBezTo>
                  <a:cubicBezTo>
                    <a:pt x="203200" y="333375"/>
                    <a:pt x="200259" y="329947"/>
                    <a:pt x="196850" y="327025"/>
                  </a:cubicBezTo>
                  <a:cubicBezTo>
                    <a:pt x="186474" y="318131"/>
                    <a:pt x="184676" y="318329"/>
                    <a:pt x="174625" y="311150"/>
                  </a:cubicBezTo>
                  <a:cubicBezTo>
                    <a:pt x="147058" y="291459"/>
                    <a:pt x="174848" y="310240"/>
                    <a:pt x="152400" y="295275"/>
                  </a:cubicBezTo>
                  <a:cubicBezTo>
                    <a:pt x="150283" y="292100"/>
                    <a:pt x="148981" y="288193"/>
                    <a:pt x="146050" y="285750"/>
                  </a:cubicBezTo>
                  <a:cubicBezTo>
                    <a:pt x="115870" y="260600"/>
                    <a:pt x="151388" y="300613"/>
                    <a:pt x="120650" y="269875"/>
                  </a:cubicBezTo>
                  <a:cubicBezTo>
                    <a:pt x="116908" y="266133"/>
                    <a:pt x="115080" y="260691"/>
                    <a:pt x="111125" y="257175"/>
                  </a:cubicBezTo>
                  <a:cubicBezTo>
                    <a:pt x="105421" y="252105"/>
                    <a:pt x="92075" y="244475"/>
                    <a:pt x="92075" y="244475"/>
                  </a:cubicBezTo>
                  <a:lnTo>
                    <a:pt x="79375" y="225425"/>
                  </a:lnTo>
                  <a:cubicBezTo>
                    <a:pt x="77258" y="222250"/>
                    <a:pt x="75723" y="218598"/>
                    <a:pt x="73025" y="215900"/>
                  </a:cubicBezTo>
                  <a:cubicBezTo>
                    <a:pt x="51277" y="194152"/>
                    <a:pt x="61447" y="201831"/>
                    <a:pt x="44450" y="190500"/>
                  </a:cubicBezTo>
                  <a:cubicBezTo>
                    <a:pt x="33858" y="174612"/>
                    <a:pt x="33099" y="177840"/>
                    <a:pt x="41275" y="149225"/>
                  </a:cubicBezTo>
                  <a:cubicBezTo>
                    <a:pt x="42729" y="144137"/>
                    <a:pt x="24342" y="175154"/>
                    <a:pt x="25400" y="174625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0" name="Freeform 192">
              <a:extLst>
                <a:ext uri="{FF2B5EF4-FFF2-40B4-BE49-F238E27FC236}">
                  <a16:creationId xmlns:a16="http://schemas.microsoft.com/office/drawing/2014/main" xmlns="" id="{6D94FC44-18CD-DF46-8E98-2F29D21907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2938" y="4863916"/>
              <a:ext cx="138112" cy="214312"/>
            </a:xfrm>
            <a:custGeom>
              <a:avLst/>
              <a:gdLst>
                <a:gd name="T0" fmla="*/ 28353 w 138370"/>
                <a:gd name="T1" fmla="*/ 204787 h 214312"/>
                <a:gd name="T2" fmla="*/ 51768 w 138370"/>
                <a:gd name="T3" fmla="*/ 176212 h 214312"/>
                <a:gd name="T4" fmla="*/ 65818 w 138370"/>
                <a:gd name="T5" fmla="*/ 166687 h 214312"/>
                <a:gd name="T6" fmla="*/ 70501 w 138370"/>
                <a:gd name="T7" fmla="*/ 152400 h 214312"/>
                <a:gd name="T8" fmla="*/ 75184 w 138370"/>
                <a:gd name="T9" fmla="*/ 166687 h 214312"/>
                <a:gd name="T10" fmla="*/ 84551 w 138370"/>
                <a:gd name="T11" fmla="*/ 185737 h 214312"/>
                <a:gd name="T12" fmla="*/ 103284 w 138370"/>
                <a:gd name="T13" fmla="*/ 214312 h 214312"/>
                <a:gd name="T14" fmla="*/ 117332 w 138370"/>
                <a:gd name="T15" fmla="*/ 209550 h 214312"/>
                <a:gd name="T16" fmla="*/ 136064 w 138370"/>
                <a:gd name="T17" fmla="*/ 180975 h 214312"/>
                <a:gd name="T18" fmla="*/ 131383 w 138370"/>
                <a:gd name="T19" fmla="*/ 104775 h 214312"/>
                <a:gd name="T20" fmla="*/ 117332 w 138370"/>
                <a:gd name="T21" fmla="*/ 57150 h 214312"/>
                <a:gd name="T22" fmla="*/ 107966 w 138370"/>
                <a:gd name="T23" fmla="*/ 28575 h 214312"/>
                <a:gd name="T24" fmla="*/ 75184 w 138370"/>
                <a:gd name="T25" fmla="*/ 14287 h 214312"/>
                <a:gd name="T26" fmla="*/ 47086 w 138370"/>
                <a:gd name="T27" fmla="*/ 0 h 214312"/>
                <a:gd name="T28" fmla="*/ 33035 w 138370"/>
                <a:gd name="T29" fmla="*/ 4762 h 214312"/>
                <a:gd name="T30" fmla="*/ 28353 w 138370"/>
                <a:gd name="T31" fmla="*/ 19050 h 214312"/>
                <a:gd name="T32" fmla="*/ 61135 w 138370"/>
                <a:gd name="T33" fmla="*/ 38100 h 214312"/>
                <a:gd name="T34" fmla="*/ 75184 w 138370"/>
                <a:gd name="T35" fmla="*/ 47625 h 214312"/>
                <a:gd name="T36" fmla="*/ 61135 w 138370"/>
                <a:gd name="T37" fmla="*/ 95250 h 214312"/>
                <a:gd name="T38" fmla="*/ 56452 w 138370"/>
                <a:gd name="T39" fmla="*/ 109537 h 214312"/>
                <a:gd name="T40" fmla="*/ 23669 w 138370"/>
                <a:gd name="T41" fmla="*/ 119062 h 214312"/>
                <a:gd name="T42" fmla="*/ 9621 w 138370"/>
                <a:gd name="T43" fmla="*/ 133350 h 214312"/>
                <a:gd name="T44" fmla="*/ 9621 w 138370"/>
                <a:gd name="T45" fmla="*/ 190500 h 214312"/>
                <a:gd name="T46" fmla="*/ 28353 w 138370"/>
                <a:gd name="T47" fmla="*/ 204787 h 21431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38370"/>
                <a:gd name="T73" fmla="*/ 0 h 214312"/>
                <a:gd name="T74" fmla="*/ 138370 w 138370"/>
                <a:gd name="T75" fmla="*/ 214312 h 21431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38370" h="214312">
                  <a:moveTo>
                    <a:pt x="28833" y="204787"/>
                  </a:moveTo>
                  <a:cubicBezTo>
                    <a:pt x="35977" y="202406"/>
                    <a:pt x="38896" y="187669"/>
                    <a:pt x="52645" y="176212"/>
                  </a:cubicBezTo>
                  <a:cubicBezTo>
                    <a:pt x="57042" y="172548"/>
                    <a:pt x="62170" y="169862"/>
                    <a:pt x="66933" y="166687"/>
                  </a:cubicBezTo>
                  <a:cubicBezTo>
                    <a:pt x="68520" y="161925"/>
                    <a:pt x="66675" y="152400"/>
                    <a:pt x="71695" y="152400"/>
                  </a:cubicBezTo>
                  <a:cubicBezTo>
                    <a:pt x="76715" y="152400"/>
                    <a:pt x="74480" y="162073"/>
                    <a:pt x="76458" y="166687"/>
                  </a:cubicBezTo>
                  <a:cubicBezTo>
                    <a:pt x="79255" y="173212"/>
                    <a:pt x="82330" y="179649"/>
                    <a:pt x="85983" y="185737"/>
                  </a:cubicBezTo>
                  <a:cubicBezTo>
                    <a:pt x="91873" y="195553"/>
                    <a:pt x="105033" y="214312"/>
                    <a:pt x="105033" y="214312"/>
                  </a:cubicBezTo>
                  <a:cubicBezTo>
                    <a:pt x="109795" y="212725"/>
                    <a:pt x="115770" y="213100"/>
                    <a:pt x="119320" y="209550"/>
                  </a:cubicBezTo>
                  <a:cubicBezTo>
                    <a:pt x="127415" y="201455"/>
                    <a:pt x="138370" y="180975"/>
                    <a:pt x="138370" y="180975"/>
                  </a:cubicBezTo>
                  <a:cubicBezTo>
                    <a:pt x="136783" y="155575"/>
                    <a:pt x="136140" y="130098"/>
                    <a:pt x="133608" y="104775"/>
                  </a:cubicBezTo>
                  <a:cubicBezTo>
                    <a:pt x="132580" y="94496"/>
                    <a:pt x="121450" y="63540"/>
                    <a:pt x="119320" y="57150"/>
                  </a:cubicBezTo>
                  <a:cubicBezTo>
                    <a:pt x="119319" y="57148"/>
                    <a:pt x="109797" y="28577"/>
                    <a:pt x="109795" y="28575"/>
                  </a:cubicBezTo>
                  <a:cubicBezTo>
                    <a:pt x="90062" y="15419"/>
                    <a:pt x="101061" y="20438"/>
                    <a:pt x="76458" y="14287"/>
                  </a:cubicBezTo>
                  <a:cubicBezTo>
                    <a:pt x="69234" y="9471"/>
                    <a:pt x="57742" y="0"/>
                    <a:pt x="47883" y="0"/>
                  </a:cubicBezTo>
                  <a:cubicBezTo>
                    <a:pt x="42863" y="0"/>
                    <a:pt x="38358" y="3175"/>
                    <a:pt x="33595" y="4762"/>
                  </a:cubicBezTo>
                  <a:cubicBezTo>
                    <a:pt x="32008" y="9525"/>
                    <a:pt x="28008" y="14098"/>
                    <a:pt x="28833" y="19050"/>
                  </a:cubicBezTo>
                  <a:cubicBezTo>
                    <a:pt x="31974" y="37897"/>
                    <a:pt x="48123" y="35290"/>
                    <a:pt x="62170" y="38100"/>
                  </a:cubicBezTo>
                  <a:cubicBezTo>
                    <a:pt x="66933" y="41275"/>
                    <a:pt x="75216" y="42037"/>
                    <a:pt x="76458" y="47625"/>
                  </a:cubicBezTo>
                  <a:cubicBezTo>
                    <a:pt x="81565" y="70608"/>
                    <a:pt x="72476" y="79791"/>
                    <a:pt x="62170" y="95250"/>
                  </a:cubicBezTo>
                  <a:cubicBezTo>
                    <a:pt x="60583" y="100012"/>
                    <a:pt x="60958" y="105987"/>
                    <a:pt x="57408" y="109537"/>
                  </a:cubicBezTo>
                  <a:cubicBezTo>
                    <a:pt x="55129" y="111816"/>
                    <a:pt x="24237" y="119020"/>
                    <a:pt x="24070" y="119062"/>
                  </a:cubicBezTo>
                  <a:cubicBezTo>
                    <a:pt x="19308" y="123825"/>
                    <a:pt x="13519" y="127746"/>
                    <a:pt x="9783" y="133350"/>
                  </a:cubicBezTo>
                  <a:cubicBezTo>
                    <a:pt x="0" y="148024"/>
                    <a:pt x="5820" y="180593"/>
                    <a:pt x="9783" y="190500"/>
                  </a:cubicBezTo>
                  <a:cubicBezTo>
                    <a:pt x="12089" y="196266"/>
                    <a:pt x="21689" y="207168"/>
                    <a:pt x="28833" y="204787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1" name="Freeform 129">
              <a:extLst>
                <a:ext uri="{FF2B5EF4-FFF2-40B4-BE49-F238E27FC236}">
                  <a16:creationId xmlns:a16="http://schemas.microsoft.com/office/drawing/2014/main" xmlns="" id="{693D3042-FBBF-A54D-96D9-831B1011B4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34363" y="4957578"/>
              <a:ext cx="390525" cy="381000"/>
            </a:xfrm>
            <a:custGeom>
              <a:avLst/>
              <a:gdLst>
                <a:gd name="T0" fmla="*/ 0 w 389784"/>
                <a:gd name="T1" fmla="*/ 0 h 381000"/>
                <a:gd name="T2" fmla="*/ 389784 w 389784"/>
                <a:gd name="T3" fmla="*/ 381000 h 381000"/>
              </a:gdLst>
              <a:ahLst/>
              <a:cxnLst/>
              <a:rect l="T0" t="T1" r="T2" b="T3"/>
              <a:pathLst>
                <a:path w="389784" h="381000">
                  <a:moveTo>
                    <a:pt x="14298" y="154782"/>
                  </a:moveTo>
                  <a:cubicBezTo>
                    <a:pt x="14695" y="152401"/>
                    <a:pt x="16428" y="148520"/>
                    <a:pt x="16679" y="145257"/>
                  </a:cubicBezTo>
                  <a:cubicBezTo>
                    <a:pt x="21757" y="79243"/>
                    <a:pt x="0" y="93990"/>
                    <a:pt x="59542" y="90488"/>
                  </a:cubicBezTo>
                  <a:cubicBezTo>
                    <a:pt x="60362" y="83925"/>
                    <a:pt x="60634" y="71634"/>
                    <a:pt x="64304" y="64294"/>
                  </a:cubicBezTo>
                  <a:cubicBezTo>
                    <a:pt x="65584" y="61734"/>
                    <a:pt x="66832" y="58938"/>
                    <a:pt x="69067" y="57150"/>
                  </a:cubicBezTo>
                  <a:cubicBezTo>
                    <a:pt x="71027" y="55582"/>
                    <a:pt x="73730" y="55151"/>
                    <a:pt x="76211" y="54769"/>
                  </a:cubicBezTo>
                  <a:cubicBezTo>
                    <a:pt x="84095" y="53556"/>
                    <a:pt x="92086" y="53182"/>
                    <a:pt x="100023" y="52388"/>
                  </a:cubicBezTo>
                  <a:cubicBezTo>
                    <a:pt x="111343" y="44840"/>
                    <a:pt x="104452" y="48530"/>
                    <a:pt x="121454" y="42863"/>
                  </a:cubicBezTo>
                  <a:lnTo>
                    <a:pt x="128598" y="40482"/>
                  </a:lnTo>
                  <a:cubicBezTo>
                    <a:pt x="143547" y="30515"/>
                    <a:pt x="133382" y="35153"/>
                    <a:pt x="164317" y="38100"/>
                  </a:cubicBezTo>
                  <a:cubicBezTo>
                    <a:pt x="182303" y="39813"/>
                    <a:pt x="185678" y="40472"/>
                    <a:pt x="202417" y="42863"/>
                  </a:cubicBezTo>
                  <a:cubicBezTo>
                    <a:pt x="211199" y="45790"/>
                    <a:pt x="210650" y="46920"/>
                    <a:pt x="221467" y="42863"/>
                  </a:cubicBezTo>
                  <a:cubicBezTo>
                    <a:pt x="224147" y="41858"/>
                    <a:pt x="226051" y="39380"/>
                    <a:pt x="228611" y="38100"/>
                  </a:cubicBezTo>
                  <a:cubicBezTo>
                    <a:pt x="239350" y="32730"/>
                    <a:pt x="232661" y="39487"/>
                    <a:pt x="242898" y="30957"/>
                  </a:cubicBezTo>
                  <a:cubicBezTo>
                    <a:pt x="245485" y="28801"/>
                    <a:pt x="247384" y="25881"/>
                    <a:pt x="250042" y="23813"/>
                  </a:cubicBezTo>
                  <a:cubicBezTo>
                    <a:pt x="254560" y="20299"/>
                    <a:pt x="259567" y="17463"/>
                    <a:pt x="264329" y="14288"/>
                  </a:cubicBezTo>
                  <a:cubicBezTo>
                    <a:pt x="266710" y="12700"/>
                    <a:pt x="269449" y="11549"/>
                    <a:pt x="271473" y="9525"/>
                  </a:cubicBezTo>
                  <a:cubicBezTo>
                    <a:pt x="273854" y="7144"/>
                    <a:pt x="275452" y="3533"/>
                    <a:pt x="278617" y="2382"/>
                  </a:cubicBezTo>
                  <a:cubicBezTo>
                    <a:pt x="284631" y="195"/>
                    <a:pt x="291317" y="794"/>
                    <a:pt x="297667" y="0"/>
                  </a:cubicBezTo>
                  <a:cubicBezTo>
                    <a:pt x="305604" y="794"/>
                    <a:pt x="313595" y="1169"/>
                    <a:pt x="321479" y="2382"/>
                  </a:cubicBezTo>
                  <a:cubicBezTo>
                    <a:pt x="323960" y="2764"/>
                    <a:pt x="326663" y="3195"/>
                    <a:pt x="328623" y="4763"/>
                  </a:cubicBezTo>
                  <a:cubicBezTo>
                    <a:pt x="330858" y="6551"/>
                    <a:pt x="331798" y="9526"/>
                    <a:pt x="333386" y="11907"/>
                  </a:cubicBezTo>
                  <a:cubicBezTo>
                    <a:pt x="334180" y="16669"/>
                    <a:pt x="333608" y="21876"/>
                    <a:pt x="335767" y="26194"/>
                  </a:cubicBezTo>
                  <a:cubicBezTo>
                    <a:pt x="337047" y="28754"/>
                    <a:pt x="340712" y="29125"/>
                    <a:pt x="342911" y="30957"/>
                  </a:cubicBezTo>
                  <a:cubicBezTo>
                    <a:pt x="349786" y="36686"/>
                    <a:pt x="350134" y="38220"/>
                    <a:pt x="354817" y="45244"/>
                  </a:cubicBezTo>
                  <a:cubicBezTo>
                    <a:pt x="356404" y="50007"/>
                    <a:pt x="361166" y="54769"/>
                    <a:pt x="359579" y="59532"/>
                  </a:cubicBezTo>
                  <a:lnTo>
                    <a:pt x="354817" y="73819"/>
                  </a:lnTo>
                  <a:cubicBezTo>
                    <a:pt x="355611" y="77788"/>
                    <a:pt x="354953" y="82357"/>
                    <a:pt x="357198" y="85725"/>
                  </a:cubicBezTo>
                  <a:cubicBezTo>
                    <a:pt x="358590" y="87814"/>
                    <a:pt x="361907" y="87498"/>
                    <a:pt x="364342" y="88107"/>
                  </a:cubicBezTo>
                  <a:cubicBezTo>
                    <a:pt x="368268" y="89089"/>
                    <a:pt x="372279" y="89694"/>
                    <a:pt x="376248" y="90488"/>
                  </a:cubicBezTo>
                  <a:cubicBezTo>
                    <a:pt x="389784" y="131091"/>
                    <a:pt x="378326" y="92159"/>
                    <a:pt x="383392" y="183357"/>
                  </a:cubicBezTo>
                  <a:cubicBezTo>
                    <a:pt x="383531" y="185863"/>
                    <a:pt x="385084" y="188087"/>
                    <a:pt x="385773" y="190500"/>
                  </a:cubicBezTo>
                  <a:cubicBezTo>
                    <a:pt x="386672" y="193647"/>
                    <a:pt x="387360" y="196850"/>
                    <a:pt x="388154" y="200025"/>
                  </a:cubicBezTo>
                  <a:cubicBezTo>
                    <a:pt x="387360" y="207963"/>
                    <a:pt x="388119" y="216213"/>
                    <a:pt x="385773" y="223838"/>
                  </a:cubicBezTo>
                  <a:cubicBezTo>
                    <a:pt x="384240" y="228820"/>
                    <a:pt x="374944" y="232670"/>
                    <a:pt x="371486" y="235744"/>
                  </a:cubicBezTo>
                  <a:cubicBezTo>
                    <a:pt x="366452" y="240219"/>
                    <a:pt x="363222" y="247020"/>
                    <a:pt x="357198" y="250032"/>
                  </a:cubicBezTo>
                  <a:cubicBezTo>
                    <a:pt x="354023" y="251619"/>
                    <a:pt x="350755" y="253033"/>
                    <a:pt x="347673" y="254794"/>
                  </a:cubicBezTo>
                  <a:cubicBezTo>
                    <a:pt x="345188" y="256214"/>
                    <a:pt x="343089" y="258277"/>
                    <a:pt x="340529" y="259557"/>
                  </a:cubicBezTo>
                  <a:cubicBezTo>
                    <a:pt x="338284" y="260679"/>
                    <a:pt x="335767" y="261144"/>
                    <a:pt x="333386" y="261938"/>
                  </a:cubicBezTo>
                  <a:cubicBezTo>
                    <a:pt x="317752" y="277572"/>
                    <a:pt x="334475" y="262004"/>
                    <a:pt x="302429" y="283369"/>
                  </a:cubicBezTo>
                  <a:cubicBezTo>
                    <a:pt x="297667" y="286544"/>
                    <a:pt x="292189" y="288847"/>
                    <a:pt x="288142" y="292894"/>
                  </a:cubicBezTo>
                  <a:cubicBezTo>
                    <a:pt x="285761" y="295275"/>
                    <a:pt x="283555" y="297846"/>
                    <a:pt x="280998" y="300038"/>
                  </a:cubicBezTo>
                  <a:cubicBezTo>
                    <a:pt x="277985" y="302621"/>
                    <a:pt x="274279" y="304376"/>
                    <a:pt x="271473" y="307182"/>
                  </a:cubicBezTo>
                  <a:cubicBezTo>
                    <a:pt x="250581" y="328074"/>
                    <a:pt x="288318" y="298119"/>
                    <a:pt x="257186" y="321469"/>
                  </a:cubicBezTo>
                  <a:cubicBezTo>
                    <a:pt x="251803" y="337612"/>
                    <a:pt x="259406" y="318360"/>
                    <a:pt x="245279" y="338138"/>
                  </a:cubicBezTo>
                  <a:cubicBezTo>
                    <a:pt x="243820" y="340181"/>
                    <a:pt x="244117" y="343088"/>
                    <a:pt x="242898" y="345282"/>
                  </a:cubicBezTo>
                  <a:cubicBezTo>
                    <a:pt x="240118" y="350285"/>
                    <a:pt x="233373" y="359569"/>
                    <a:pt x="233373" y="359569"/>
                  </a:cubicBezTo>
                  <a:cubicBezTo>
                    <a:pt x="231551" y="366857"/>
                    <a:pt x="231711" y="370756"/>
                    <a:pt x="226229" y="376238"/>
                  </a:cubicBezTo>
                  <a:cubicBezTo>
                    <a:pt x="224206" y="378261"/>
                    <a:pt x="221467" y="379413"/>
                    <a:pt x="219086" y="381000"/>
                  </a:cubicBezTo>
                  <a:cubicBezTo>
                    <a:pt x="213530" y="380206"/>
                    <a:pt x="207886" y="379881"/>
                    <a:pt x="202417" y="378619"/>
                  </a:cubicBezTo>
                  <a:cubicBezTo>
                    <a:pt x="171243" y="371426"/>
                    <a:pt x="200143" y="376264"/>
                    <a:pt x="180986" y="371475"/>
                  </a:cubicBezTo>
                  <a:cubicBezTo>
                    <a:pt x="177811" y="370681"/>
                    <a:pt x="174608" y="369993"/>
                    <a:pt x="171461" y="369094"/>
                  </a:cubicBezTo>
                  <a:cubicBezTo>
                    <a:pt x="164923" y="367226"/>
                    <a:pt x="158709" y="364470"/>
                    <a:pt x="152411" y="361950"/>
                  </a:cubicBezTo>
                  <a:cubicBezTo>
                    <a:pt x="131531" y="341073"/>
                    <a:pt x="158023" y="366628"/>
                    <a:pt x="138123" y="350044"/>
                  </a:cubicBezTo>
                  <a:cubicBezTo>
                    <a:pt x="130783" y="343927"/>
                    <a:pt x="116378" y="325603"/>
                    <a:pt x="114311" y="321469"/>
                  </a:cubicBezTo>
                  <a:cubicBezTo>
                    <a:pt x="112723" y="318294"/>
                    <a:pt x="110946" y="315207"/>
                    <a:pt x="109548" y="311944"/>
                  </a:cubicBezTo>
                  <a:cubicBezTo>
                    <a:pt x="108559" y="309637"/>
                    <a:pt x="108386" y="306994"/>
                    <a:pt x="107167" y="304800"/>
                  </a:cubicBezTo>
                  <a:cubicBezTo>
                    <a:pt x="104387" y="299797"/>
                    <a:pt x="100817" y="295275"/>
                    <a:pt x="97642" y="290513"/>
                  </a:cubicBezTo>
                  <a:cubicBezTo>
                    <a:pt x="96054" y="288132"/>
                    <a:pt x="94351" y="285823"/>
                    <a:pt x="92879" y="283369"/>
                  </a:cubicBezTo>
                  <a:cubicBezTo>
                    <a:pt x="90498" y="279400"/>
                    <a:pt x="88303" y="275314"/>
                    <a:pt x="85736" y="271463"/>
                  </a:cubicBezTo>
                  <a:cubicBezTo>
                    <a:pt x="83535" y="268161"/>
                    <a:pt x="80899" y="265167"/>
                    <a:pt x="78592" y="261938"/>
                  </a:cubicBezTo>
                  <a:cubicBezTo>
                    <a:pt x="76928" y="259609"/>
                    <a:pt x="75417" y="257175"/>
                    <a:pt x="73829" y="254794"/>
                  </a:cubicBezTo>
                  <a:cubicBezTo>
                    <a:pt x="73131" y="251302"/>
                    <a:pt x="71379" y="239982"/>
                    <a:pt x="69067" y="235744"/>
                  </a:cubicBezTo>
                  <a:cubicBezTo>
                    <a:pt x="65481" y="229170"/>
                    <a:pt x="63151" y="221187"/>
                    <a:pt x="57161" y="216694"/>
                  </a:cubicBezTo>
                  <a:lnTo>
                    <a:pt x="47636" y="209550"/>
                  </a:lnTo>
                  <a:cubicBezTo>
                    <a:pt x="45173" y="202163"/>
                    <a:pt x="44903" y="200235"/>
                    <a:pt x="40492" y="192882"/>
                  </a:cubicBezTo>
                  <a:cubicBezTo>
                    <a:pt x="37547" y="187974"/>
                    <a:pt x="32777" y="184024"/>
                    <a:pt x="30967" y="178594"/>
                  </a:cubicBezTo>
                  <a:cubicBezTo>
                    <a:pt x="30173" y="176213"/>
                    <a:pt x="30154" y="173410"/>
                    <a:pt x="28586" y="171450"/>
                  </a:cubicBezTo>
                  <a:cubicBezTo>
                    <a:pt x="26798" y="169215"/>
                    <a:pt x="23641" y="168520"/>
                    <a:pt x="21442" y="166688"/>
                  </a:cubicBezTo>
                  <a:cubicBezTo>
                    <a:pt x="18855" y="164532"/>
                    <a:pt x="16679" y="161925"/>
                    <a:pt x="14298" y="159544"/>
                  </a:cubicBezTo>
                  <a:cubicBezTo>
                    <a:pt x="17064" y="148479"/>
                    <a:pt x="13901" y="157163"/>
                    <a:pt x="14298" y="154782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2" name="Freeform 131">
              <a:extLst>
                <a:ext uri="{FF2B5EF4-FFF2-40B4-BE49-F238E27FC236}">
                  <a16:creationId xmlns:a16="http://schemas.microsoft.com/office/drawing/2014/main" xmlns="" id="{4A9B0DF9-0575-0949-9B64-A9689DA242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00188" y="3050991"/>
              <a:ext cx="96837" cy="84137"/>
            </a:xfrm>
            <a:custGeom>
              <a:avLst/>
              <a:gdLst>
                <a:gd name="T0" fmla="*/ 29748 w 96538"/>
                <a:gd name="T1" fmla="*/ 747 h 84078"/>
                <a:gd name="T2" fmla="*/ 47099 w 96538"/>
                <a:gd name="T3" fmla="*/ 3142 h 84078"/>
                <a:gd name="T4" fmla="*/ 54535 w 96538"/>
                <a:gd name="T5" fmla="*/ 5549 h 84078"/>
                <a:gd name="T6" fmla="*/ 69410 w 96538"/>
                <a:gd name="T7" fmla="*/ 7956 h 84078"/>
                <a:gd name="T8" fmla="*/ 76846 w 96538"/>
                <a:gd name="T9" fmla="*/ 12758 h 84078"/>
                <a:gd name="T10" fmla="*/ 84283 w 96538"/>
                <a:gd name="T11" fmla="*/ 27175 h 84078"/>
                <a:gd name="T12" fmla="*/ 91720 w 96538"/>
                <a:gd name="T13" fmla="*/ 34384 h 84078"/>
                <a:gd name="T14" fmla="*/ 96679 w 96538"/>
                <a:gd name="T15" fmla="*/ 48801 h 84078"/>
                <a:gd name="T16" fmla="*/ 99157 w 96538"/>
                <a:gd name="T17" fmla="*/ 56010 h 84078"/>
                <a:gd name="T18" fmla="*/ 96679 w 96538"/>
                <a:gd name="T19" fmla="*/ 75237 h 84078"/>
                <a:gd name="T20" fmla="*/ 66930 w 96538"/>
                <a:gd name="T21" fmla="*/ 82446 h 84078"/>
                <a:gd name="T22" fmla="*/ 59495 w 96538"/>
                <a:gd name="T23" fmla="*/ 84845 h 84078"/>
                <a:gd name="T24" fmla="*/ 29748 w 96538"/>
                <a:gd name="T25" fmla="*/ 77636 h 84078"/>
                <a:gd name="T26" fmla="*/ 22310 w 96538"/>
                <a:gd name="T27" fmla="*/ 75237 h 84078"/>
                <a:gd name="T28" fmla="*/ 14873 w 96538"/>
                <a:gd name="T29" fmla="*/ 72835 h 84078"/>
                <a:gd name="T30" fmla="*/ 4957 w 96538"/>
                <a:gd name="T31" fmla="*/ 60817 h 84078"/>
                <a:gd name="T32" fmla="*/ 0 w 96538"/>
                <a:gd name="T33" fmla="*/ 44000 h 84078"/>
                <a:gd name="T34" fmla="*/ 2479 w 96538"/>
                <a:gd name="T35" fmla="*/ 22374 h 84078"/>
                <a:gd name="T36" fmla="*/ 4957 w 96538"/>
                <a:gd name="T37" fmla="*/ 15165 h 84078"/>
                <a:gd name="T38" fmla="*/ 12394 w 96538"/>
                <a:gd name="T39" fmla="*/ 10350 h 84078"/>
                <a:gd name="T40" fmla="*/ 22310 w 96538"/>
                <a:gd name="T41" fmla="*/ 5549 h 84078"/>
                <a:gd name="T42" fmla="*/ 29748 w 96538"/>
                <a:gd name="T43" fmla="*/ 747 h 8407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6538"/>
                <a:gd name="T67" fmla="*/ 0 h 84078"/>
                <a:gd name="T68" fmla="*/ 96538 w 96538"/>
                <a:gd name="T69" fmla="*/ 84078 h 8407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6538" h="84078">
                  <a:moveTo>
                    <a:pt x="28575" y="734"/>
                  </a:moveTo>
                  <a:cubicBezTo>
                    <a:pt x="32544" y="337"/>
                    <a:pt x="39740" y="2015"/>
                    <a:pt x="45243" y="3116"/>
                  </a:cubicBezTo>
                  <a:cubicBezTo>
                    <a:pt x="47704" y="3608"/>
                    <a:pt x="49937" y="4953"/>
                    <a:pt x="52387" y="5497"/>
                  </a:cubicBezTo>
                  <a:cubicBezTo>
                    <a:pt x="57100" y="6544"/>
                    <a:pt x="61912" y="7084"/>
                    <a:pt x="66675" y="7878"/>
                  </a:cubicBezTo>
                  <a:cubicBezTo>
                    <a:pt x="69056" y="9466"/>
                    <a:pt x="71794" y="10617"/>
                    <a:pt x="73818" y="12641"/>
                  </a:cubicBezTo>
                  <a:cubicBezTo>
                    <a:pt x="85063" y="23886"/>
                    <a:pt x="73212" y="15303"/>
                    <a:pt x="80962" y="26928"/>
                  </a:cubicBezTo>
                  <a:cubicBezTo>
                    <a:pt x="82830" y="29730"/>
                    <a:pt x="85725" y="31691"/>
                    <a:pt x="88106" y="34072"/>
                  </a:cubicBezTo>
                  <a:lnTo>
                    <a:pt x="92868" y="48359"/>
                  </a:lnTo>
                  <a:lnTo>
                    <a:pt x="95250" y="55503"/>
                  </a:lnTo>
                  <a:cubicBezTo>
                    <a:pt x="94456" y="61853"/>
                    <a:pt x="96538" y="69310"/>
                    <a:pt x="92868" y="74553"/>
                  </a:cubicBezTo>
                  <a:cubicBezTo>
                    <a:pt x="90375" y="78114"/>
                    <a:pt x="67783" y="81115"/>
                    <a:pt x="64293" y="81697"/>
                  </a:cubicBezTo>
                  <a:cubicBezTo>
                    <a:pt x="61912" y="82491"/>
                    <a:pt x="59660" y="84078"/>
                    <a:pt x="57150" y="84078"/>
                  </a:cubicBezTo>
                  <a:cubicBezTo>
                    <a:pt x="47527" y="84078"/>
                    <a:pt x="37444" y="79891"/>
                    <a:pt x="28575" y="76934"/>
                  </a:cubicBezTo>
                  <a:lnTo>
                    <a:pt x="21431" y="74553"/>
                  </a:lnTo>
                  <a:lnTo>
                    <a:pt x="14287" y="72172"/>
                  </a:lnTo>
                  <a:cubicBezTo>
                    <a:pt x="8302" y="54215"/>
                    <a:pt x="17072" y="75653"/>
                    <a:pt x="4762" y="60266"/>
                  </a:cubicBezTo>
                  <a:cubicBezTo>
                    <a:pt x="3520" y="58714"/>
                    <a:pt x="155" y="44219"/>
                    <a:pt x="0" y="43597"/>
                  </a:cubicBezTo>
                  <a:cubicBezTo>
                    <a:pt x="794" y="36453"/>
                    <a:pt x="1199" y="29256"/>
                    <a:pt x="2381" y="22166"/>
                  </a:cubicBezTo>
                  <a:cubicBezTo>
                    <a:pt x="2794" y="19690"/>
                    <a:pt x="3194" y="16982"/>
                    <a:pt x="4762" y="15022"/>
                  </a:cubicBezTo>
                  <a:cubicBezTo>
                    <a:pt x="6550" y="12787"/>
                    <a:pt x="9421" y="11679"/>
                    <a:pt x="11906" y="10259"/>
                  </a:cubicBezTo>
                  <a:cubicBezTo>
                    <a:pt x="14988" y="8498"/>
                    <a:pt x="18031" y="6517"/>
                    <a:pt x="21431" y="5497"/>
                  </a:cubicBezTo>
                  <a:cubicBezTo>
                    <a:pt x="39758" y="0"/>
                    <a:pt x="24606" y="1131"/>
                    <a:pt x="28575" y="734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93" name="Freeform 132">
              <a:extLst>
                <a:ext uri="{FF2B5EF4-FFF2-40B4-BE49-F238E27FC236}">
                  <a16:creationId xmlns:a16="http://schemas.microsoft.com/office/drawing/2014/main" xmlns="" id="{AE5A7A3B-E1C4-D147-AC79-2C823998AE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6850" y="3846328"/>
              <a:ext cx="82550" cy="88900"/>
            </a:xfrm>
            <a:custGeom>
              <a:avLst/>
              <a:gdLst>
                <a:gd name="T0" fmla="*/ 34197 w 81962"/>
                <a:gd name="T1" fmla="*/ 0 h 88938"/>
                <a:gd name="T2" fmla="*/ 13292 w 81962"/>
                <a:gd name="T3" fmla="*/ 12635 h 88938"/>
                <a:gd name="T4" fmla="*/ 13292 w 81962"/>
                <a:gd name="T5" fmla="*/ 63149 h 88938"/>
                <a:gd name="T6" fmla="*/ 20256 w 81962"/>
                <a:gd name="T7" fmla="*/ 82095 h 88938"/>
                <a:gd name="T8" fmla="*/ 41165 w 81962"/>
                <a:gd name="T9" fmla="*/ 88406 h 88938"/>
                <a:gd name="T10" fmla="*/ 82973 w 81962"/>
                <a:gd name="T11" fmla="*/ 82095 h 88938"/>
                <a:gd name="T12" fmla="*/ 89944 w 81962"/>
                <a:gd name="T13" fmla="*/ 63149 h 88938"/>
                <a:gd name="T14" fmla="*/ 62074 w 81962"/>
                <a:gd name="T15" fmla="*/ 18946 h 88938"/>
                <a:gd name="T16" fmla="*/ 48133 w 81962"/>
                <a:gd name="T17" fmla="*/ 0 h 88938"/>
                <a:gd name="T18" fmla="*/ 34197 w 81962"/>
                <a:gd name="T19" fmla="*/ 0 h 8893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1962"/>
                <a:gd name="T31" fmla="*/ 0 h 88938"/>
                <a:gd name="T32" fmla="*/ 81962 w 81962"/>
                <a:gd name="T33" fmla="*/ 88938 h 8893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1962" h="88938">
                  <a:moveTo>
                    <a:pt x="31162" y="0"/>
                  </a:moveTo>
                  <a:cubicBezTo>
                    <a:pt x="24812" y="4233"/>
                    <a:pt x="16880" y="6741"/>
                    <a:pt x="12112" y="12700"/>
                  </a:cubicBezTo>
                  <a:cubicBezTo>
                    <a:pt x="0" y="27840"/>
                    <a:pt x="8237" y="48001"/>
                    <a:pt x="12112" y="63500"/>
                  </a:cubicBezTo>
                  <a:cubicBezTo>
                    <a:pt x="13735" y="69994"/>
                    <a:pt x="13729" y="77817"/>
                    <a:pt x="18462" y="82550"/>
                  </a:cubicBezTo>
                  <a:cubicBezTo>
                    <a:pt x="23195" y="87283"/>
                    <a:pt x="31162" y="86783"/>
                    <a:pt x="37512" y="88900"/>
                  </a:cubicBezTo>
                  <a:cubicBezTo>
                    <a:pt x="50212" y="86783"/>
                    <a:pt x="64433" y="88938"/>
                    <a:pt x="75612" y="82550"/>
                  </a:cubicBezTo>
                  <a:cubicBezTo>
                    <a:pt x="81424" y="79229"/>
                    <a:pt x="81962" y="70193"/>
                    <a:pt x="81962" y="63500"/>
                  </a:cubicBezTo>
                  <a:cubicBezTo>
                    <a:pt x="81962" y="34719"/>
                    <a:pt x="73008" y="38785"/>
                    <a:pt x="56562" y="19050"/>
                  </a:cubicBezTo>
                  <a:cubicBezTo>
                    <a:pt x="51676" y="13187"/>
                    <a:pt x="48095" y="6350"/>
                    <a:pt x="43862" y="0"/>
                  </a:cubicBezTo>
                  <a:lnTo>
                    <a:pt x="31162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nl-NL" sz="1799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10775549" y="6143794"/>
            <a:ext cx="1079661" cy="341820"/>
            <a:chOff x="10776993" y="6289862"/>
            <a:chExt cx="1079995" cy="341925"/>
          </a:xfrm>
        </p:grpSpPr>
        <p:sp>
          <p:nvSpPr>
            <p:cNvPr id="4" name="Овал 3"/>
            <p:cNvSpPr/>
            <p:nvPr/>
          </p:nvSpPr>
          <p:spPr>
            <a:xfrm>
              <a:off x="10776993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Овал 4"/>
            <p:cNvSpPr/>
            <p:nvPr/>
          </p:nvSpPr>
          <p:spPr>
            <a:xfrm>
              <a:off x="11515064" y="6289862"/>
              <a:ext cx="341924" cy="341925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Овал 5"/>
            <p:cNvSpPr/>
            <p:nvPr/>
          </p:nvSpPr>
          <p:spPr>
            <a:xfrm>
              <a:off x="11146028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" name="Title 3"/>
          <p:cNvSpPr txBox="1">
            <a:spLocks/>
          </p:cNvSpPr>
          <p:nvPr/>
        </p:nvSpPr>
        <p:spPr>
          <a:xfrm>
            <a:off x="316046" y="217854"/>
            <a:ext cx="9887306" cy="908560"/>
          </a:xfrm>
          <a:prstGeom prst="rect">
            <a:avLst/>
          </a:prstGeom>
        </p:spPr>
        <p:txBody>
          <a:bodyPr vert="horz" lIns="91412" tIns="45706" rIns="91412" bIns="45706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999" dirty="0">
                <a:solidFill>
                  <a:prstClr val="black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Какое у нас покрытие данными?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2442084" y="2373781"/>
            <a:ext cx="1878102" cy="1878102"/>
            <a:chOff x="2993477" y="2363668"/>
            <a:chExt cx="1878681" cy="1878681"/>
          </a:xfrm>
        </p:grpSpPr>
        <p:sp>
          <p:nvSpPr>
            <p:cNvPr id="112" name="Овал 111"/>
            <p:cNvSpPr/>
            <p:nvPr/>
          </p:nvSpPr>
          <p:spPr>
            <a:xfrm>
              <a:off x="2993477" y="2363668"/>
              <a:ext cx="1878681" cy="1878681"/>
            </a:xfrm>
            <a:prstGeom prst="ellipse">
              <a:avLst/>
            </a:prstGeom>
            <a:solidFill>
              <a:srgbClr val="EB5A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799">
                <a:solidFill>
                  <a:prstClr val="white"/>
                </a:solidFill>
              </a:endParaRPr>
            </a:p>
          </p:txBody>
        </p:sp>
        <p:sp>
          <p:nvSpPr>
            <p:cNvPr id="108" name="Title 3">
              <a:extLst>
                <a:ext uri="{FF2B5EF4-FFF2-40B4-BE49-F238E27FC236}">
                  <a16:creationId xmlns:a16="http://schemas.microsoft.com/office/drawing/2014/main" xmlns="" id="{EFF1D78B-6690-A045-98B4-B5AAAEFD7753}"/>
                </a:ext>
              </a:extLst>
            </p:cNvPr>
            <p:cNvSpPr txBox="1">
              <a:spLocks/>
            </p:cNvSpPr>
            <p:nvPr/>
          </p:nvSpPr>
          <p:spPr>
            <a:xfrm>
              <a:off x="3265342" y="3039886"/>
              <a:ext cx="1374244" cy="550483"/>
            </a:xfrm>
            <a:prstGeom prst="rect">
              <a:avLst/>
            </a:prstGeom>
          </p:spPr>
          <p:txBody>
            <a:bodyPr vert="horz" lIns="91412" tIns="45706" rIns="91412" bIns="45706" rtlCol="0" anchor="ctr">
              <a:noAutofit/>
            </a:bodyPr>
            <a:lstStyle>
              <a:lvl1pPr marL="9525" indent="0"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tabLst>
                  <a:tab pos="107950" algn="ctr"/>
                </a:tabLst>
                <a:defRPr sz="2200" b="0" i="0" kern="1200" spc="-40" baseline="0">
                  <a:solidFill>
                    <a:srgbClr val="00B3A1"/>
                  </a:solidFill>
                  <a:latin typeface="Gotham Pro Medium" charset="0"/>
                  <a:ea typeface="Gotham Pro Medium" charset="0"/>
                  <a:cs typeface="Gotham Pro Medium" charset="0"/>
                </a:defRPr>
              </a:lvl1pPr>
            </a:lstStyle>
            <a:p>
              <a:pPr algn="ctr"/>
              <a:r>
                <a:rPr lang="ru-RU" sz="3999" dirty="0">
                  <a:solidFill>
                    <a:prstClr val="white"/>
                  </a:solidFill>
                  <a:latin typeface="Arial Black" panose="020B0A04020102020204" pitchFamily="34" charset="0"/>
                  <a:cs typeface="Gotham Pro Medium" panose="02000503040000020004" pitchFamily="2" charset="0"/>
                </a:rPr>
                <a:t>97%</a:t>
              </a:r>
            </a:p>
          </p:txBody>
        </p:sp>
      </p:grpSp>
      <p:sp>
        <p:nvSpPr>
          <p:cNvPr id="109" name="Rectangle 237">
            <a:extLst>
              <a:ext uri="{FF2B5EF4-FFF2-40B4-BE49-F238E27FC236}">
                <a16:creationId xmlns:a16="http://schemas.microsoft.com/office/drawing/2014/main" xmlns="" id="{F811934B-93AD-9547-AE46-E1E53E670D17}"/>
              </a:ext>
            </a:extLst>
          </p:cNvPr>
          <p:cNvSpPr/>
          <p:nvPr/>
        </p:nvSpPr>
        <p:spPr>
          <a:xfrm>
            <a:off x="6922227" y="2918569"/>
            <a:ext cx="4715711" cy="83074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2399" dirty="0">
                <a:solidFill>
                  <a:srgbClr val="EB5A40"/>
                </a:solidFill>
                <a:latin typeface="Arial Black" panose="020B0A04020102020204" pitchFamily="34" charset="0"/>
                <a:cs typeface="Gotham Pro Medium" panose="02000503040000020004" pitchFamily="2" charset="0"/>
              </a:rPr>
              <a:t>Экономически </a:t>
            </a:r>
          </a:p>
          <a:p>
            <a:r>
              <a:rPr lang="ru-RU" sz="2399" dirty="0">
                <a:solidFill>
                  <a:srgbClr val="EB5A40"/>
                </a:solidFill>
                <a:latin typeface="Arial Black" panose="020B0A04020102020204" pitchFamily="34" charset="0"/>
                <a:cs typeface="Gotham Pro Medium" panose="02000503040000020004" pitchFamily="2" charset="0"/>
              </a:rPr>
              <a:t>активного населения РФ</a:t>
            </a:r>
            <a:endParaRPr lang="en-US" sz="2399" dirty="0">
              <a:solidFill>
                <a:srgbClr val="EB5A40"/>
              </a:solidFill>
              <a:latin typeface="Arial Black" panose="020B0A04020102020204" pitchFamily="34" charset="0"/>
              <a:cs typeface="Gotham Pro Medium" panose="02000503040000020004" pitchFamily="2" charset="0"/>
            </a:endParaRPr>
          </a:p>
        </p:txBody>
      </p:sp>
      <p:sp>
        <p:nvSpPr>
          <p:cNvPr id="110" name="Текст 4">
            <a:extLst>
              <a:ext uri="{FF2B5EF4-FFF2-40B4-BE49-F238E27FC236}">
                <a16:creationId xmlns:a16="http://schemas.microsoft.com/office/drawing/2014/main" xmlns="" id="{85F971E3-7456-8944-BAFD-CEC890953C82}"/>
              </a:ext>
            </a:extLst>
          </p:cNvPr>
          <p:cNvSpPr txBox="1">
            <a:spLocks/>
          </p:cNvSpPr>
          <p:nvPr/>
        </p:nvSpPr>
        <p:spPr>
          <a:xfrm>
            <a:off x="6922228" y="3610158"/>
            <a:ext cx="4314148" cy="851056"/>
          </a:xfrm>
          <a:prstGeom prst="rect">
            <a:avLst/>
          </a:prstGeom>
        </p:spPr>
        <p:txBody>
          <a:bodyPr vert="horz" lIns="91412" tIns="45706" rIns="91412" bIns="45706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1600" b="0" i="0" kern="1200" baseline="0">
                <a:solidFill>
                  <a:srgbClr val="B01839"/>
                </a:solidFill>
                <a:latin typeface="Gotham Pro Medium" charset="0"/>
                <a:ea typeface="Gotham Pro Medium" charset="0"/>
                <a:cs typeface="Gotham Pro Medium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b="0" i="0" kern="1200">
                <a:solidFill>
                  <a:srgbClr val="9B9B9B"/>
                </a:solidFill>
                <a:latin typeface="Gotham Pro Medium" charset="0"/>
                <a:ea typeface="Gotham Pro Medium" charset="0"/>
                <a:cs typeface="Gotham Pro Medium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200" b="0" i="0" kern="1200" baseline="0">
                <a:solidFill>
                  <a:srgbClr val="003B46"/>
                </a:solidFill>
                <a:latin typeface="Gotham Pro" charset="0"/>
                <a:ea typeface="Gotham Pro" charset="0"/>
                <a:cs typeface="Gotham Pro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300" b="0" i="0" kern="1200">
                <a:solidFill>
                  <a:srgbClr val="9B9B9B"/>
                </a:solidFill>
                <a:latin typeface="Gotham Pro" charset="0"/>
                <a:ea typeface="Gotham Pro" charset="0"/>
                <a:cs typeface="Gotham Pro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300" b="0" i="0" kern="1200" spc="0" baseline="0">
                <a:solidFill>
                  <a:srgbClr val="00B3A1"/>
                </a:solidFill>
                <a:latin typeface="Gotham Pro" charset="0"/>
                <a:ea typeface="Gotham Pro" charset="0"/>
                <a:cs typeface="Gotham Pro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ограничиваясь абонентами мобильных операторов или пользователями интернета</a:t>
            </a:r>
          </a:p>
        </p:txBody>
      </p:sp>
      <p:pic>
        <p:nvPicPr>
          <p:cNvPr id="107" name="Рисунок 10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804" y="5960124"/>
            <a:ext cx="2312148" cy="734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0479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804" y="5947249"/>
            <a:ext cx="2312148" cy="734912"/>
          </a:xfrm>
          <a:prstGeom prst="rect">
            <a:avLst/>
          </a:prstGeom>
        </p:spPr>
      </p:pic>
      <p:grpSp>
        <p:nvGrpSpPr>
          <p:cNvPr id="5" name="Группа 4"/>
          <p:cNvGrpSpPr/>
          <p:nvPr/>
        </p:nvGrpSpPr>
        <p:grpSpPr>
          <a:xfrm>
            <a:off x="10775549" y="6143794"/>
            <a:ext cx="1079661" cy="341820"/>
            <a:chOff x="10776993" y="6289862"/>
            <a:chExt cx="1079995" cy="341925"/>
          </a:xfrm>
        </p:grpSpPr>
        <p:sp>
          <p:nvSpPr>
            <p:cNvPr id="6" name="Овал 5"/>
            <p:cNvSpPr/>
            <p:nvPr/>
          </p:nvSpPr>
          <p:spPr>
            <a:xfrm>
              <a:off x="10776993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Овал 6"/>
            <p:cNvSpPr/>
            <p:nvPr/>
          </p:nvSpPr>
          <p:spPr>
            <a:xfrm>
              <a:off x="11515064" y="6289862"/>
              <a:ext cx="341924" cy="341925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Овал 7"/>
            <p:cNvSpPr/>
            <p:nvPr/>
          </p:nvSpPr>
          <p:spPr>
            <a:xfrm>
              <a:off x="11146028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" name="Rounded Rectangle 19"/>
          <p:cNvSpPr/>
          <p:nvPr/>
        </p:nvSpPr>
        <p:spPr bwMode="auto">
          <a:xfrm>
            <a:off x="1330751" y="1765060"/>
            <a:ext cx="1760194" cy="367165"/>
          </a:xfrm>
          <a:prstGeom prst="roundRect">
            <a:avLst/>
          </a:prstGeom>
          <a:noFill/>
          <a:ln w="3175" cap="flat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2" tIns="0" rIns="91412" bIns="45706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66" dirty="0">
                <a:solidFill>
                  <a:prstClr val="black"/>
                </a:solidFill>
                <a:latin typeface="Arial Black" panose="020B0A04020102020204" pitchFamily="34" charset="0"/>
                <a:ea typeface="Gotham Pro Medium" charset="0"/>
                <a:cs typeface="Gotham Pro Medium" charset="0"/>
                <a:sym typeface="Gill Sans" charset="0"/>
              </a:rPr>
              <a:t>Демография</a:t>
            </a:r>
            <a:endParaRPr lang="en-GB" sz="1466" dirty="0">
              <a:solidFill>
                <a:prstClr val="black"/>
              </a:solidFill>
              <a:latin typeface="Arial Black" panose="020B0A04020102020204" pitchFamily="34" charset="0"/>
              <a:ea typeface="Gotham Pro Medium" charset="0"/>
              <a:cs typeface="Gotham Pro Medium" charset="0"/>
              <a:sym typeface="Gill Sans" charset="0"/>
            </a:endParaRPr>
          </a:p>
        </p:txBody>
      </p:sp>
      <p:sp>
        <p:nvSpPr>
          <p:cNvPr id="11" name="Rectangle 23"/>
          <p:cNvSpPr/>
          <p:nvPr/>
        </p:nvSpPr>
        <p:spPr>
          <a:xfrm>
            <a:off x="1330751" y="2006666"/>
            <a:ext cx="1211020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33" dirty="0">
                <a:solidFill>
                  <a:prstClr val="black">
                    <a:lumMod val="90000"/>
                    <a:lumOff val="10000"/>
                  </a:prstClr>
                </a:solidFill>
                <a:latin typeface="Arial" panose="020B0604020202020204" pitchFamily="34" charset="0"/>
                <a:ea typeface="Gotham Pro" charset="0"/>
                <a:cs typeface="Arial" panose="020B0604020202020204" pitchFamily="34" charset="0"/>
              </a:rPr>
              <a:t>Пол, возраст</a:t>
            </a:r>
            <a:endParaRPr lang="en-US" sz="1333" dirty="0">
              <a:solidFill>
                <a:prstClr val="black">
                  <a:lumMod val="90000"/>
                  <a:lumOff val="10000"/>
                </a:prstClr>
              </a:solidFill>
              <a:latin typeface="Arial" panose="020B0604020202020204" pitchFamily="34" charset="0"/>
              <a:ea typeface="Gotham Pro" charset="0"/>
              <a:cs typeface="Arial" panose="020B0604020202020204" pitchFamily="34" charset="0"/>
            </a:endParaRPr>
          </a:p>
        </p:txBody>
      </p:sp>
      <p:sp>
        <p:nvSpPr>
          <p:cNvPr id="12" name="Rounded Rectangle 25"/>
          <p:cNvSpPr/>
          <p:nvPr/>
        </p:nvSpPr>
        <p:spPr bwMode="auto">
          <a:xfrm>
            <a:off x="5004308" y="2861164"/>
            <a:ext cx="2002062" cy="367165"/>
          </a:xfrm>
          <a:prstGeom prst="roundRect">
            <a:avLst/>
          </a:prstGeom>
          <a:noFill/>
          <a:ln w="3175" cap="flat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2" tIns="0" rIns="91412" bIns="45706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66" dirty="0">
                <a:solidFill>
                  <a:prstClr val="black"/>
                </a:solidFill>
                <a:latin typeface="Arial Black" panose="020B0A04020102020204" pitchFamily="34" charset="0"/>
                <a:ea typeface="Gotham Pro Medium" charset="0"/>
                <a:cs typeface="Gotham Pro Medium" charset="0"/>
                <a:sym typeface="Gill Sans" charset="0"/>
              </a:rPr>
              <a:t>Мобильность</a:t>
            </a:r>
            <a:endParaRPr lang="en-GB" sz="1466" dirty="0">
              <a:solidFill>
                <a:prstClr val="black"/>
              </a:solidFill>
              <a:latin typeface="Arial Black" panose="020B0A04020102020204" pitchFamily="34" charset="0"/>
              <a:ea typeface="Gotham Pro Medium" charset="0"/>
              <a:cs typeface="Gotham Pro Medium" charset="0"/>
              <a:sym typeface="Gill Sans" charset="0"/>
            </a:endParaRPr>
          </a:p>
        </p:txBody>
      </p:sp>
      <p:sp>
        <p:nvSpPr>
          <p:cNvPr id="13" name="Rounded Rectangle 30"/>
          <p:cNvSpPr/>
          <p:nvPr/>
        </p:nvSpPr>
        <p:spPr bwMode="auto">
          <a:xfrm>
            <a:off x="8721544" y="1744559"/>
            <a:ext cx="2406407" cy="367165"/>
          </a:xfrm>
          <a:prstGeom prst="roundRect">
            <a:avLst/>
          </a:prstGeom>
          <a:noFill/>
          <a:ln w="3175" cap="flat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2" tIns="0" rIns="91412" bIns="45706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66" dirty="0">
                <a:solidFill>
                  <a:prstClr val="black"/>
                </a:solidFill>
                <a:latin typeface="Arial Black" panose="020B0A04020102020204" pitchFamily="34" charset="0"/>
                <a:ea typeface="Gotham Pro Medium" charset="0"/>
                <a:cs typeface="Gotham Pro Medium" charset="0"/>
                <a:sym typeface="Gill Sans" charset="0"/>
              </a:rPr>
              <a:t>Уровень доходов</a:t>
            </a:r>
            <a:endParaRPr lang="en-GB" sz="1466" dirty="0">
              <a:solidFill>
                <a:prstClr val="black"/>
              </a:solidFill>
              <a:latin typeface="Arial Black" panose="020B0A04020102020204" pitchFamily="34" charset="0"/>
              <a:ea typeface="Gotham Pro Medium" charset="0"/>
              <a:cs typeface="Gotham Pro Medium" charset="0"/>
              <a:sym typeface="Gill Sans" charset="0"/>
            </a:endParaRPr>
          </a:p>
        </p:txBody>
      </p:sp>
      <p:sp>
        <p:nvSpPr>
          <p:cNvPr id="14" name="Rectangle 34"/>
          <p:cNvSpPr/>
          <p:nvPr/>
        </p:nvSpPr>
        <p:spPr>
          <a:xfrm>
            <a:off x="8721546" y="2006666"/>
            <a:ext cx="2487371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33" dirty="0">
                <a:solidFill>
                  <a:prstClr val="black">
                    <a:lumMod val="90000"/>
                    <a:lumOff val="10000"/>
                  </a:prstClr>
                </a:solidFill>
                <a:latin typeface="Arial" panose="020B0604020202020204" pitchFamily="34" charset="0"/>
                <a:ea typeface="Gotham Pro" charset="0"/>
                <a:cs typeface="Arial" panose="020B0604020202020204" pitchFamily="34" charset="0"/>
              </a:rPr>
              <a:t>Уровень доходов, расходов</a:t>
            </a:r>
            <a:endParaRPr lang="en-GB" sz="1333" dirty="0">
              <a:solidFill>
                <a:prstClr val="black">
                  <a:lumMod val="90000"/>
                  <a:lumOff val="10000"/>
                </a:prstClr>
              </a:solidFill>
              <a:latin typeface="Arial" panose="020B0604020202020204" pitchFamily="34" charset="0"/>
              <a:ea typeface="Gotham Pro" charset="0"/>
              <a:cs typeface="Arial" panose="020B0604020202020204" pitchFamily="34" charset="0"/>
            </a:endParaRPr>
          </a:p>
        </p:txBody>
      </p:sp>
      <p:sp>
        <p:nvSpPr>
          <p:cNvPr id="15" name="Rounded Rectangle 36"/>
          <p:cNvSpPr/>
          <p:nvPr/>
        </p:nvSpPr>
        <p:spPr bwMode="auto">
          <a:xfrm>
            <a:off x="5004308" y="1765060"/>
            <a:ext cx="2141050" cy="367165"/>
          </a:xfrm>
          <a:prstGeom prst="roundRect">
            <a:avLst/>
          </a:prstGeom>
          <a:noFill/>
          <a:ln w="3175" cap="flat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2" tIns="0" rIns="91412" bIns="45706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66" dirty="0">
                <a:solidFill>
                  <a:prstClr val="black"/>
                </a:solidFill>
                <a:latin typeface="Arial Black" panose="020B0A04020102020204" pitchFamily="34" charset="0"/>
                <a:ea typeface="Gotham Pro Medium" charset="0"/>
                <a:cs typeface="Gotham Pro Medium" charset="0"/>
                <a:sym typeface="Gill Sans" charset="0"/>
              </a:rPr>
              <a:t>Стиль жизни</a:t>
            </a:r>
            <a:endParaRPr lang="en-GB" sz="1466" dirty="0">
              <a:solidFill>
                <a:prstClr val="black"/>
              </a:solidFill>
              <a:latin typeface="Arial Black" panose="020B0A04020102020204" pitchFamily="34" charset="0"/>
              <a:ea typeface="Gotham Pro Medium" charset="0"/>
              <a:cs typeface="Gotham Pro Medium" charset="0"/>
              <a:sym typeface="Gill Sans" charset="0"/>
            </a:endParaRPr>
          </a:p>
        </p:txBody>
      </p:sp>
      <p:sp>
        <p:nvSpPr>
          <p:cNvPr id="16" name="Rectangle 40"/>
          <p:cNvSpPr/>
          <p:nvPr/>
        </p:nvSpPr>
        <p:spPr>
          <a:xfrm>
            <a:off x="5004308" y="2006666"/>
            <a:ext cx="2226758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33" dirty="0">
                <a:solidFill>
                  <a:prstClr val="black">
                    <a:lumMod val="90000"/>
                    <a:lumOff val="10000"/>
                  </a:prstClr>
                </a:solidFill>
                <a:latin typeface="Arial" panose="020B0604020202020204" pitchFamily="34" charset="0"/>
                <a:ea typeface="Gotham Pro" charset="0"/>
                <a:cs typeface="Arial" panose="020B0604020202020204" pitchFamily="34" charset="0"/>
              </a:rPr>
              <a:t>Семейное положение,</a:t>
            </a:r>
            <a:endParaRPr lang="en-GB" sz="1333" dirty="0">
              <a:solidFill>
                <a:prstClr val="black">
                  <a:lumMod val="90000"/>
                  <a:lumOff val="10000"/>
                </a:prstClr>
              </a:solidFill>
              <a:latin typeface="Arial" panose="020B0604020202020204" pitchFamily="34" charset="0"/>
              <a:ea typeface="Gotham Pro" charset="0"/>
              <a:cs typeface="Arial" panose="020B0604020202020204" pitchFamily="34" charset="0"/>
            </a:endParaRPr>
          </a:p>
          <a:p>
            <a:r>
              <a:rPr lang="ru-RU" sz="1333" dirty="0">
                <a:solidFill>
                  <a:prstClr val="black">
                    <a:lumMod val="90000"/>
                    <a:lumOff val="10000"/>
                  </a:prstClr>
                </a:solidFill>
                <a:latin typeface="Arial" panose="020B0604020202020204" pitchFamily="34" charset="0"/>
                <a:ea typeface="Gotham Pro" charset="0"/>
                <a:cs typeface="Arial" panose="020B0604020202020204" pitchFamily="34" charset="0"/>
              </a:rPr>
              <a:t>наличие детей</a:t>
            </a:r>
          </a:p>
        </p:txBody>
      </p:sp>
      <p:sp>
        <p:nvSpPr>
          <p:cNvPr id="17" name="Rectangle 41"/>
          <p:cNvSpPr/>
          <p:nvPr/>
        </p:nvSpPr>
        <p:spPr>
          <a:xfrm>
            <a:off x="5004307" y="3123575"/>
            <a:ext cx="2893903" cy="7076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33" dirty="0">
                <a:solidFill>
                  <a:prstClr val="black">
                    <a:lumMod val="90000"/>
                    <a:lumOff val="10000"/>
                  </a:prstClr>
                </a:solidFill>
                <a:latin typeface="Arial" panose="020B0604020202020204" pitchFamily="34" charset="0"/>
                <a:ea typeface="Gotham Pro" charset="0"/>
                <a:cs typeface="Arial" panose="020B0604020202020204" pitchFamily="34" charset="0"/>
              </a:rPr>
              <a:t>Пробег, наличие авто, виды </a:t>
            </a:r>
          </a:p>
          <a:p>
            <a:r>
              <a:rPr lang="ru-RU" sz="1333" dirty="0">
                <a:solidFill>
                  <a:prstClr val="black">
                    <a:lumMod val="90000"/>
                    <a:lumOff val="10000"/>
                  </a:prstClr>
                </a:solidFill>
                <a:latin typeface="Arial" panose="020B0604020202020204" pitchFamily="34" charset="0"/>
                <a:ea typeface="Gotham Pro" charset="0"/>
                <a:cs typeface="Arial" panose="020B0604020202020204" pitchFamily="34" charset="0"/>
              </a:rPr>
              <a:t>транспорта, используемые </a:t>
            </a:r>
          </a:p>
          <a:p>
            <a:r>
              <a:rPr lang="ru-RU" sz="1333" dirty="0">
                <a:solidFill>
                  <a:prstClr val="black">
                    <a:lumMod val="90000"/>
                    <a:lumOff val="10000"/>
                  </a:prstClr>
                </a:solidFill>
                <a:latin typeface="Arial" panose="020B0604020202020204" pitchFamily="34" charset="0"/>
                <a:ea typeface="Gotham Pro" charset="0"/>
                <a:cs typeface="Arial" panose="020B0604020202020204" pitchFamily="34" charset="0"/>
              </a:rPr>
              <a:t>регулярно</a:t>
            </a:r>
          </a:p>
        </p:txBody>
      </p:sp>
      <p:sp>
        <p:nvSpPr>
          <p:cNvPr id="18" name="Rounded Rectangle 45"/>
          <p:cNvSpPr/>
          <p:nvPr/>
        </p:nvSpPr>
        <p:spPr bwMode="auto">
          <a:xfrm>
            <a:off x="1330752" y="2861164"/>
            <a:ext cx="2565777" cy="367165"/>
          </a:xfrm>
          <a:prstGeom prst="roundRect">
            <a:avLst/>
          </a:prstGeom>
          <a:noFill/>
          <a:ln w="3175" cap="flat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2" tIns="0" rIns="91412" bIns="45706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66" dirty="0">
                <a:solidFill>
                  <a:prstClr val="black"/>
                </a:solidFill>
                <a:latin typeface="Arial Black" panose="020B0A04020102020204" pitchFamily="34" charset="0"/>
                <a:ea typeface="Gotham Pro Medium" charset="0"/>
                <a:cs typeface="Gotham Pro Medium" charset="0"/>
                <a:sym typeface="Gill Sans" charset="0"/>
              </a:rPr>
              <a:t>Тип занятости</a:t>
            </a:r>
            <a:endParaRPr lang="en-GB" sz="1466" dirty="0">
              <a:solidFill>
                <a:prstClr val="black"/>
              </a:solidFill>
              <a:latin typeface="Arial Black" panose="020B0A04020102020204" pitchFamily="34" charset="0"/>
              <a:ea typeface="Gotham Pro Medium" charset="0"/>
              <a:cs typeface="Gotham Pro Medium" charset="0"/>
              <a:sym typeface="Gill Sans" charset="0"/>
            </a:endParaRPr>
          </a:p>
        </p:txBody>
      </p:sp>
      <p:sp>
        <p:nvSpPr>
          <p:cNvPr id="19" name="Rectangle 44"/>
          <p:cNvSpPr/>
          <p:nvPr/>
        </p:nvSpPr>
        <p:spPr>
          <a:xfrm>
            <a:off x="1330751" y="3123574"/>
            <a:ext cx="2645474" cy="7076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33" dirty="0">
                <a:solidFill>
                  <a:prstClr val="black">
                    <a:lumMod val="90000"/>
                    <a:lumOff val="10000"/>
                  </a:prstClr>
                </a:solidFill>
                <a:latin typeface="Arial" panose="020B0604020202020204" pitchFamily="34" charset="0"/>
                <a:ea typeface="Gotham Pro" charset="0"/>
                <a:cs typeface="Arial" panose="020B0604020202020204" pitchFamily="34" charset="0"/>
              </a:rPr>
              <a:t>Наличие работы, вид занятости (офисная</a:t>
            </a:r>
            <a:r>
              <a:rPr lang="en-US" sz="1333" dirty="0">
                <a:solidFill>
                  <a:prstClr val="black">
                    <a:lumMod val="90000"/>
                    <a:lumOff val="10000"/>
                  </a:prstClr>
                </a:solidFill>
                <a:latin typeface="Arial" panose="020B0604020202020204" pitchFamily="34" charset="0"/>
                <a:ea typeface="Gotham Pro" charset="0"/>
                <a:cs typeface="Arial" panose="020B0604020202020204" pitchFamily="34" charset="0"/>
              </a:rPr>
              <a:t>/</a:t>
            </a:r>
            <a:r>
              <a:rPr lang="ru-RU" sz="1333" dirty="0">
                <a:solidFill>
                  <a:prstClr val="black">
                    <a:lumMod val="90000"/>
                    <a:lumOff val="10000"/>
                  </a:prstClr>
                </a:solidFill>
                <a:latin typeface="Arial" panose="020B0604020202020204" pitchFamily="34" charset="0"/>
                <a:ea typeface="Gotham Pro" charset="0"/>
                <a:cs typeface="Arial" panose="020B0604020202020204" pitchFamily="34" charset="0"/>
              </a:rPr>
              <a:t>разъездная)</a:t>
            </a:r>
          </a:p>
        </p:txBody>
      </p:sp>
      <p:sp>
        <p:nvSpPr>
          <p:cNvPr id="20" name="Rounded Rectangle 50"/>
          <p:cNvSpPr/>
          <p:nvPr/>
        </p:nvSpPr>
        <p:spPr bwMode="auto">
          <a:xfrm>
            <a:off x="1330752" y="3962939"/>
            <a:ext cx="1397735" cy="367165"/>
          </a:xfrm>
          <a:prstGeom prst="roundRect">
            <a:avLst/>
          </a:prstGeom>
          <a:noFill/>
          <a:ln w="3175" cap="flat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2" tIns="0" rIns="91412" bIns="45706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66" dirty="0">
                <a:solidFill>
                  <a:prstClr val="black"/>
                </a:solidFill>
                <a:latin typeface="Arial Black" panose="020B0A04020102020204" pitchFamily="34" charset="0"/>
                <a:ea typeface="Gotham Pro Medium" charset="0"/>
                <a:cs typeface="Gotham Pro Medium" charset="0"/>
                <a:sym typeface="Gill Sans" charset="0"/>
              </a:rPr>
              <a:t>Digital</a:t>
            </a:r>
            <a:endParaRPr lang="en-GB" sz="1466" dirty="0">
              <a:solidFill>
                <a:prstClr val="black"/>
              </a:solidFill>
              <a:latin typeface="Arial Black" panose="020B0A04020102020204" pitchFamily="34" charset="0"/>
              <a:ea typeface="Gotham Pro Medium" charset="0"/>
              <a:cs typeface="Gotham Pro Medium" charset="0"/>
              <a:sym typeface="Gill Sans" charset="0"/>
            </a:endParaRPr>
          </a:p>
        </p:txBody>
      </p:sp>
      <p:sp>
        <p:nvSpPr>
          <p:cNvPr id="21" name="Rectangle 54"/>
          <p:cNvSpPr/>
          <p:nvPr/>
        </p:nvSpPr>
        <p:spPr>
          <a:xfrm>
            <a:off x="1330752" y="4205576"/>
            <a:ext cx="1866894" cy="7076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33" dirty="0">
                <a:solidFill>
                  <a:prstClr val="black">
                    <a:lumMod val="90000"/>
                    <a:lumOff val="10000"/>
                  </a:prstClr>
                </a:solidFill>
                <a:latin typeface="Arial" panose="020B0604020202020204" pitchFamily="34" charset="0"/>
                <a:ea typeface="Gotham Pro" charset="0"/>
                <a:cs typeface="Arial" panose="020B0604020202020204" pitchFamily="34" charset="0"/>
              </a:rPr>
              <a:t>Устройство, поведение </a:t>
            </a:r>
          </a:p>
          <a:p>
            <a:r>
              <a:rPr lang="ru-RU" sz="1333" dirty="0">
                <a:solidFill>
                  <a:prstClr val="black">
                    <a:lumMod val="90000"/>
                    <a:lumOff val="10000"/>
                  </a:prstClr>
                </a:solidFill>
                <a:latin typeface="Arial" panose="020B0604020202020204" pitchFamily="34" charset="0"/>
                <a:ea typeface="Gotham Pro" charset="0"/>
                <a:cs typeface="Arial" panose="020B0604020202020204" pitchFamily="34" charset="0"/>
              </a:rPr>
              <a:t>в интернете </a:t>
            </a:r>
          </a:p>
        </p:txBody>
      </p:sp>
      <p:sp>
        <p:nvSpPr>
          <p:cNvPr id="22" name="Rounded Rectangle 56"/>
          <p:cNvSpPr/>
          <p:nvPr/>
        </p:nvSpPr>
        <p:spPr bwMode="auto">
          <a:xfrm>
            <a:off x="5004308" y="3962937"/>
            <a:ext cx="2002059" cy="412143"/>
          </a:xfrm>
          <a:prstGeom prst="roundRect">
            <a:avLst/>
          </a:prstGeom>
          <a:noFill/>
          <a:ln w="3175" cap="flat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2" tIns="0" rIns="91412" bIns="45706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66" dirty="0">
                <a:solidFill>
                  <a:prstClr val="black"/>
                </a:solidFill>
                <a:latin typeface="Arial Black" panose="020B0A04020102020204" pitchFamily="34" charset="0"/>
                <a:ea typeface="Gotham Pro Medium" charset="0"/>
                <a:cs typeface="Gotham Pro Medium" charset="0"/>
                <a:sym typeface="Gill Sans" charset="0"/>
              </a:rPr>
              <a:t>Интересы</a:t>
            </a:r>
            <a:endParaRPr lang="en-GB" sz="1466" dirty="0">
              <a:solidFill>
                <a:prstClr val="black"/>
              </a:solidFill>
              <a:latin typeface="Arial Black" panose="020B0A04020102020204" pitchFamily="34" charset="0"/>
              <a:ea typeface="Gotham Pro Medium" charset="0"/>
              <a:cs typeface="Gotham Pro Medium" charset="0"/>
              <a:sym typeface="Gill Sans" charset="0"/>
            </a:endParaRPr>
          </a:p>
        </p:txBody>
      </p:sp>
      <p:sp>
        <p:nvSpPr>
          <p:cNvPr id="23" name="Rectangle 60"/>
          <p:cNvSpPr/>
          <p:nvPr/>
        </p:nvSpPr>
        <p:spPr>
          <a:xfrm>
            <a:off x="5004308" y="4205576"/>
            <a:ext cx="2408770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33" dirty="0">
                <a:solidFill>
                  <a:prstClr val="black">
                    <a:lumMod val="90000"/>
                    <a:lumOff val="10000"/>
                  </a:prstClr>
                </a:solidFill>
                <a:latin typeface="Arial" panose="020B0604020202020204" pitchFamily="34" charset="0"/>
                <a:ea typeface="Gotham Pro" charset="0"/>
                <a:cs typeface="Arial" panose="020B0604020202020204" pitchFamily="34" charset="0"/>
              </a:rPr>
              <a:t>Лояльность к брендам,</a:t>
            </a:r>
          </a:p>
          <a:p>
            <a:r>
              <a:rPr lang="ru-RU" sz="1333" dirty="0">
                <a:solidFill>
                  <a:prstClr val="black">
                    <a:lumMod val="90000"/>
                    <a:lumOff val="10000"/>
                  </a:prstClr>
                </a:solidFill>
                <a:latin typeface="Arial" panose="020B0604020202020204" pitchFamily="34" charset="0"/>
                <a:ea typeface="Gotham Pro" charset="0"/>
                <a:cs typeface="Arial" panose="020B0604020202020204" pitchFamily="34" charset="0"/>
              </a:rPr>
              <a:t>склонность к покупкам</a:t>
            </a:r>
          </a:p>
        </p:txBody>
      </p:sp>
      <p:sp>
        <p:nvSpPr>
          <p:cNvPr id="24" name="Rounded Rectangle 64"/>
          <p:cNvSpPr/>
          <p:nvPr/>
        </p:nvSpPr>
        <p:spPr bwMode="auto">
          <a:xfrm>
            <a:off x="8721546" y="4007915"/>
            <a:ext cx="2967516" cy="367165"/>
          </a:xfrm>
          <a:prstGeom prst="roundRect">
            <a:avLst/>
          </a:prstGeom>
          <a:noFill/>
          <a:ln w="3175" cap="flat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2" tIns="0" rIns="91412" bIns="45706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66" dirty="0">
                <a:solidFill>
                  <a:prstClr val="black"/>
                </a:solidFill>
                <a:latin typeface="Arial Black" panose="020B0A04020102020204" pitchFamily="34" charset="0"/>
                <a:ea typeface="Gotham Pro Medium" charset="0"/>
                <a:cs typeface="Gotham Pro Medium" charset="0"/>
                <a:sym typeface="Gill Sans" charset="0"/>
              </a:rPr>
              <a:t>Недвижимость</a:t>
            </a:r>
            <a:endParaRPr lang="en-GB" sz="1466" dirty="0">
              <a:solidFill>
                <a:prstClr val="black"/>
              </a:solidFill>
              <a:latin typeface="Arial Black" panose="020B0A04020102020204" pitchFamily="34" charset="0"/>
              <a:ea typeface="Gotham Pro Medium" charset="0"/>
              <a:cs typeface="Gotham Pro Medium" charset="0"/>
              <a:sym typeface="Gill Sans" charset="0"/>
            </a:endParaRPr>
          </a:p>
        </p:txBody>
      </p:sp>
      <p:sp>
        <p:nvSpPr>
          <p:cNvPr id="25" name="Rectangle 68"/>
          <p:cNvSpPr/>
          <p:nvPr/>
        </p:nvSpPr>
        <p:spPr>
          <a:xfrm>
            <a:off x="8721544" y="4205576"/>
            <a:ext cx="3276850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33" dirty="0">
                <a:solidFill>
                  <a:prstClr val="black">
                    <a:lumMod val="90000"/>
                    <a:lumOff val="10000"/>
                  </a:prstClr>
                </a:solidFill>
                <a:latin typeface="Arial" panose="020B0604020202020204" pitchFamily="34" charset="0"/>
                <a:ea typeface="Gotham Pro" charset="0"/>
                <a:cs typeface="Arial" panose="020B0604020202020204" pitchFamily="34" charset="0"/>
              </a:rPr>
              <a:t>Ищет квартиру, имеет собственную </a:t>
            </a:r>
          </a:p>
          <a:p>
            <a:r>
              <a:rPr lang="ru-RU" sz="1333" dirty="0">
                <a:solidFill>
                  <a:prstClr val="black">
                    <a:lumMod val="90000"/>
                    <a:lumOff val="10000"/>
                  </a:prstClr>
                </a:solidFill>
                <a:latin typeface="Arial" panose="020B0604020202020204" pitchFamily="34" charset="0"/>
                <a:ea typeface="Gotham Pro" charset="0"/>
                <a:cs typeface="Arial" panose="020B0604020202020204" pitchFamily="34" charset="0"/>
              </a:rPr>
              <a:t>квартиру, имеет несколько квартир</a:t>
            </a:r>
          </a:p>
        </p:txBody>
      </p:sp>
      <p:sp>
        <p:nvSpPr>
          <p:cNvPr id="26" name="Rounded Rectangle 71"/>
          <p:cNvSpPr/>
          <p:nvPr/>
        </p:nvSpPr>
        <p:spPr bwMode="auto">
          <a:xfrm>
            <a:off x="8721546" y="2923594"/>
            <a:ext cx="2967516" cy="366811"/>
          </a:xfrm>
          <a:prstGeom prst="roundRect">
            <a:avLst/>
          </a:prstGeom>
          <a:noFill/>
          <a:ln w="3175" cap="flat" cmpd="sng" algn="ctr">
            <a:noFill/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2" tIns="0" rIns="91412" bIns="45706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66" dirty="0">
                <a:solidFill>
                  <a:prstClr val="black"/>
                </a:solidFill>
                <a:latin typeface="Arial Black" panose="020B0A04020102020204" pitchFamily="34" charset="0"/>
                <a:ea typeface="Gotham Pro Medium" charset="0"/>
                <a:cs typeface="Gotham Pro Medium" charset="0"/>
                <a:sym typeface="Gill Sans" charset="0"/>
              </a:rPr>
              <a:t>Путешествия</a:t>
            </a:r>
            <a:endParaRPr lang="en-GB" sz="1466" dirty="0">
              <a:solidFill>
                <a:prstClr val="black"/>
              </a:solidFill>
              <a:latin typeface="Arial Black" panose="020B0A04020102020204" pitchFamily="34" charset="0"/>
              <a:ea typeface="Gotham Pro Medium" charset="0"/>
              <a:cs typeface="Gotham Pro Medium" charset="0"/>
              <a:sym typeface="Gill Sans" charset="0"/>
            </a:endParaRPr>
          </a:p>
        </p:txBody>
      </p:sp>
      <p:sp>
        <p:nvSpPr>
          <p:cNvPr id="27" name="Rectangle 74"/>
          <p:cNvSpPr/>
          <p:nvPr/>
        </p:nvSpPr>
        <p:spPr>
          <a:xfrm>
            <a:off x="8721546" y="3123574"/>
            <a:ext cx="2613796" cy="5025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33" dirty="0">
                <a:solidFill>
                  <a:prstClr val="black">
                    <a:lumMod val="90000"/>
                    <a:lumOff val="10000"/>
                  </a:prstClr>
                </a:solidFill>
                <a:latin typeface="Arial" panose="020B0604020202020204" pitchFamily="34" charset="0"/>
                <a:ea typeface="Gotham Pro" charset="0"/>
                <a:cs typeface="Arial" panose="020B0604020202020204" pitchFamily="34" charset="0"/>
              </a:rPr>
              <a:t>Цели поездок, регулярность, направления</a:t>
            </a:r>
            <a:endParaRPr lang="en-US" sz="1333" dirty="0">
              <a:solidFill>
                <a:prstClr val="black">
                  <a:lumMod val="90000"/>
                  <a:lumOff val="10000"/>
                </a:prstClr>
              </a:solidFill>
              <a:latin typeface="Arial" panose="020B0604020202020204" pitchFamily="34" charset="0"/>
              <a:ea typeface="Gotham Pro" charset="0"/>
              <a:cs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318813" y="293721"/>
            <a:ext cx="7765267" cy="7077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999" dirty="0">
                <a:solidFill>
                  <a:prstClr val="black"/>
                </a:solidFill>
                <a:latin typeface="Arial Black" panose="020B0A04020102020204" pitchFamily="34" charset="0"/>
              </a:rPr>
              <a:t>Характеристики абонент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235" y="3833594"/>
            <a:ext cx="1107815" cy="1107815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234" y="1546455"/>
            <a:ext cx="1117093" cy="1117093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1773" y="1579466"/>
            <a:ext cx="1066712" cy="1065864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3298" y="2710030"/>
            <a:ext cx="1105451" cy="1105451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3298" y="3820191"/>
            <a:ext cx="1064347" cy="1064347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4749" y="1569207"/>
            <a:ext cx="1105451" cy="1105451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5977" y="2825785"/>
            <a:ext cx="1064753" cy="1065599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5154" y="3962936"/>
            <a:ext cx="706385" cy="706385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42" y="2788158"/>
            <a:ext cx="972332" cy="972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745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804" y="5947249"/>
            <a:ext cx="2312148" cy="734912"/>
          </a:xfrm>
          <a:prstGeom prst="rect">
            <a:avLst/>
          </a:prstGeom>
        </p:spPr>
      </p:pic>
      <p:grpSp>
        <p:nvGrpSpPr>
          <p:cNvPr id="5" name="Группа 4"/>
          <p:cNvGrpSpPr/>
          <p:nvPr/>
        </p:nvGrpSpPr>
        <p:grpSpPr>
          <a:xfrm>
            <a:off x="10775549" y="6143794"/>
            <a:ext cx="1079661" cy="341820"/>
            <a:chOff x="10776993" y="6289862"/>
            <a:chExt cx="1079995" cy="341925"/>
          </a:xfrm>
        </p:grpSpPr>
        <p:sp>
          <p:nvSpPr>
            <p:cNvPr id="6" name="Овал 5"/>
            <p:cNvSpPr/>
            <p:nvPr/>
          </p:nvSpPr>
          <p:spPr>
            <a:xfrm>
              <a:off x="10776993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Овал 6"/>
            <p:cNvSpPr/>
            <p:nvPr/>
          </p:nvSpPr>
          <p:spPr>
            <a:xfrm>
              <a:off x="11515064" y="6289862"/>
              <a:ext cx="341924" cy="341925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Овал 7"/>
            <p:cNvSpPr/>
            <p:nvPr/>
          </p:nvSpPr>
          <p:spPr>
            <a:xfrm>
              <a:off x="11146028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" name="Rectangle 2"/>
          <p:cNvSpPr/>
          <p:nvPr/>
        </p:nvSpPr>
        <p:spPr>
          <a:xfrm>
            <a:off x="377691" y="3429000"/>
            <a:ext cx="6614725" cy="9691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799" dirty="0">
                <a:solidFill>
                  <a:srgbClr val="731982"/>
                </a:solidFill>
                <a:latin typeface="Arial Black" panose="020B0A04020102020204" pitchFamily="34" charset="0"/>
                <a:ea typeface="Arial" charset="0"/>
                <a:cs typeface="Arial" panose="020B0604020202020204" pitchFamily="34" charset="0"/>
              </a:rPr>
              <a:t>Сервис работает с агрегированными обезличенными данными</a:t>
            </a:r>
            <a:endParaRPr lang="ru-RU" sz="1599" dirty="0">
              <a:solidFill>
                <a:srgbClr val="731982"/>
              </a:solidFill>
              <a:latin typeface="Arial Black" panose="020B0A04020102020204" pitchFamily="34" charset="0"/>
              <a:ea typeface="Arial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endParaRPr lang="ru-RU" sz="1599" dirty="0">
              <a:solidFill>
                <a:srgbClr val="731982"/>
              </a:solidFill>
              <a:latin typeface="Arial" panose="020B0604020202020204" pitchFamily="34" charset="0"/>
              <a:ea typeface="Arial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96110" y="291642"/>
            <a:ext cx="10883150" cy="707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999" dirty="0">
                <a:solidFill>
                  <a:prstClr val="black"/>
                </a:solidFill>
                <a:latin typeface="Arial Black" panose="020B0A04020102020204" pitchFamily="34" charset="0"/>
              </a:rPr>
              <a:t>Персональные данные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61341" y="1737745"/>
            <a:ext cx="7252606" cy="1199816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ru-RU" sz="179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гаФон следит за исполнением </a:t>
            </a:r>
          </a:p>
          <a:p>
            <a:r>
              <a:rPr lang="ru-RU" sz="1799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ующего законодательства и соблюдает законы: </a:t>
            </a:r>
          </a:p>
          <a:p>
            <a:r>
              <a:rPr lang="ru-RU" sz="1799" dirty="0">
                <a:solidFill>
                  <a:srgbClr val="00B956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«О связи» (ФЗ 126), </a:t>
            </a:r>
          </a:p>
          <a:p>
            <a:r>
              <a:rPr lang="ru-RU" sz="1799" dirty="0">
                <a:solidFill>
                  <a:srgbClr val="00B956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«О персональных данных» (ФЗ 152), УК РФ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42" r="18124"/>
          <a:stretch/>
        </p:blipFill>
        <p:spPr>
          <a:xfrm>
            <a:off x="7575857" y="1614674"/>
            <a:ext cx="4279354" cy="4177065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541600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73198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301225" y="1158468"/>
            <a:ext cx="9736909" cy="1590489"/>
          </a:xfrm>
          <a:prstGeom prst="rect">
            <a:avLst/>
          </a:prstGeom>
        </p:spPr>
        <p:txBody>
          <a:bodyPr vert="horz" lIns="91412" tIns="45706" rIns="91412" bIns="45706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6398" dirty="0">
                <a:solidFill>
                  <a:schemeClr val="bg1"/>
                </a:solidFill>
                <a:latin typeface="Arial Black" panose="020B0A04020102020204" pitchFamily="34" charset="0"/>
              </a:rPr>
              <a:t>Развитие транспортной инфраструктуры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5823" y="6082966"/>
            <a:ext cx="2022617" cy="474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156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804" y="5947249"/>
            <a:ext cx="2312148" cy="734912"/>
          </a:xfrm>
          <a:prstGeom prst="rect">
            <a:avLst/>
          </a:prstGeom>
        </p:spPr>
      </p:pic>
      <p:grpSp>
        <p:nvGrpSpPr>
          <p:cNvPr id="3" name="Группа 2"/>
          <p:cNvGrpSpPr/>
          <p:nvPr/>
        </p:nvGrpSpPr>
        <p:grpSpPr>
          <a:xfrm>
            <a:off x="10775549" y="6143794"/>
            <a:ext cx="1079661" cy="341820"/>
            <a:chOff x="10776993" y="6289862"/>
            <a:chExt cx="1079995" cy="341925"/>
          </a:xfrm>
        </p:grpSpPr>
        <p:sp>
          <p:nvSpPr>
            <p:cNvPr id="4" name="Овал 3"/>
            <p:cNvSpPr/>
            <p:nvPr/>
          </p:nvSpPr>
          <p:spPr>
            <a:xfrm>
              <a:off x="10776993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Овал 4"/>
            <p:cNvSpPr/>
            <p:nvPr/>
          </p:nvSpPr>
          <p:spPr>
            <a:xfrm>
              <a:off x="11515064" y="6289862"/>
              <a:ext cx="341924" cy="341925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Овал 5"/>
            <p:cNvSpPr/>
            <p:nvPr/>
          </p:nvSpPr>
          <p:spPr>
            <a:xfrm>
              <a:off x="11146028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ru-RU" sz="1799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0" name="Как подключить сервис"/>
          <p:cNvSpPr txBox="1"/>
          <p:nvPr/>
        </p:nvSpPr>
        <p:spPr>
          <a:xfrm>
            <a:off x="319086" y="545148"/>
            <a:ext cx="10888414" cy="48203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vert="horz" lIns="91412" tIns="45706" rIns="91412" bIns="45706" rtlCol="0" anchor="ctr">
            <a:noAutofit/>
          </a:bodyPr>
          <a:lstStyle>
            <a:defPPr>
              <a:defRPr lang="ru-RU"/>
            </a:defPPr>
            <a:lvl1pPr marR="0" indent="0" defTabSz="3024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0" i="0" u="none" strike="noStrike" cap="none" spc="0" baseline="0">
                <a:ln>
                  <a:noFill/>
                </a:ln>
                <a:uFillTx/>
                <a:latin typeface="PF DinDisplay Pro Black" panose="02000503030000020004" pitchFamily="2" charset="0"/>
                <a:ea typeface="Gotham Pro Medium" charset="0"/>
                <a:cs typeface="Gotham Pro Medium" charset="0"/>
              </a:defRPr>
            </a:lvl1pPr>
            <a:lvl2pPr marL="0" marR="0" indent="83748" algn="ctr" defTabSz="3024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103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</a:defRPr>
            </a:lvl2pPr>
            <a:lvl3pPr marL="0" marR="0" indent="167495" algn="ctr" defTabSz="3024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103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</a:defRPr>
            </a:lvl3pPr>
            <a:lvl4pPr marL="0" marR="0" indent="251243" algn="ctr" defTabSz="3024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103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</a:defRPr>
            </a:lvl4pPr>
            <a:lvl5pPr marL="0" marR="0" indent="334991" algn="ctr" defTabSz="3024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103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</a:defRPr>
            </a:lvl5pPr>
            <a:lvl6pPr marL="0" marR="0" indent="418739" algn="ctr" defTabSz="3024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103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</a:defRPr>
            </a:lvl6pPr>
            <a:lvl7pPr marL="0" marR="0" indent="502486" algn="ctr" defTabSz="3024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103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</a:defRPr>
            </a:lvl7pPr>
            <a:lvl8pPr marL="0" marR="0" indent="586233" algn="ctr" defTabSz="3024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103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</a:defRPr>
            </a:lvl8pPr>
            <a:lvl9pPr marL="0" marR="0" indent="669981" algn="ctr" defTabSz="30242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103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</a:defRPr>
            </a:lvl9pPr>
          </a:lstStyle>
          <a:p>
            <a:r>
              <a:rPr lang="ru-RU" sz="3599" b="1" dirty="0">
                <a:latin typeface="Arial Black" panose="020B0A04020102020204" pitchFamily="34" charset="0"/>
              </a:rPr>
              <a:t>Планирование строительства новых объектов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1817722" y="1412889"/>
            <a:ext cx="526106" cy="7077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999" dirty="0">
                <a:latin typeface="Arial Black" panose="020B0A04020102020204" pitchFamily="34" charset="0"/>
              </a:rPr>
              <a:t>1</a:t>
            </a:r>
            <a:endParaRPr lang="ru-RU" sz="3999" dirty="0"/>
          </a:p>
        </p:txBody>
      </p:sp>
      <p:sp>
        <p:nvSpPr>
          <p:cNvPr id="42" name="Прямоугольник 41"/>
          <p:cNvSpPr/>
          <p:nvPr/>
        </p:nvSpPr>
        <p:spPr>
          <a:xfrm>
            <a:off x="5557309" y="1412889"/>
            <a:ext cx="526106" cy="7077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999" dirty="0">
                <a:solidFill>
                  <a:srgbClr val="00B050"/>
                </a:solidFill>
                <a:latin typeface="Arial Black" panose="020B0A04020102020204" pitchFamily="34" charset="0"/>
              </a:rPr>
              <a:t>2</a:t>
            </a:r>
            <a:endParaRPr lang="ru-RU" sz="3999" dirty="0">
              <a:solidFill>
                <a:srgbClr val="00B050"/>
              </a:solidFill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9503767" y="1412889"/>
            <a:ext cx="526106" cy="7077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999" dirty="0">
                <a:solidFill>
                  <a:srgbClr val="00B050"/>
                </a:solidFill>
                <a:latin typeface="Arial Black" panose="020B0A04020102020204" pitchFamily="34" charset="0"/>
              </a:rPr>
              <a:t>3</a:t>
            </a:r>
            <a:endParaRPr lang="ru-RU" sz="3999" dirty="0">
              <a:solidFill>
                <a:srgbClr val="00B050"/>
              </a:solidFill>
            </a:endParaRPr>
          </a:p>
        </p:txBody>
      </p:sp>
      <p:grpSp>
        <p:nvGrpSpPr>
          <p:cNvPr id="48" name="Группа 47"/>
          <p:cNvGrpSpPr/>
          <p:nvPr/>
        </p:nvGrpSpPr>
        <p:grpSpPr>
          <a:xfrm>
            <a:off x="4092905" y="1971316"/>
            <a:ext cx="4006206" cy="3571683"/>
            <a:chOff x="2760062" y="2600572"/>
            <a:chExt cx="2314768" cy="1513439"/>
          </a:xfrm>
        </p:grpSpPr>
        <p:cxnSp>
          <p:nvCxnSpPr>
            <p:cNvPr id="37" name="Прямая соединительная линия 36"/>
            <p:cNvCxnSpPr/>
            <p:nvPr/>
          </p:nvCxnSpPr>
          <p:spPr>
            <a:xfrm>
              <a:off x="5074830" y="2600572"/>
              <a:ext cx="0" cy="1513439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Прямая соединительная линия 44"/>
            <p:cNvCxnSpPr/>
            <p:nvPr/>
          </p:nvCxnSpPr>
          <p:spPr>
            <a:xfrm>
              <a:off x="2760062" y="2600572"/>
              <a:ext cx="0" cy="1513439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Прямоугольник 24"/>
          <p:cNvSpPr/>
          <p:nvPr/>
        </p:nvSpPr>
        <p:spPr>
          <a:xfrm>
            <a:off x="319085" y="2159060"/>
            <a:ext cx="3826774" cy="5845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99" dirty="0">
                <a:ea typeface="Gotham Pro" charset="0"/>
                <a:cs typeface="Gotham Pro" charset="0"/>
              </a:rPr>
              <a:t>Поток </a:t>
            </a:r>
            <a:r>
              <a:rPr lang="ru-RU" sz="1599" b="1" dirty="0">
                <a:ea typeface="Gotham Pro" charset="0"/>
                <a:cs typeface="Gotham Pro" charset="0"/>
              </a:rPr>
              <a:t>профилируется</a:t>
            </a:r>
            <a:r>
              <a:rPr lang="ru-RU" sz="1599" dirty="0">
                <a:ea typeface="Gotham Pro" charset="0"/>
                <a:cs typeface="Gotham Pro" charset="0"/>
              </a:rPr>
              <a:t> по </a:t>
            </a:r>
            <a:r>
              <a:rPr lang="ru-RU" sz="1599" b="1" dirty="0">
                <a:ea typeface="Gotham Pro" charset="0"/>
                <a:cs typeface="Gotham Pro" charset="0"/>
              </a:rPr>
              <a:t>т</a:t>
            </a:r>
            <a:r>
              <a:rPr lang="ru-RU" sz="1599" dirty="0">
                <a:ea typeface="Gotham Pro" charset="0"/>
                <a:cs typeface="Gotham Pro" charset="0"/>
              </a:rPr>
              <a:t>ипу транспорта</a:t>
            </a:r>
            <a:r>
              <a:rPr lang="ru-RU" sz="1599" b="1" dirty="0">
                <a:ea typeface="Gotham Pro" charset="0"/>
                <a:cs typeface="Gotham Pro" charset="0"/>
              </a:rPr>
              <a:t> </a:t>
            </a:r>
            <a:r>
              <a:rPr lang="ru-RU" sz="1599" dirty="0">
                <a:ea typeface="Gotham Pro" charset="0"/>
                <a:cs typeface="Gotham Pro" charset="0"/>
              </a:rPr>
              <a:t>и другим качественным характеристикам</a:t>
            </a:r>
          </a:p>
        </p:txBody>
      </p:sp>
      <p:cxnSp>
        <p:nvCxnSpPr>
          <p:cNvPr id="35" name="Straight Connector 34"/>
          <p:cNvCxnSpPr/>
          <p:nvPr/>
        </p:nvCxnSpPr>
        <p:spPr>
          <a:xfrm>
            <a:off x="455074" y="5426032"/>
            <a:ext cx="11410553" cy="0"/>
          </a:xfrm>
          <a:prstGeom prst="line">
            <a:avLst/>
          </a:prstGeom>
          <a:solidFill>
            <a:srgbClr val="5F19AA"/>
          </a:solidFill>
          <a:ln w="190500" cap="flat">
            <a:gradFill>
              <a:gsLst>
                <a:gs pos="0">
                  <a:schemeClr val="tx1"/>
                </a:gs>
                <a:gs pos="58000">
                  <a:srgbClr val="731982"/>
                </a:gs>
                <a:gs pos="39000">
                  <a:srgbClr val="731982"/>
                </a:gs>
                <a:gs pos="84000">
                  <a:srgbClr val="00B956"/>
                </a:gs>
              </a:gsLst>
              <a:lin ang="0" scaled="0"/>
            </a:gra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9" name="Текст 4"/>
          <p:cNvSpPr txBox="1">
            <a:spLocks/>
          </p:cNvSpPr>
          <p:nvPr/>
        </p:nvSpPr>
        <p:spPr>
          <a:xfrm>
            <a:off x="4092905" y="2126479"/>
            <a:ext cx="4006206" cy="83061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latin typeface="GT Walsheim v2 Manual" panose="00000500000000000000" pitchFamily="50" charset="-52"/>
                <a:ea typeface="Gotham Pro" charset="0"/>
                <a:cs typeface="Gotham Pro" charset="0"/>
              </a:defRPr>
            </a:lvl1pPr>
          </a:lstStyle>
          <a:p>
            <a:r>
              <a:rPr lang="ru-RU" sz="1599" b="1" dirty="0">
                <a:latin typeface="+mn-lt"/>
              </a:rPr>
              <a:t>Анализ</a:t>
            </a:r>
            <a:r>
              <a:rPr lang="ru-RU" sz="1599" dirty="0">
                <a:latin typeface="+mn-lt"/>
              </a:rPr>
              <a:t> внутридневной, недельной и сезонной миграции населения и типов используемого транспорта</a:t>
            </a:r>
          </a:p>
        </p:txBody>
      </p:sp>
      <p:sp>
        <p:nvSpPr>
          <p:cNvPr id="36" name="Текст 4"/>
          <p:cNvSpPr txBox="1">
            <a:spLocks/>
          </p:cNvSpPr>
          <p:nvPr/>
        </p:nvSpPr>
        <p:spPr>
          <a:xfrm>
            <a:off x="8181987" y="2074268"/>
            <a:ext cx="4273094" cy="107670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>
                <a:latin typeface="GT Walsheim v2 Manual" panose="00000500000000000000" pitchFamily="50" charset="-52"/>
                <a:ea typeface="Gotham Pro" charset="0"/>
                <a:cs typeface="Gotham Pro" charset="0"/>
              </a:defRPr>
            </a:lvl1pPr>
          </a:lstStyle>
          <a:p>
            <a:r>
              <a:rPr lang="ru-RU" sz="1599" b="1" dirty="0">
                <a:latin typeface="+mn-lt"/>
              </a:rPr>
              <a:t>Рекомендации</a:t>
            </a:r>
            <a:r>
              <a:rPr lang="ru-RU" sz="1599" dirty="0">
                <a:latin typeface="+mn-lt"/>
              </a:rPr>
              <a:t> по выбору локаций для строительства транспортных развязок, дорог, мостов, альтернативного внеуличного транспорта </a:t>
            </a:r>
          </a:p>
        </p:txBody>
      </p:sp>
      <p:pic>
        <p:nvPicPr>
          <p:cNvPr id="49" name="Picture 224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lum bright="-4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3837" y="3215043"/>
            <a:ext cx="2720306" cy="2059287"/>
          </a:xfrm>
          <a:prstGeom prst="rect">
            <a:avLst/>
          </a:prstGeom>
        </p:spPr>
      </p:pic>
      <p:pic>
        <p:nvPicPr>
          <p:cNvPr id="50" name="Picture 24"/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accent3">
                <a:tint val="45000"/>
                <a:satMod val="400000"/>
              </a:schemeClr>
            </a:duotone>
            <a:lum bright="-40000" contrast="-40000"/>
          </a:blip>
          <a:stretch>
            <a:fillRect/>
          </a:stretch>
        </p:blipFill>
        <p:spPr>
          <a:xfrm>
            <a:off x="5050604" y="3316623"/>
            <a:ext cx="2032339" cy="1692083"/>
          </a:xfrm>
          <a:prstGeom prst="rect">
            <a:avLst/>
          </a:prstGeom>
        </p:spPr>
      </p:pic>
      <p:sp>
        <p:nvSpPr>
          <p:cNvPr id="21" name="Freeform 27"/>
          <p:cNvSpPr>
            <a:spLocks noEditPoints="1"/>
          </p:cNvSpPr>
          <p:nvPr/>
        </p:nvSpPr>
        <p:spPr bwMode="auto">
          <a:xfrm>
            <a:off x="8834603" y="3359998"/>
            <a:ext cx="2436595" cy="1849678"/>
          </a:xfrm>
          <a:custGeom>
            <a:avLst/>
            <a:gdLst>
              <a:gd name="T0" fmla="*/ 523 w 577"/>
              <a:gd name="T1" fmla="*/ 370 h 438"/>
              <a:gd name="T2" fmla="*/ 569 w 577"/>
              <a:gd name="T3" fmla="*/ 333 h 438"/>
              <a:gd name="T4" fmla="*/ 550 w 577"/>
              <a:gd name="T5" fmla="*/ 301 h 438"/>
              <a:gd name="T6" fmla="*/ 547 w 577"/>
              <a:gd name="T7" fmla="*/ 208 h 438"/>
              <a:gd name="T8" fmla="*/ 495 w 577"/>
              <a:gd name="T9" fmla="*/ 141 h 438"/>
              <a:gd name="T10" fmla="*/ 533 w 577"/>
              <a:gd name="T11" fmla="*/ 66 h 438"/>
              <a:gd name="T12" fmla="*/ 398 w 577"/>
              <a:gd name="T13" fmla="*/ 8 h 438"/>
              <a:gd name="T14" fmla="*/ 273 w 577"/>
              <a:gd name="T15" fmla="*/ 40 h 438"/>
              <a:gd name="T16" fmla="*/ 254 w 577"/>
              <a:gd name="T17" fmla="*/ 50 h 438"/>
              <a:gd name="T18" fmla="*/ 89 w 577"/>
              <a:gd name="T19" fmla="*/ 129 h 438"/>
              <a:gd name="T20" fmla="*/ 22 w 577"/>
              <a:gd name="T21" fmla="*/ 127 h 438"/>
              <a:gd name="T22" fmla="*/ 29 w 577"/>
              <a:gd name="T23" fmla="*/ 221 h 438"/>
              <a:gd name="T24" fmla="*/ 21 w 577"/>
              <a:gd name="T25" fmla="*/ 245 h 438"/>
              <a:gd name="T26" fmla="*/ 49 w 577"/>
              <a:gd name="T27" fmla="*/ 287 h 438"/>
              <a:gd name="T28" fmla="*/ 87 w 577"/>
              <a:gd name="T29" fmla="*/ 335 h 438"/>
              <a:gd name="T30" fmla="*/ 28 w 577"/>
              <a:gd name="T31" fmla="*/ 378 h 438"/>
              <a:gd name="T32" fmla="*/ 85 w 577"/>
              <a:gd name="T33" fmla="*/ 384 h 438"/>
              <a:gd name="T34" fmla="*/ 119 w 577"/>
              <a:gd name="T35" fmla="*/ 427 h 438"/>
              <a:gd name="T36" fmla="*/ 274 w 577"/>
              <a:gd name="T37" fmla="*/ 422 h 438"/>
              <a:gd name="T38" fmla="*/ 323 w 577"/>
              <a:gd name="T39" fmla="*/ 438 h 438"/>
              <a:gd name="T40" fmla="*/ 480 w 577"/>
              <a:gd name="T41" fmla="*/ 434 h 438"/>
              <a:gd name="T42" fmla="*/ 84 w 577"/>
              <a:gd name="T43" fmla="*/ 151 h 438"/>
              <a:gd name="T44" fmla="*/ 506 w 577"/>
              <a:gd name="T45" fmla="*/ 367 h 438"/>
              <a:gd name="T46" fmla="*/ 447 w 577"/>
              <a:gd name="T47" fmla="*/ 275 h 438"/>
              <a:gd name="T48" fmla="*/ 422 w 577"/>
              <a:gd name="T49" fmla="*/ 350 h 438"/>
              <a:gd name="T50" fmla="*/ 130 w 577"/>
              <a:gd name="T51" fmla="*/ 276 h 438"/>
              <a:gd name="T52" fmla="*/ 157 w 577"/>
              <a:gd name="T53" fmla="*/ 282 h 438"/>
              <a:gd name="T54" fmla="*/ 157 w 577"/>
              <a:gd name="T55" fmla="*/ 285 h 438"/>
              <a:gd name="T56" fmla="*/ 208 w 577"/>
              <a:gd name="T57" fmla="*/ 230 h 438"/>
              <a:gd name="T58" fmla="*/ 231 w 577"/>
              <a:gd name="T59" fmla="*/ 243 h 438"/>
              <a:gd name="T60" fmla="*/ 268 w 577"/>
              <a:gd name="T61" fmla="*/ 201 h 438"/>
              <a:gd name="T62" fmla="*/ 294 w 577"/>
              <a:gd name="T63" fmla="*/ 163 h 438"/>
              <a:gd name="T64" fmla="*/ 446 w 577"/>
              <a:gd name="T65" fmla="*/ 218 h 438"/>
              <a:gd name="T66" fmla="*/ 307 w 577"/>
              <a:gd name="T67" fmla="*/ 166 h 438"/>
              <a:gd name="T68" fmla="*/ 363 w 577"/>
              <a:gd name="T69" fmla="*/ 107 h 438"/>
              <a:gd name="T70" fmla="*/ 346 w 577"/>
              <a:gd name="T71" fmla="*/ 143 h 438"/>
              <a:gd name="T72" fmla="*/ 354 w 577"/>
              <a:gd name="T73" fmla="*/ 293 h 438"/>
              <a:gd name="T74" fmla="*/ 426 w 577"/>
              <a:gd name="T75" fmla="*/ 241 h 438"/>
              <a:gd name="T76" fmla="*/ 370 w 577"/>
              <a:gd name="T77" fmla="*/ 282 h 438"/>
              <a:gd name="T78" fmla="*/ 410 w 577"/>
              <a:gd name="T79" fmla="*/ 307 h 438"/>
              <a:gd name="T80" fmla="*/ 416 w 577"/>
              <a:gd name="T81" fmla="*/ 342 h 438"/>
              <a:gd name="T82" fmla="*/ 511 w 577"/>
              <a:gd name="T83" fmla="*/ 330 h 438"/>
              <a:gd name="T84" fmla="*/ 455 w 577"/>
              <a:gd name="T85" fmla="*/ 274 h 438"/>
              <a:gd name="T86" fmla="*/ 492 w 577"/>
              <a:gd name="T87" fmla="*/ 251 h 438"/>
              <a:gd name="T88" fmla="*/ 464 w 577"/>
              <a:gd name="T89" fmla="*/ 218 h 438"/>
              <a:gd name="T90" fmla="*/ 442 w 577"/>
              <a:gd name="T91" fmla="*/ 269 h 438"/>
              <a:gd name="T92" fmla="*/ 457 w 577"/>
              <a:gd name="T93" fmla="*/ 126 h 438"/>
              <a:gd name="T94" fmla="*/ 471 w 577"/>
              <a:gd name="T95" fmla="*/ 117 h 438"/>
              <a:gd name="T96" fmla="*/ 382 w 577"/>
              <a:gd name="T97" fmla="*/ 103 h 438"/>
              <a:gd name="T98" fmla="*/ 257 w 577"/>
              <a:gd name="T99" fmla="*/ 53 h 438"/>
              <a:gd name="T100" fmla="*/ 185 w 577"/>
              <a:gd name="T101" fmla="*/ 92 h 438"/>
              <a:gd name="T102" fmla="*/ 219 w 577"/>
              <a:gd name="T103" fmla="*/ 135 h 438"/>
              <a:gd name="T104" fmla="*/ 102 w 577"/>
              <a:gd name="T105" fmla="*/ 148 h 438"/>
              <a:gd name="T106" fmla="*/ 110 w 577"/>
              <a:gd name="T107" fmla="*/ 250 h 438"/>
              <a:gd name="T108" fmla="*/ 116 w 577"/>
              <a:gd name="T109" fmla="*/ 241 h 438"/>
              <a:gd name="T110" fmla="*/ 129 w 577"/>
              <a:gd name="T111" fmla="*/ 281 h 438"/>
              <a:gd name="T112" fmla="*/ 185 w 577"/>
              <a:gd name="T113" fmla="*/ 424 h 438"/>
              <a:gd name="T114" fmla="*/ 153 w 577"/>
              <a:gd name="T115" fmla="*/ 384 h 438"/>
              <a:gd name="T116" fmla="*/ 262 w 577"/>
              <a:gd name="T117" fmla="*/ 393 h 438"/>
              <a:gd name="T118" fmla="*/ 361 w 577"/>
              <a:gd name="T119" fmla="*/ 321 h 438"/>
              <a:gd name="T120" fmla="*/ 323 w 577"/>
              <a:gd name="T121" fmla="*/ 394 h 438"/>
              <a:gd name="T122" fmla="*/ 429 w 577"/>
              <a:gd name="T123" fmla="*/ 370 h 438"/>
              <a:gd name="T124" fmla="*/ 477 w 577"/>
              <a:gd name="T125" fmla="*/ 391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77" h="438">
                <a:moveTo>
                  <a:pt x="491" y="415"/>
                </a:moveTo>
                <a:cubicBezTo>
                  <a:pt x="491" y="413"/>
                  <a:pt x="490" y="410"/>
                  <a:pt x="489" y="407"/>
                </a:cubicBezTo>
                <a:cubicBezTo>
                  <a:pt x="492" y="406"/>
                  <a:pt x="495" y="406"/>
                  <a:pt x="497" y="406"/>
                </a:cubicBezTo>
                <a:cubicBezTo>
                  <a:pt x="499" y="404"/>
                  <a:pt x="500" y="403"/>
                  <a:pt x="501" y="401"/>
                </a:cubicBezTo>
                <a:cubicBezTo>
                  <a:pt x="497" y="401"/>
                  <a:pt x="492" y="402"/>
                  <a:pt x="488" y="402"/>
                </a:cubicBezTo>
                <a:cubicBezTo>
                  <a:pt x="487" y="398"/>
                  <a:pt x="482" y="387"/>
                  <a:pt x="477" y="376"/>
                </a:cubicBezTo>
                <a:cubicBezTo>
                  <a:pt x="487" y="375"/>
                  <a:pt x="497" y="374"/>
                  <a:pt x="507" y="372"/>
                </a:cubicBezTo>
                <a:cubicBezTo>
                  <a:pt x="519" y="371"/>
                  <a:pt x="519" y="371"/>
                  <a:pt x="519" y="371"/>
                </a:cubicBezTo>
                <a:cubicBezTo>
                  <a:pt x="520" y="370"/>
                  <a:pt x="522" y="370"/>
                  <a:pt x="523" y="370"/>
                </a:cubicBezTo>
                <a:cubicBezTo>
                  <a:pt x="526" y="376"/>
                  <a:pt x="526" y="376"/>
                  <a:pt x="526" y="376"/>
                </a:cubicBezTo>
                <a:cubicBezTo>
                  <a:pt x="526" y="376"/>
                  <a:pt x="526" y="376"/>
                  <a:pt x="526" y="376"/>
                </a:cubicBezTo>
                <a:cubicBezTo>
                  <a:pt x="527" y="377"/>
                  <a:pt x="527" y="378"/>
                  <a:pt x="528" y="380"/>
                </a:cubicBezTo>
                <a:cubicBezTo>
                  <a:pt x="530" y="376"/>
                  <a:pt x="533" y="374"/>
                  <a:pt x="537" y="372"/>
                </a:cubicBezTo>
                <a:cubicBezTo>
                  <a:pt x="532" y="361"/>
                  <a:pt x="528" y="350"/>
                  <a:pt x="525" y="341"/>
                </a:cubicBezTo>
                <a:cubicBezTo>
                  <a:pt x="539" y="341"/>
                  <a:pt x="552" y="339"/>
                  <a:pt x="565" y="338"/>
                </a:cubicBezTo>
                <a:cubicBezTo>
                  <a:pt x="569" y="338"/>
                  <a:pt x="573" y="338"/>
                  <a:pt x="577" y="337"/>
                </a:cubicBezTo>
                <a:cubicBezTo>
                  <a:pt x="576" y="337"/>
                  <a:pt x="576" y="337"/>
                  <a:pt x="575" y="336"/>
                </a:cubicBezTo>
                <a:cubicBezTo>
                  <a:pt x="573" y="335"/>
                  <a:pt x="571" y="334"/>
                  <a:pt x="569" y="333"/>
                </a:cubicBezTo>
                <a:cubicBezTo>
                  <a:pt x="567" y="333"/>
                  <a:pt x="565" y="333"/>
                  <a:pt x="564" y="334"/>
                </a:cubicBezTo>
                <a:cubicBezTo>
                  <a:pt x="551" y="335"/>
                  <a:pt x="537" y="336"/>
                  <a:pt x="524" y="336"/>
                </a:cubicBezTo>
                <a:cubicBezTo>
                  <a:pt x="524" y="335"/>
                  <a:pt x="524" y="332"/>
                  <a:pt x="524" y="330"/>
                </a:cubicBezTo>
                <a:cubicBezTo>
                  <a:pt x="523" y="325"/>
                  <a:pt x="525" y="321"/>
                  <a:pt x="527" y="318"/>
                </a:cubicBezTo>
                <a:cubicBezTo>
                  <a:pt x="531" y="315"/>
                  <a:pt x="538" y="312"/>
                  <a:pt x="549" y="310"/>
                </a:cubicBezTo>
                <a:cubicBezTo>
                  <a:pt x="552" y="310"/>
                  <a:pt x="554" y="309"/>
                  <a:pt x="556" y="309"/>
                </a:cubicBezTo>
                <a:cubicBezTo>
                  <a:pt x="557" y="307"/>
                  <a:pt x="558" y="305"/>
                  <a:pt x="559" y="303"/>
                </a:cubicBezTo>
                <a:cubicBezTo>
                  <a:pt x="558" y="302"/>
                  <a:pt x="557" y="301"/>
                  <a:pt x="556" y="300"/>
                </a:cubicBezTo>
                <a:cubicBezTo>
                  <a:pt x="554" y="301"/>
                  <a:pt x="552" y="301"/>
                  <a:pt x="550" y="301"/>
                </a:cubicBezTo>
                <a:cubicBezTo>
                  <a:pt x="550" y="297"/>
                  <a:pt x="547" y="284"/>
                  <a:pt x="544" y="276"/>
                </a:cubicBezTo>
                <a:cubicBezTo>
                  <a:pt x="547" y="276"/>
                  <a:pt x="549" y="276"/>
                  <a:pt x="552" y="275"/>
                </a:cubicBezTo>
                <a:cubicBezTo>
                  <a:pt x="553" y="274"/>
                  <a:pt x="554" y="272"/>
                  <a:pt x="556" y="271"/>
                </a:cubicBezTo>
                <a:cubicBezTo>
                  <a:pt x="551" y="271"/>
                  <a:pt x="547" y="271"/>
                  <a:pt x="542" y="271"/>
                </a:cubicBezTo>
                <a:cubicBezTo>
                  <a:pt x="540" y="267"/>
                  <a:pt x="533" y="250"/>
                  <a:pt x="519" y="238"/>
                </a:cubicBezTo>
                <a:cubicBezTo>
                  <a:pt x="566" y="236"/>
                  <a:pt x="566" y="236"/>
                  <a:pt x="566" y="236"/>
                </a:cubicBezTo>
                <a:cubicBezTo>
                  <a:pt x="565" y="232"/>
                  <a:pt x="565" y="228"/>
                  <a:pt x="564" y="224"/>
                </a:cubicBezTo>
                <a:cubicBezTo>
                  <a:pt x="559" y="224"/>
                  <a:pt x="546" y="224"/>
                  <a:pt x="542" y="224"/>
                </a:cubicBezTo>
                <a:cubicBezTo>
                  <a:pt x="542" y="222"/>
                  <a:pt x="543" y="216"/>
                  <a:pt x="547" y="208"/>
                </a:cubicBezTo>
                <a:cubicBezTo>
                  <a:pt x="546" y="206"/>
                  <a:pt x="545" y="205"/>
                  <a:pt x="545" y="203"/>
                </a:cubicBezTo>
                <a:cubicBezTo>
                  <a:pt x="544" y="200"/>
                  <a:pt x="543" y="196"/>
                  <a:pt x="542" y="192"/>
                </a:cubicBezTo>
                <a:cubicBezTo>
                  <a:pt x="540" y="195"/>
                  <a:pt x="539" y="198"/>
                  <a:pt x="537" y="200"/>
                </a:cubicBezTo>
                <a:cubicBezTo>
                  <a:pt x="523" y="198"/>
                  <a:pt x="506" y="197"/>
                  <a:pt x="487" y="196"/>
                </a:cubicBezTo>
                <a:cubicBezTo>
                  <a:pt x="478" y="196"/>
                  <a:pt x="470" y="196"/>
                  <a:pt x="461" y="196"/>
                </a:cubicBezTo>
                <a:cubicBezTo>
                  <a:pt x="460" y="192"/>
                  <a:pt x="455" y="177"/>
                  <a:pt x="446" y="166"/>
                </a:cubicBezTo>
                <a:cubicBezTo>
                  <a:pt x="470" y="158"/>
                  <a:pt x="503" y="152"/>
                  <a:pt x="535" y="149"/>
                </a:cubicBezTo>
                <a:cubicBezTo>
                  <a:pt x="535" y="145"/>
                  <a:pt x="534" y="141"/>
                  <a:pt x="534" y="137"/>
                </a:cubicBezTo>
                <a:cubicBezTo>
                  <a:pt x="521" y="138"/>
                  <a:pt x="508" y="139"/>
                  <a:pt x="495" y="141"/>
                </a:cubicBezTo>
                <a:cubicBezTo>
                  <a:pt x="493" y="137"/>
                  <a:pt x="484" y="123"/>
                  <a:pt x="459" y="96"/>
                </a:cubicBezTo>
                <a:cubicBezTo>
                  <a:pt x="485" y="86"/>
                  <a:pt x="512" y="77"/>
                  <a:pt x="537" y="70"/>
                </a:cubicBezTo>
                <a:cubicBezTo>
                  <a:pt x="539" y="72"/>
                  <a:pt x="541" y="74"/>
                  <a:pt x="543" y="76"/>
                </a:cubicBezTo>
                <a:cubicBezTo>
                  <a:pt x="544" y="75"/>
                  <a:pt x="545" y="74"/>
                  <a:pt x="546" y="74"/>
                </a:cubicBezTo>
                <a:cubicBezTo>
                  <a:pt x="544" y="71"/>
                  <a:pt x="542" y="68"/>
                  <a:pt x="540" y="66"/>
                </a:cubicBezTo>
                <a:cubicBezTo>
                  <a:pt x="536" y="64"/>
                  <a:pt x="533" y="61"/>
                  <a:pt x="532" y="57"/>
                </a:cubicBezTo>
                <a:cubicBezTo>
                  <a:pt x="529" y="54"/>
                  <a:pt x="527" y="51"/>
                  <a:pt x="524" y="49"/>
                </a:cubicBezTo>
                <a:cubicBezTo>
                  <a:pt x="522" y="50"/>
                  <a:pt x="519" y="50"/>
                  <a:pt x="517" y="50"/>
                </a:cubicBezTo>
                <a:cubicBezTo>
                  <a:pt x="522" y="56"/>
                  <a:pt x="528" y="61"/>
                  <a:pt x="533" y="66"/>
                </a:cubicBezTo>
                <a:cubicBezTo>
                  <a:pt x="521" y="69"/>
                  <a:pt x="509" y="73"/>
                  <a:pt x="497" y="77"/>
                </a:cubicBezTo>
                <a:cubicBezTo>
                  <a:pt x="489" y="67"/>
                  <a:pt x="478" y="58"/>
                  <a:pt x="468" y="48"/>
                </a:cubicBezTo>
                <a:cubicBezTo>
                  <a:pt x="458" y="40"/>
                  <a:pt x="449" y="32"/>
                  <a:pt x="442" y="23"/>
                </a:cubicBezTo>
                <a:cubicBezTo>
                  <a:pt x="447" y="20"/>
                  <a:pt x="453" y="18"/>
                  <a:pt x="459" y="16"/>
                </a:cubicBezTo>
                <a:cubicBezTo>
                  <a:pt x="455" y="14"/>
                  <a:pt x="452" y="12"/>
                  <a:pt x="449" y="10"/>
                </a:cubicBezTo>
                <a:cubicBezTo>
                  <a:pt x="448" y="9"/>
                  <a:pt x="447" y="8"/>
                  <a:pt x="446" y="7"/>
                </a:cubicBezTo>
                <a:cubicBezTo>
                  <a:pt x="442" y="8"/>
                  <a:pt x="437" y="10"/>
                  <a:pt x="433" y="11"/>
                </a:cubicBezTo>
                <a:cubicBezTo>
                  <a:pt x="423" y="8"/>
                  <a:pt x="413" y="4"/>
                  <a:pt x="404" y="0"/>
                </a:cubicBezTo>
                <a:cubicBezTo>
                  <a:pt x="402" y="3"/>
                  <a:pt x="400" y="5"/>
                  <a:pt x="398" y="8"/>
                </a:cubicBezTo>
                <a:cubicBezTo>
                  <a:pt x="405" y="11"/>
                  <a:pt x="413" y="14"/>
                  <a:pt x="420" y="16"/>
                </a:cubicBezTo>
                <a:cubicBezTo>
                  <a:pt x="402" y="24"/>
                  <a:pt x="386" y="32"/>
                  <a:pt x="372" y="39"/>
                </a:cubicBezTo>
                <a:cubicBezTo>
                  <a:pt x="371" y="38"/>
                  <a:pt x="370" y="37"/>
                  <a:pt x="369" y="36"/>
                </a:cubicBezTo>
                <a:cubicBezTo>
                  <a:pt x="362" y="37"/>
                  <a:pt x="355" y="34"/>
                  <a:pt x="350" y="27"/>
                </a:cubicBezTo>
                <a:cubicBezTo>
                  <a:pt x="350" y="26"/>
                  <a:pt x="350" y="26"/>
                  <a:pt x="349" y="25"/>
                </a:cubicBezTo>
                <a:cubicBezTo>
                  <a:pt x="348" y="25"/>
                  <a:pt x="346" y="25"/>
                  <a:pt x="344" y="24"/>
                </a:cubicBezTo>
                <a:cubicBezTo>
                  <a:pt x="352" y="30"/>
                  <a:pt x="360" y="36"/>
                  <a:pt x="368" y="42"/>
                </a:cubicBezTo>
                <a:cubicBezTo>
                  <a:pt x="351" y="51"/>
                  <a:pt x="339" y="61"/>
                  <a:pt x="331" y="70"/>
                </a:cubicBezTo>
                <a:cubicBezTo>
                  <a:pt x="326" y="67"/>
                  <a:pt x="302" y="53"/>
                  <a:pt x="273" y="40"/>
                </a:cubicBezTo>
                <a:cubicBezTo>
                  <a:pt x="275" y="38"/>
                  <a:pt x="277" y="36"/>
                  <a:pt x="280" y="34"/>
                </a:cubicBezTo>
                <a:cubicBezTo>
                  <a:pt x="284" y="31"/>
                  <a:pt x="288" y="28"/>
                  <a:pt x="293" y="25"/>
                </a:cubicBezTo>
                <a:cubicBezTo>
                  <a:pt x="292" y="24"/>
                  <a:pt x="292" y="22"/>
                  <a:pt x="291" y="20"/>
                </a:cubicBezTo>
                <a:cubicBezTo>
                  <a:pt x="286" y="23"/>
                  <a:pt x="281" y="27"/>
                  <a:pt x="276" y="31"/>
                </a:cubicBezTo>
                <a:cubicBezTo>
                  <a:pt x="273" y="33"/>
                  <a:pt x="270" y="36"/>
                  <a:pt x="268" y="38"/>
                </a:cubicBezTo>
                <a:cubicBezTo>
                  <a:pt x="258" y="34"/>
                  <a:pt x="249" y="30"/>
                  <a:pt x="240" y="26"/>
                </a:cubicBezTo>
                <a:cubicBezTo>
                  <a:pt x="235" y="29"/>
                  <a:pt x="229" y="32"/>
                  <a:pt x="224" y="34"/>
                </a:cubicBezTo>
                <a:cubicBezTo>
                  <a:pt x="235" y="38"/>
                  <a:pt x="246" y="43"/>
                  <a:pt x="257" y="48"/>
                </a:cubicBezTo>
                <a:cubicBezTo>
                  <a:pt x="256" y="48"/>
                  <a:pt x="255" y="49"/>
                  <a:pt x="254" y="50"/>
                </a:cubicBezTo>
                <a:cubicBezTo>
                  <a:pt x="241" y="57"/>
                  <a:pt x="224" y="65"/>
                  <a:pt x="204" y="72"/>
                </a:cubicBezTo>
                <a:cubicBezTo>
                  <a:pt x="200" y="70"/>
                  <a:pt x="178" y="56"/>
                  <a:pt x="170" y="48"/>
                </a:cubicBezTo>
                <a:cubicBezTo>
                  <a:pt x="171" y="47"/>
                  <a:pt x="173" y="46"/>
                  <a:pt x="175" y="46"/>
                </a:cubicBezTo>
                <a:cubicBezTo>
                  <a:pt x="177" y="45"/>
                  <a:pt x="180" y="44"/>
                  <a:pt x="182" y="42"/>
                </a:cubicBezTo>
                <a:cubicBezTo>
                  <a:pt x="182" y="42"/>
                  <a:pt x="181" y="41"/>
                  <a:pt x="180" y="41"/>
                </a:cubicBezTo>
                <a:cubicBezTo>
                  <a:pt x="168" y="45"/>
                  <a:pt x="155" y="49"/>
                  <a:pt x="142" y="53"/>
                </a:cubicBezTo>
                <a:cubicBezTo>
                  <a:pt x="138" y="58"/>
                  <a:pt x="134" y="62"/>
                  <a:pt x="129" y="66"/>
                </a:cubicBezTo>
                <a:cubicBezTo>
                  <a:pt x="140" y="80"/>
                  <a:pt x="155" y="94"/>
                  <a:pt x="172" y="107"/>
                </a:cubicBezTo>
                <a:cubicBezTo>
                  <a:pt x="150" y="116"/>
                  <a:pt x="120" y="123"/>
                  <a:pt x="89" y="129"/>
                </a:cubicBezTo>
                <a:cubicBezTo>
                  <a:pt x="86" y="126"/>
                  <a:pt x="74" y="110"/>
                  <a:pt x="63" y="97"/>
                </a:cubicBezTo>
                <a:cubicBezTo>
                  <a:pt x="55" y="92"/>
                  <a:pt x="47" y="87"/>
                  <a:pt x="39" y="82"/>
                </a:cubicBezTo>
                <a:cubicBezTo>
                  <a:pt x="37" y="84"/>
                  <a:pt x="35" y="85"/>
                  <a:pt x="33" y="87"/>
                </a:cubicBezTo>
                <a:cubicBezTo>
                  <a:pt x="37" y="91"/>
                  <a:pt x="40" y="95"/>
                  <a:pt x="44" y="99"/>
                </a:cubicBezTo>
                <a:cubicBezTo>
                  <a:pt x="33" y="103"/>
                  <a:pt x="21" y="108"/>
                  <a:pt x="10" y="115"/>
                </a:cubicBezTo>
                <a:cubicBezTo>
                  <a:pt x="8" y="114"/>
                  <a:pt x="6" y="114"/>
                  <a:pt x="3" y="114"/>
                </a:cubicBezTo>
                <a:cubicBezTo>
                  <a:pt x="2" y="115"/>
                  <a:pt x="1" y="116"/>
                  <a:pt x="0" y="117"/>
                </a:cubicBezTo>
                <a:cubicBezTo>
                  <a:pt x="0" y="117"/>
                  <a:pt x="0" y="118"/>
                  <a:pt x="0" y="118"/>
                </a:cubicBezTo>
                <a:cubicBezTo>
                  <a:pt x="9" y="119"/>
                  <a:pt x="16" y="121"/>
                  <a:pt x="22" y="127"/>
                </a:cubicBezTo>
                <a:cubicBezTo>
                  <a:pt x="28" y="134"/>
                  <a:pt x="34" y="144"/>
                  <a:pt x="39" y="158"/>
                </a:cubicBezTo>
                <a:cubicBezTo>
                  <a:pt x="28" y="160"/>
                  <a:pt x="15" y="162"/>
                  <a:pt x="3" y="164"/>
                </a:cubicBezTo>
                <a:cubicBezTo>
                  <a:pt x="3" y="169"/>
                  <a:pt x="3" y="173"/>
                  <a:pt x="3" y="177"/>
                </a:cubicBezTo>
                <a:cubicBezTo>
                  <a:pt x="20" y="174"/>
                  <a:pt x="37" y="171"/>
                  <a:pt x="54" y="169"/>
                </a:cubicBezTo>
                <a:cubicBezTo>
                  <a:pt x="66" y="167"/>
                  <a:pt x="79" y="165"/>
                  <a:pt x="91" y="163"/>
                </a:cubicBezTo>
                <a:cubicBezTo>
                  <a:pt x="101" y="181"/>
                  <a:pt x="108" y="197"/>
                  <a:pt x="112" y="214"/>
                </a:cubicBezTo>
                <a:cubicBezTo>
                  <a:pt x="99" y="214"/>
                  <a:pt x="86" y="216"/>
                  <a:pt x="73" y="218"/>
                </a:cubicBezTo>
                <a:cubicBezTo>
                  <a:pt x="58" y="220"/>
                  <a:pt x="43" y="222"/>
                  <a:pt x="29" y="221"/>
                </a:cubicBezTo>
                <a:cubicBezTo>
                  <a:pt x="29" y="221"/>
                  <a:pt x="29" y="221"/>
                  <a:pt x="29" y="221"/>
                </a:cubicBezTo>
                <a:cubicBezTo>
                  <a:pt x="25" y="221"/>
                  <a:pt x="22" y="221"/>
                  <a:pt x="19" y="221"/>
                </a:cubicBezTo>
                <a:cubicBezTo>
                  <a:pt x="15" y="210"/>
                  <a:pt x="11" y="199"/>
                  <a:pt x="7" y="188"/>
                </a:cubicBezTo>
                <a:cubicBezTo>
                  <a:pt x="4" y="180"/>
                  <a:pt x="4" y="180"/>
                  <a:pt x="4" y="180"/>
                </a:cubicBezTo>
                <a:cubicBezTo>
                  <a:pt x="4" y="182"/>
                  <a:pt x="4" y="185"/>
                  <a:pt x="4" y="188"/>
                </a:cubicBezTo>
                <a:cubicBezTo>
                  <a:pt x="4" y="191"/>
                  <a:pt x="4" y="194"/>
                  <a:pt x="4" y="198"/>
                </a:cubicBezTo>
                <a:cubicBezTo>
                  <a:pt x="10" y="212"/>
                  <a:pt x="15" y="226"/>
                  <a:pt x="19" y="241"/>
                </a:cubicBezTo>
                <a:cubicBezTo>
                  <a:pt x="15" y="241"/>
                  <a:pt x="11" y="241"/>
                  <a:pt x="7" y="241"/>
                </a:cubicBezTo>
                <a:cubicBezTo>
                  <a:pt x="7" y="242"/>
                  <a:pt x="7" y="244"/>
                  <a:pt x="7" y="245"/>
                </a:cubicBezTo>
                <a:cubicBezTo>
                  <a:pt x="12" y="246"/>
                  <a:pt x="16" y="245"/>
                  <a:pt x="21" y="245"/>
                </a:cubicBezTo>
                <a:cubicBezTo>
                  <a:pt x="23" y="253"/>
                  <a:pt x="24" y="261"/>
                  <a:pt x="26" y="268"/>
                </a:cubicBezTo>
                <a:cubicBezTo>
                  <a:pt x="26" y="268"/>
                  <a:pt x="27" y="268"/>
                  <a:pt x="27" y="268"/>
                </a:cubicBezTo>
                <a:cubicBezTo>
                  <a:pt x="29" y="269"/>
                  <a:pt x="30" y="269"/>
                  <a:pt x="32" y="270"/>
                </a:cubicBezTo>
                <a:cubicBezTo>
                  <a:pt x="31" y="265"/>
                  <a:pt x="30" y="260"/>
                  <a:pt x="29" y="254"/>
                </a:cubicBezTo>
                <a:cubicBezTo>
                  <a:pt x="35" y="254"/>
                  <a:pt x="35" y="254"/>
                  <a:pt x="35" y="254"/>
                </a:cubicBezTo>
                <a:cubicBezTo>
                  <a:pt x="59" y="254"/>
                  <a:pt x="85" y="254"/>
                  <a:pt x="110" y="254"/>
                </a:cubicBezTo>
                <a:cubicBezTo>
                  <a:pt x="116" y="254"/>
                  <a:pt x="116" y="254"/>
                  <a:pt x="116" y="254"/>
                </a:cubicBezTo>
                <a:cubicBezTo>
                  <a:pt x="114" y="265"/>
                  <a:pt x="112" y="276"/>
                  <a:pt x="107" y="289"/>
                </a:cubicBezTo>
                <a:cubicBezTo>
                  <a:pt x="88" y="288"/>
                  <a:pt x="68" y="288"/>
                  <a:pt x="49" y="287"/>
                </a:cubicBezTo>
                <a:cubicBezTo>
                  <a:pt x="42" y="287"/>
                  <a:pt x="42" y="287"/>
                  <a:pt x="42" y="287"/>
                </a:cubicBezTo>
                <a:cubicBezTo>
                  <a:pt x="42" y="289"/>
                  <a:pt x="42" y="290"/>
                  <a:pt x="41" y="292"/>
                </a:cubicBezTo>
                <a:cubicBezTo>
                  <a:pt x="49" y="292"/>
                  <a:pt x="49" y="292"/>
                  <a:pt x="49" y="292"/>
                </a:cubicBezTo>
                <a:cubicBezTo>
                  <a:pt x="67" y="292"/>
                  <a:pt x="86" y="293"/>
                  <a:pt x="106" y="293"/>
                </a:cubicBezTo>
                <a:cubicBezTo>
                  <a:pt x="104" y="298"/>
                  <a:pt x="102" y="303"/>
                  <a:pt x="100" y="308"/>
                </a:cubicBezTo>
                <a:cubicBezTo>
                  <a:pt x="95" y="308"/>
                  <a:pt x="72" y="307"/>
                  <a:pt x="38" y="300"/>
                </a:cubicBezTo>
                <a:cubicBezTo>
                  <a:pt x="36" y="304"/>
                  <a:pt x="35" y="308"/>
                  <a:pt x="33" y="312"/>
                </a:cubicBezTo>
                <a:cubicBezTo>
                  <a:pt x="54" y="316"/>
                  <a:pt x="74" y="319"/>
                  <a:pt x="94" y="320"/>
                </a:cubicBezTo>
                <a:cubicBezTo>
                  <a:pt x="92" y="325"/>
                  <a:pt x="89" y="330"/>
                  <a:pt x="87" y="335"/>
                </a:cubicBezTo>
                <a:cubicBezTo>
                  <a:pt x="86" y="337"/>
                  <a:pt x="86" y="337"/>
                  <a:pt x="86" y="337"/>
                </a:cubicBezTo>
                <a:cubicBezTo>
                  <a:pt x="84" y="343"/>
                  <a:pt x="80" y="349"/>
                  <a:pt x="78" y="355"/>
                </a:cubicBezTo>
                <a:cubicBezTo>
                  <a:pt x="63" y="353"/>
                  <a:pt x="48" y="351"/>
                  <a:pt x="34" y="349"/>
                </a:cubicBezTo>
                <a:cubicBezTo>
                  <a:pt x="13" y="346"/>
                  <a:pt x="13" y="346"/>
                  <a:pt x="13" y="346"/>
                </a:cubicBezTo>
                <a:cubicBezTo>
                  <a:pt x="13" y="347"/>
                  <a:pt x="12" y="347"/>
                  <a:pt x="12" y="347"/>
                </a:cubicBezTo>
                <a:cubicBezTo>
                  <a:pt x="10" y="348"/>
                  <a:pt x="9" y="349"/>
                  <a:pt x="7" y="350"/>
                </a:cubicBezTo>
                <a:cubicBezTo>
                  <a:pt x="16" y="352"/>
                  <a:pt x="25" y="353"/>
                  <a:pt x="33" y="354"/>
                </a:cubicBezTo>
                <a:cubicBezTo>
                  <a:pt x="34" y="354"/>
                  <a:pt x="34" y="354"/>
                  <a:pt x="34" y="354"/>
                </a:cubicBezTo>
                <a:cubicBezTo>
                  <a:pt x="30" y="362"/>
                  <a:pt x="29" y="370"/>
                  <a:pt x="28" y="378"/>
                </a:cubicBezTo>
                <a:cubicBezTo>
                  <a:pt x="28" y="381"/>
                  <a:pt x="27" y="385"/>
                  <a:pt x="27" y="388"/>
                </a:cubicBezTo>
                <a:cubicBezTo>
                  <a:pt x="25" y="388"/>
                  <a:pt x="22" y="388"/>
                  <a:pt x="20" y="388"/>
                </a:cubicBezTo>
                <a:cubicBezTo>
                  <a:pt x="22" y="391"/>
                  <a:pt x="24" y="394"/>
                  <a:pt x="26" y="397"/>
                </a:cubicBezTo>
                <a:cubicBezTo>
                  <a:pt x="40" y="398"/>
                  <a:pt x="53" y="400"/>
                  <a:pt x="61" y="400"/>
                </a:cubicBezTo>
                <a:cubicBezTo>
                  <a:pt x="61" y="401"/>
                  <a:pt x="60" y="402"/>
                  <a:pt x="60" y="403"/>
                </a:cubicBezTo>
                <a:cubicBezTo>
                  <a:pt x="63" y="404"/>
                  <a:pt x="65" y="404"/>
                  <a:pt x="67" y="406"/>
                </a:cubicBezTo>
                <a:cubicBezTo>
                  <a:pt x="69" y="407"/>
                  <a:pt x="72" y="409"/>
                  <a:pt x="74" y="410"/>
                </a:cubicBezTo>
                <a:cubicBezTo>
                  <a:pt x="75" y="407"/>
                  <a:pt x="77" y="404"/>
                  <a:pt x="79" y="402"/>
                </a:cubicBezTo>
                <a:cubicBezTo>
                  <a:pt x="81" y="397"/>
                  <a:pt x="82" y="390"/>
                  <a:pt x="85" y="384"/>
                </a:cubicBezTo>
                <a:cubicBezTo>
                  <a:pt x="93" y="384"/>
                  <a:pt x="103" y="384"/>
                  <a:pt x="113" y="384"/>
                </a:cubicBezTo>
                <a:cubicBezTo>
                  <a:pt x="113" y="384"/>
                  <a:pt x="113" y="385"/>
                  <a:pt x="113" y="386"/>
                </a:cubicBezTo>
                <a:cubicBezTo>
                  <a:pt x="114" y="387"/>
                  <a:pt x="114" y="388"/>
                  <a:pt x="114" y="389"/>
                </a:cubicBezTo>
                <a:cubicBezTo>
                  <a:pt x="114" y="395"/>
                  <a:pt x="114" y="395"/>
                  <a:pt x="114" y="395"/>
                </a:cubicBezTo>
                <a:cubicBezTo>
                  <a:pt x="115" y="400"/>
                  <a:pt x="115" y="406"/>
                  <a:pt x="115" y="412"/>
                </a:cubicBezTo>
                <a:cubicBezTo>
                  <a:pt x="115" y="415"/>
                  <a:pt x="115" y="419"/>
                  <a:pt x="115" y="422"/>
                </a:cubicBezTo>
                <a:cubicBezTo>
                  <a:pt x="115" y="422"/>
                  <a:pt x="114" y="422"/>
                  <a:pt x="114" y="422"/>
                </a:cubicBezTo>
                <a:cubicBezTo>
                  <a:pt x="115" y="423"/>
                  <a:pt x="115" y="425"/>
                  <a:pt x="116" y="427"/>
                </a:cubicBezTo>
                <a:cubicBezTo>
                  <a:pt x="117" y="427"/>
                  <a:pt x="118" y="427"/>
                  <a:pt x="119" y="427"/>
                </a:cubicBezTo>
                <a:cubicBezTo>
                  <a:pt x="130" y="427"/>
                  <a:pt x="141" y="426"/>
                  <a:pt x="152" y="427"/>
                </a:cubicBezTo>
                <a:cubicBezTo>
                  <a:pt x="165" y="427"/>
                  <a:pt x="175" y="427"/>
                  <a:pt x="185" y="428"/>
                </a:cubicBezTo>
                <a:cubicBezTo>
                  <a:pt x="193" y="429"/>
                  <a:pt x="202" y="431"/>
                  <a:pt x="209" y="433"/>
                </a:cubicBezTo>
                <a:cubicBezTo>
                  <a:pt x="210" y="434"/>
                  <a:pt x="210" y="436"/>
                  <a:pt x="210" y="438"/>
                </a:cubicBezTo>
                <a:cubicBezTo>
                  <a:pt x="228" y="438"/>
                  <a:pt x="228" y="438"/>
                  <a:pt x="228" y="438"/>
                </a:cubicBezTo>
                <a:cubicBezTo>
                  <a:pt x="228" y="435"/>
                  <a:pt x="228" y="432"/>
                  <a:pt x="228" y="430"/>
                </a:cubicBezTo>
                <a:cubicBezTo>
                  <a:pt x="228" y="426"/>
                  <a:pt x="228" y="423"/>
                  <a:pt x="228" y="419"/>
                </a:cubicBezTo>
                <a:cubicBezTo>
                  <a:pt x="238" y="418"/>
                  <a:pt x="248" y="416"/>
                  <a:pt x="257" y="413"/>
                </a:cubicBezTo>
                <a:cubicBezTo>
                  <a:pt x="262" y="416"/>
                  <a:pt x="268" y="419"/>
                  <a:pt x="274" y="422"/>
                </a:cubicBezTo>
                <a:cubicBezTo>
                  <a:pt x="283" y="427"/>
                  <a:pt x="292" y="432"/>
                  <a:pt x="298" y="438"/>
                </a:cubicBezTo>
                <a:cubicBezTo>
                  <a:pt x="304" y="438"/>
                  <a:pt x="304" y="438"/>
                  <a:pt x="304" y="438"/>
                </a:cubicBezTo>
                <a:cubicBezTo>
                  <a:pt x="304" y="437"/>
                  <a:pt x="304" y="436"/>
                  <a:pt x="303" y="436"/>
                </a:cubicBezTo>
                <a:cubicBezTo>
                  <a:pt x="297" y="428"/>
                  <a:pt x="287" y="423"/>
                  <a:pt x="277" y="418"/>
                </a:cubicBezTo>
                <a:cubicBezTo>
                  <a:pt x="272" y="415"/>
                  <a:pt x="267" y="413"/>
                  <a:pt x="263" y="410"/>
                </a:cubicBezTo>
                <a:cubicBezTo>
                  <a:pt x="272" y="405"/>
                  <a:pt x="279" y="399"/>
                  <a:pt x="284" y="392"/>
                </a:cubicBezTo>
                <a:cubicBezTo>
                  <a:pt x="303" y="401"/>
                  <a:pt x="323" y="409"/>
                  <a:pt x="343" y="416"/>
                </a:cubicBezTo>
                <a:cubicBezTo>
                  <a:pt x="335" y="423"/>
                  <a:pt x="325" y="430"/>
                  <a:pt x="313" y="438"/>
                </a:cubicBezTo>
                <a:cubicBezTo>
                  <a:pt x="323" y="438"/>
                  <a:pt x="323" y="438"/>
                  <a:pt x="323" y="438"/>
                </a:cubicBezTo>
                <a:cubicBezTo>
                  <a:pt x="333" y="431"/>
                  <a:pt x="342" y="425"/>
                  <a:pt x="349" y="418"/>
                </a:cubicBezTo>
                <a:cubicBezTo>
                  <a:pt x="367" y="423"/>
                  <a:pt x="385" y="428"/>
                  <a:pt x="403" y="432"/>
                </a:cubicBezTo>
                <a:cubicBezTo>
                  <a:pt x="404" y="434"/>
                  <a:pt x="405" y="436"/>
                  <a:pt x="406" y="438"/>
                </a:cubicBezTo>
                <a:cubicBezTo>
                  <a:pt x="425" y="438"/>
                  <a:pt x="425" y="438"/>
                  <a:pt x="425" y="438"/>
                </a:cubicBezTo>
                <a:cubicBezTo>
                  <a:pt x="424" y="436"/>
                  <a:pt x="423" y="434"/>
                  <a:pt x="422" y="432"/>
                </a:cubicBezTo>
                <a:cubicBezTo>
                  <a:pt x="439" y="431"/>
                  <a:pt x="456" y="430"/>
                  <a:pt x="473" y="430"/>
                </a:cubicBezTo>
                <a:cubicBezTo>
                  <a:pt x="473" y="432"/>
                  <a:pt x="474" y="435"/>
                  <a:pt x="475" y="438"/>
                </a:cubicBezTo>
                <a:cubicBezTo>
                  <a:pt x="478" y="438"/>
                  <a:pt x="478" y="438"/>
                  <a:pt x="478" y="438"/>
                </a:cubicBezTo>
                <a:cubicBezTo>
                  <a:pt x="479" y="436"/>
                  <a:pt x="479" y="435"/>
                  <a:pt x="480" y="434"/>
                </a:cubicBezTo>
                <a:cubicBezTo>
                  <a:pt x="479" y="433"/>
                  <a:pt x="479" y="431"/>
                  <a:pt x="479" y="430"/>
                </a:cubicBezTo>
                <a:cubicBezTo>
                  <a:pt x="480" y="430"/>
                  <a:pt x="481" y="430"/>
                  <a:pt x="482" y="429"/>
                </a:cubicBezTo>
                <a:cubicBezTo>
                  <a:pt x="485" y="424"/>
                  <a:pt x="488" y="420"/>
                  <a:pt x="491" y="415"/>
                </a:cubicBezTo>
                <a:close/>
                <a:moveTo>
                  <a:pt x="48" y="157"/>
                </a:moveTo>
                <a:cubicBezTo>
                  <a:pt x="45" y="158"/>
                  <a:pt x="45" y="158"/>
                  <a:pt x="45" y="158"/>
                </a:cubicBezTo>
                <a:cubicBezTo>
                  <a:pt x="39" y="141"/>
                  <a:pt x="33" y="131"/>
                  <a:pt x="27" y="125"/>
                </a:cubicBezTo>
                <a:cubicBezTo>
                  <a:pt x="23" y="121"/>
                  <a:pt x="20" y="119"/>
                  <a:pt x="16" y="117"/>
                </a:cubicBezTo>
                <a:cubicBezTo>
                  <a:pt x="27" y="111"/>
                  <a:pt x="37" y="106"/>
                  <a:pt x="48" y="103"/>
                </a:cubicBezTo>
                <a:cubicBezTo>
                  <a:pt x="63" y="121"/>
                  <a:pt x="75" y="137"/>
                  <a:pt x="84" y="151"/>
                </a:cubicBezTo>
                <a:cubicBezTo>
                  <a:pt x="72" y="153"/>
                  <a:pt x="60" y="155"/>
                  <a:pt x="48" y="157"/>
                </a:cubicBezTo>
                <a:close/>
                <a:moveTo>
                  <a:pt x="63" y="392"/>
                </a:moveTo>
                <a:cubicBezTo>
                  <a:pt x="33" y="389"/>
                  <a:pt x="33" y="389"/>
                  <a:pt x="33" y="389"/>
                </a:cubicBezTo>
                <a:cubicBezTo>
                  <a:pt x="33" y="385"/>
                  <a:pt x="34" y="382"/>
                  <a:pt x="34" y="379"/>
                </a:cubicBezTo>
                <a:cubicBezTo>
                  <a:pt x="35" y="370"/>
                  <a:pt x="36" y="362"/>
                  <a:pt x="39" y="355"/>
                </a:cubicBezTo>
                <a:cubicBezTo>
                  <a:pt x="50" y="356"/>
                  <a:pt x="63" y="358"/>
                  <a:pt x="76" y="359"/>
                </a:cubicBezTo>
                <a:cubicBezTo>
                  <a:pt x="70" y="372"/>
                  <a:pt x="66" y="382"/>
                  <a:pt x="63" y="392"/>
                </a:cubicBezTo>
                <a:close/>
                <a:moveTo>
                  <a:pt x="518" y="366"/>
                </a:moveTo>
                <a:cubicBezTo>
                  <a:pt x="506" y="367"/>
                  <a:pt x="506" y="367"/>
                  <a:pt x="506" y="367"/>
                </a:cubicBezTo>
                <a:cubicBezTo>
                  <a:pt x="496" y="369"/>
                  <a:pt x="485" y="370"/>
                  <a:pt x="474" y="371"/>
                </a:cubicBezTo>
                <a:cubicBezTo>
                  <a:pt x="474" y="370"/>
                  <a:pt x="472" y="366"/>
                  <a:pt x="472" y="361"/>
                </a:cubicBezTo>
                <a:cubicBezTo>
                  <a:pt x="489" y="361"/>
                  <a:pt x="504" y="359"/>
                  <a:pt x="518" y="356"/>
                </a:cubicBezTo>
                <a:cubicBezTo>
                  <a:pt x="519" y="359"/>
                  <a:pt x="520" y="362"/>
                  <a:pt x="522" y="366"/>
                </a:cubicBezTo>
                <a:cubicBezTo>
                  <a:pt x="520" y="366"/>
                  <a:pt x="519" y="366"/>
                  <a:pt x="518" y="366"/>
                </a:cubicBezTo>
                <a:close/>
                <a:moveTo>
                  <a:pt x="417" y="311"/>
                </a:moveTo>
                <a:cubicBezTo>
                  <a:pt x="416" y="307"/>
                  <a:pt x="416" y="307"/>
                  <a:pt x="416" y="307"/>
                </a:cubicBezTo>
                <a:cubicBezTo>
                  <a:pt x="414" y="298"/>
                  <a:pt x="412" y="289"/>
                  <a:pt x="409" y="280"/>
                </a:cubicBezTo>
                <a:cubicBezTo>
                  <a:pt x="422" y="279"/>
                  <a:pt x="435" y="277"/>
                  <a:pt x="447" y="275"/>
                </a:cubicBezTo>
                <a:cubicBezTo>
                  <a:pt x="449" y="275"/>
                  <a:pt x="449" y="275"/>
                  <a:pt x="449" y="275"/>
                </a:cubicBezTo>
                <a:cubicBezTo>
                  <a:pt x="449" y="276"/>
                  <a:pt x="449" y="276"/>
                  <a:pt x="449" y="276"/>
                </a:cubicBezTo>
                <a:cubicBezTo>
                  <a:pt x="450" y="284"/>
                  <a:pt x="456" y="292"/>
                  <a:pt x="462" y="299"/>
                </a:cubicBezTo>
                <a:cubicBezTo>
                  <a:pt x="466" y="304"/>
                  <a:pt x="469" y="308"/>
                  <a:pt x="471" y="312"/>
                </a:cubicBezTo>
                <a:cubicBezTo>
                  <a:pt x="471" y="313"/>
                  <a:pt x="471" y="313"/>
                  <a:pt x="471" y="313"/>
                </a:cubicBezTo>
                <a:cubicBezTo>
                  <a:pt x="477" y="324"/>
                  <a:pt x="484" y="336"/>
                  <a:pt x="484" y="348"/>
                </a:cubicBezTo>
                <a:cubicBezTo>
                  <a:pt x="484" y="349"/>
                  <a:pt x="484" y="351"/>
                  <a:pt x="484" y="352"/>
                </a:cubicBezTo>
                <a:cubicBezTo>
                  <a:pt x="477" y="352"/>
                  <a:pt x="470" y="352"/>
                  <a:pt x="463" y="352"/>
                </a:cubicBezTo>
                <a:cubicBezTo>
                  <a:pt x="449" y="352"/>
                  <a:pt x="435" y="351"/>
                  <a:pt x="422" y="350"/>
                </a:cubicBezTo>
                <a:cubicBezTo>
                  <a:pt x="422" y="347"/>
                  <a:pt x="422" y="344"/>
                  <a:pt x="421" y="342"/>
                </a:cubicBezTo>
                <a:cubicBezTo>
                  <a:pt x="421" y="341"/>
                  <a:pt x="421" y="341"/>
                  <a:pt x="421" y="341"/>
                </a:cubicBezTo>
                <a:cubicBezTo>
                  <a:pt x="421" y="332"/>
                  <a:pt x="419" y="321"/>
                  <a:pt x="417" y="311"/>
                </a:cubicBezTo>
                <a:close/>
                <a:moveTo>
                  <a:pt x="135" y="242"/>
                </a:moveTo>
                <a:cubicBezTo>
                  <a:pt x="174" y="242"/>
                  <a:pt x="174" y="242"/>
                  <a:pt x="174" y="242"/>
                </a:cubicBezTo>
                <a:cubicBezTo>
                  <a:pt x="176" y="250"/>
                  <a:pt x="177" y="258"/>
                  <a:pt x="177" y="267"/>
                </a:cubicBezTo>
                <a:cubicBezTo>
                  <a:pt x="177" y="270"/>
                  <a:pt x="177" y="274"/>
                  <a:pt x="176" y="277"/>
                </a:cubicBezTo>
                <a:cubicBezTo>
                  <a:pt x="161" y="277"/>
                  <a:pt x="161" y="277"/>
                  <a:pt x="161" y="277"/>
                </a:cubicBezTo>
                <a:cubicBezTo>
                  <a:pt x="130" y="276"/>
                  <a:pt x="130" y="276"/>
                  <a:pt x="130" y="276"/>
                </a:cubicBezTo>
                <a:cubicBezTo>
                  <a:pt x="133" y="264"/>
                  <a:pt x="135" y="253"/>
                  <a:pt x="135" y="242"/>
                </a:cubicBezTo>
                <a:close/>
                <a:moveTo>
                  <a:pt x="125" y="194"/>
                </a:moveTo>
                <a:cubicBezTo>
                  <a:pt x="144" y="190"/>
                  <a:pt x="162" y="185"/>
                  <a:pt x="178" y="178"/>
                </a:cubicBezTo>
                <a:cubicBezTo>
                  <a:pt x="178" y="178"/>
                  <a:pt x="178" y="179"/>
                  <a:pt x="179" y="180"/>
                </a:cubicBezTo>
                <a:cubicBezTo>
                  <a:pt x="196" y="201"/>
                  <a:pt x="199" y="208"/>
                  <a:pt x="202" y="230"/>
                </a:cubicBezTo>
                <a:cubicBezTo>
                  <a:pt x="180" y="230"/>
                  <a:pt x="157" y="230"/>
                  <a:pt x="134" y="229"/>
                </a:cubicBezTo>
                <a:cubicBezTo>
                  <a:pt x="133" y="227"/>
                  <a:pt x="132" y="222"/>
                  <a:pt x="132" y="218"/>
                </a:cubicBezTo>
                <a:cubicBezTo>
                  <a:pt x="130" y="210"/>
                  <a:pt x="128" y="202"/>
                  <a:pt x="125" y="194"/>
                </a:cubicBezTo>
                <a:close/>
                <a:moveTo>
                  <a:pt x="157" y="282"/>
                </a:moveTo>
                <a:cubicBezTo>
                  <a:pt x="160" y="283"/>
                  <a:pt x="160" y="283"/>
                  <a:pt x="160" y="283"/>
                </a:cubicBezTo>
                <a:cubicBezTo>
                  <a:pt x="173" y="283"/>
                  <a:pt x="187" y="283"/>
                  <a:pt x="200" y="284"/>
                </a:cubicBezTo>
                <a:cubicBezTo>
                  <a:pt x="211" y="284"/>
                  <a:pt x="211" y="284"/>
                  <a:pt x="211" y="284"/>
                </a:cubicBezTo>
                <a:cubicBezTo>
                  <a:pt x="211" y="293"/>
                  <a:pt x="211" y="300"/>
                  <a:pt x="211" y="307"/>
                </a:cubicBezTo>
                <a:cubicBezTo>
                  <a:pt x="212" y="315"/>
                  <a:pt x="212" y="324"/>
                  <a:pt x="212" y="332"/>
                </a:cubicBezTo>
                <a:cubicBezTo>
                  <a:pt x="195" y="333"/>
                  <a:pt x="180" y="338"/>
                  <a:pt x="168" y="346"/>
                </a:cubicBezTo>
                <a:cubicBezTo>
                  <a:pt x="165" y="345"/>
                  <a:pt x="150" y="340"/>
                  <a:pt x="141" y="337"/>
                </a:cubicBezTo>
                <a:cubicBezTo>
                  <a:pt x="142" y="332"/>
                  <a:pt x="144" y="328"/>
                  <a:pt x="146" y="323"/>
                </a:cubicBezTo>
                <a:cubicBezTo>
                  <a:pt x="152" y="311"/>
                  <a:pt x="157" y="301"/>
                  <a:pt x="157" y="285"/>
                </a:cubicBezTo>
                <a:lnTo>
                  <a:pt x="157" y="282"/>
                </a:lnTo>
                <a:close/>
                <a:moveTo>
                  <a:pt x="211" y="278"/>
                </a:moveTo>
                <a:cubicBezTo>
                  <a:pt x="200" y="278"/>
                  <a:pt x="200" y="278"/>
                  <a:pt x="200" y="278"/>
                </a:cubicBezTo>
                <a:cubicBezTo>
                  <a:pt x="182" y="278"/>
                  <a:pt x="182" y="278"/>
                  <a:pt x="182" y="278"/>
                </a:cubicBezTo>
                <a:cubicBezTo>
                  <a:pt x="183" y="274"/>
                  <a:pt x="183" y="270"/>
                  <a:pt x="183" y="267"/>
                </a:cubicBezTo>
                <a:cubicBezTo>
                  <a:pt x="183" y="258"/>
                  <a:pt x="181" y="250"/>
                  <a:pt x="180" y="242"/>
                </a:cubicBezTo>
                <a:cubicBezTo>
                  <a:pt x="212" y="243"/>
                  <a:pt x="212" y="243"/>
                  <a:pt x="212" y="243"/>
                </a:cubicBezTo>
                <a:cubicBezTo>
                  <a:pt x="212" y="254"/>
                  <a:pt x="211" y="266"/>
                  <a:pt x="211" y="278"/>
                </a:cubicBezTo>
                <a:close/>
                <a:moveTo>
                  <a:pt x="208" y="230"/>
                </a:moveTo>
                <a:cubicBezTo>
                  <a:pt x="208" y="227"/>
                  <a:pt x="206" y="217"/>
                  <a:pt x="205" y="211"/>
                </a:cubicBezTo>
                <a:cubicBezTo>
                  <a:pt x="211" y="211"/>
                  <a:pt x="218" y="210"/>
                  <a:pt x="224" y="209"/>
                </a:cubicBezTo>
                <a:cubicBezTo>
                  <a:pt x="232" y="207"/>
                  <a:pt x="240" y="205"/>
                  <a:pt x="248" y="205"/>
                </a:cubicBezTo>
                <a:cubicBezTo>
                  <a:pt x="256" y="205"/>
                  <a:pt x="256" y="205"/>
                  <a:pt x="256" y="205"/>
                </a:cubicBezTo>
                <a:cubicBezTo>
                  <a:pt x="259" y="205"/>
                  <a:pt x="263" y="205"/>
                  <a:pt x="268" y="206"/>
                </a:cubicBezTo>
                <a:cubicBezTo>
                  <a:pt x="273" y="206"/>
                  <a:pt x="273" y="206"/>
                  <a:pt x="273" y="206"/>
                </a:cubicBezTo>
                <a:cubicBezTo>
                  <a:pt x="272" y="213"/>
                  <a:pt x="272" y="221"/>
                  <a:pt x="272" y="230"/>
                </a:cubicBezTo>
                <a:cubicBezTo>
                  <a:pt x="251" y="230"/>
                  <a:pt x="230" y="230"/>
                  <a:pt x="208" y="230"/>
                </a:cubicBezTo>
                <a:close/>
                <a:moveTo>
                  <a:pt x="231" y="243"/>
                </a:moveTo>
                <a:cubicBezTo>
                  <a:pt x="274" y="243"/>
                  <a:pt x="274" y="243"/>
                  <a:pt x="274" y="243"/>
                </a:cubicBezTo>
                <a:cubicBezTo>
                  <a:pt x="276" y="260"/>
                  <a:pt x="278" y="278"/>
                  <a:pt x="278" y="297"/>
                </a:cubicBezTo>
                <a:cubicBezTo>
                  <a:pt x="271" y="297"/>
                  <a:pt x="271" y="297"/>
                  <a:pt x="271" y="297"/>
                </a:cubicBezTo>
                <a:cubicBezTo>
                  <a:pt x="251" y="296"/>
                  <a:pt x="251" y="296"/>
                  <a:pt x="251" y="296"/>
                </a:cubicBezTo>
                <a:cubicBezTo>
                  <a:pt x="230" y="296"/>
                  <a:pt x="230" y="296"/>
                  <a:pt x="230" y="296"/>
                </a:cubicBezTo>
                <a:cubicBezTo>
                  <a:pt x="230" y="296"/>
                  <a:pt x="230" y="296"/>
                  <a:pt x="230" y="296"/>
                </a:cubicBezTo>
                <a:cubicBezTo>
                  <a:pt x="230" y="289"/>
                  <a:pt x="230" y="260"/>
                  <a:pt x="231" y="243"/>
                </a:cubicBezTo>
                <a:close/>
                <a:moveTo>
                  <a:pt x="273" y="201"/>
                </a:moveTo>
                <a:cubicBezTo>
                  <a:pt x="268" y="201"/>
                  <a:pt x="268" y="201"/>
                  <a:pt x="268" y="201"/>
                </a:cubicBezTo>
                <a:cubicBezTo>
                  <a:pt x="264" y="201"/>
                  <a:pt x="260" y="201"/>
                  <a:pt x="256" y="200"/>
                </a:cubicBezTo>
                <a:cubicBezTo>
                  <a:pt x="248" y="200"/>
                  <a:pt x="248" y="200"/>
                  <a:pt x="248" y="200"/>
                </a:cubicBezTo>
                <a:cubicBezTo>
                  <a:pt x="239" y="201"/>
                  <a:pt x="230" y="202"/>
                  <a:pt x="222" y="204"/>
                </a:cubicBezTo>
                <a:cubicBezTo>
                  <a:pt x="216" y="205"/>
                  <a:pt x="209" y="206"/>
                  <a:pt x="203" y="207"/>
                </a:cubicBezTo>
                <a:cubicBezTo>
                  <a:pt x="201" y="203"/>
                  <a:pt x="193" y="189"/>
                  <a:pt x="184" y="177"/>
                </a:cubicBezTo>
                <a:cubicBezTo>
                  <a:pt x="184" y="177"/>
                  <a:pt x="183" y="177"/>
                  <a:pt x="183" y="176"/>
                </a:cubicBezTo>
                <a:cubicBezTo>
                  <a:pt x="183" y="175"/>
                  <a:pt x="183" y="175"/>
                  <a:pt x="183" y="175"/>
                </a:cubicBezTo>
                <a:cubicBezTo>
                  <a:pt x="204" y="166"/>
                  <a:pt x="219" y="153"/>
                  <a:pt x="229" y="140"/>
                </a:cubicBezTo>
                <a:cubicBezTo>
                  <a:pt x="249" y="149"/>
                  <a:pt x="271" y="157"/>
                  <a:pt x="294" y="163"/>
                </a:cubicBezTo>
                <a:cubicBezTo>
                  <a:pt x="288" y="167"/>
                  <a:pt x="284" y="171"/>
                  <a:pt x="281" y="176"/>
                </a:cubicBezTo>
                <a:cubicBezTo>
                  <a:pt x="277" y="183"/>
                  <a:pt x="275" y="191"/>
                  <a:pt x="273" y="201"/>
                </a:cubicBezTo>
                <a:close/>
                <a:moveTo>
                  <a:pt x="376" y="189"/>
                </a:moveTo>
                <a:cubicBezTo>
                  <a:pt x="370" y="174"/>
                  <a:pt x="366" y="161"/>
                  <a:pt x="366" y="148"/>
                </a:cubicBezTo>
                <a:cubicBezTo>
                  <a:pt x="379" y="145"/>
                  <a:pt x="390" y="143"/>
                  <a:pt x="401" y="138"/>
                </a:cubicBezTo>
                <a:cubicBezTo>
                  <a:pt x="417" y="153"/>
                  <a:pt x="429" y="168"/>
                  <a:pt x="436" y="183"/>
                </a:cubicBezTo>
                <a:cubicBezTo>
                  <a:pt x="416" y="184"/>
                  <a:pt x="395" y="187"/>
                  <a:pt x="376" y="189"/>
                </a:cubicBezTo>
                <a:close/>
                <a:moveTo>
                  <a:pt x="438" y="187"/>
                </a:moveTo>
                <a:cubicBezTo>
                  <a:pt x="443" y="198"/>
                  <a:pt x="446" y="208"/>
                  <a:pt x="446" y="218"/>
                </a:cubicBezTo>
                <a:cubicBezTo>
                  <a:pt x="446" y="221"/>
                  <a:pt x="446" y="224"/>
                  <a:pt x="445" y="227"/>
                </a:cubicBezTo>
                <a:cubicBezTo>
                  <a:pt x="398" y="229"/>
                  <a:pt x="398" y="229"/>
                  <a:pt x="398" y="229"/>
                </a:cubicBezTo>
                <a:cubicBezTo>
                  <a:pt x="389" y="215"/>
                  <a:pt x="383" y="204"/>
                  <a:pt x="378" y="193"/>
                </a:cubicBezTo>
                <a:cubicBezTo>
                  <a:pt x="398" y="191"/>
                  <a:pt x="418" y="189"/>
                  <a:pt x="438" y="187"/>
                </a:cubicBezTo>
                <a:close/>
                <a:moveTo>
                  <a:pt x="370" y="189"/>
                </a:moveTo>
                <a:cubicBezTo>
                  <a:pt x="340" y="193"/>
                  <a:pt x="313" y="195"/>
                  <a:pt x="286" y="197"/>
                </a:cubicBezTo>
                <a:cubicBezTo>
                  <a:pt x="288" y="190"/>
                  <a:pt x="289" y="184"/>
                  <a:pt x="292" y="180"/>
                </a:cubicBezTo>
                <a:cubicBezTo>
                  <a:pt x="296" y="174"/>
                  <a:pt x="300" y="170"/>
                  <a:pt x="307" y="166"/>
                </a:cubicBezTo>
                <a:cubicBezTo>
                  <a:pt x="307" y="166"/>
                  <a:pt x="307" y="166"/>
                  <a:pt x="307" y="166"/>
                </a:cubicBezTo>
                <a:cubicBezTo>
                  <a:pt x="308" y="165"/>
                  <a:pt x="308" y="165"/>
                  <a:pt x="308" y="165"/>
                </a:cubicBezTo>
                <a:cubicBezTo>
                  <a:pt x="316" y="160"/>
                  <a:pt x="328" y="156"/>
                  <a:pt x="344" y="153"/>
                </a:cubicBezTo>
                <a:cubicBezTo>
                  <a:pt x="349" y="151"/>
                  <a:pt x="354" y="150"/>
                  <a:pt x="360" y="149"/>
                </a:cubicBezTo>
                <a:cubicBezTo>
                  <a:pt x="361" y="162"/>
                  <a:pt x="364" y="175"/>
                  <a:pt x="370" y="189"/>
                </a:cubicBezTo>
                <a:close/>
                <a:moveTo>
                  <a:pt x="358" y="140"/>
                </a:moveTo>
                <a:cubicBezTo>
                  <a:pt x="353" y="141"/>
                  <a:pt x="353" y="141"/>
                  <a:pt x="353" y="141"/>
                </a:cubicBezTo>
                <a:cubicBezTo>
                  <a:pt x="350" y="139"/>
                  <a:pt x="341" y="131"/>
                  <a:pt x="311" y="115"/>
                </a:cubicBezTo>
                <a:cubicBezTo>
                  <a:pt x="321" y="109"/>
                  <a:pt x="334" y="102"/>
                  <a:pt x="348" y="97"/>
                </a:cubicBezTo>
                <a:cubicBezTo>
                  <a:pt x="353" y="100"/>
                  <a:pt x="358" y="104"/>
                  <a:pt x="363" y="107"/>
                </a:cubicBezTo>
                <a:cubicBezTo>
                  <a:pt x="374" y="115"/>
                  <a:pt x="384" y="123"/>
                  <a:pt x="393" y="131"/>
                </a:cubicBezTo>
                <a:cubicBezTo>
                  <a:pt x="383" y="135"/>
                  <a:pt x="371" y="138"/>
                  <a:pt x="358" y="140"/>
                </a:cubicBezTo>
                <a:close/>
                <a:moveTo>
                  <a:pt x="346" y="143"/>
                </a:moveTo>
                <a:cubicBezTo>
                  <a:pt x="344" y="143"/>
                  <a:pt x="341" y="144"/>
                  <a:pt x="340" y="144"/>
                </a:cubicBezTo>
                <a:cubicBezTo>
                  <a:pt x="325" y="148"/>
                  <a:pt x="314" y="152"/>
                  <a:pt x="304" y="156"/>
                </a:cubicBezTo>
                <a:cubicBezTo>
                  <a:pt x="301" y="156"/>
                  <a:pt x="282" y="151"/>
                  <a:pt x="261" y="143"/>
                </a:cubicBezTo>
                <a:cubicBezTo>
                  <a:pt x="275" y="137"/>
                  <a:pt x="287" y="130"/>
                  <a:pt x="299" y="123"/>
                </a:cubicBezTo>
                <a:cubicBezTo>
                  <a:pt x="306" y="118"/>
                  <a:pt x="306" y="118"/>
                  <a:pt x="306" y="118"/>
                </a:cubicBezTo>
                <a:cubicBezTo>
                  <a:pt x="321" y="126"/>
                  <a:pt x="335" y="133"/>
                  <a:pt x="346" y="143"/>
                </a:cubicBezTo>
                <a:close/>
                <a:moveTo>
                  <a:pt x="295" y="119"/>
                </a:moveTo>
                <a:cubicBezTo>
                  <a:pt x="282" y="127"/>
                  <a:pt x="270" y="134"/>
                  <a:pt x="255" y="141"/>
                </a:cubicBezTo>
                <a:cubicBezTo>
                  <a:pt x="251" y="139"/>
                  <a:pt x="224" y="130"/>
                  <a:pt x="197" y="113"/>
                </a:cubicBezTo>
                <a:cubicBezTo>
                  <a:pt x="203" y="111"/>
                  <a:pt x="209" y="109"/>
                  <a:pt x="215" y="107"/>
                </a:cubicBezTo>
                <a:cubicBezTo>
                  <a:pt x="230" y="102"/>
                  <a:pt x="246" y="97"/>
                  <a:pt x="259" y="91"/>
                </a:cubicBezTo>
                <a:cubicBezTo>
                  <a:pt x="271" y="100"/>
                  <a:pt x="286" y="108"/>
                  <a:pt x="301" y="115"/>
                </a:cubicBezTo>
                <a:lnTo>
                  <a:pt x="295" y="119"/>
                </a:lnTo>
                <a:close/>
                <a:moveTo>
                  <a:pt x="344" y="242"/>
                </a:moveTo>
                <a:cubicBezTo>
                  <a:pt x="347" y="259"/>
                  <a:pt x="350" y="276"/>
                  <a:pt x="354" y="293"/>
                </a:cubicBezTo>
                <a:cubicBezTo>
                  <a:pt x="330" y="297"/>
                  <a:pt x="304" y="297"/>
                  <a:pt x="284" y="297"/>
                </a:cubicBezTo>
                <a:cubicBezTo>
                  <a:pt x="284" y="290"/>
                  <a:pt x="282" y="260"/>
                  <a:pt x="279" y="243"/>
                </a:cubicBezTo>
                <a:cubicBezTo>
                  <a:pt x="301" y="242"/>
                  <a:pt x="323" y="242"/>
                  <a:pt x="344" y="242"/>
                </a:cubicBezTo>
                <a:close/>
                <a:moveTo>
                  <a:pt x="284" y="230"/>
                </a:moveTo>
                <a:cubicBezTo>
                  <a:pt x="284" y="219"/>
                  <a:pt x="284" y="209"/>
                  <a:pt x="285" y="201"/>
                </a:cubicBezTo>
                <a:cubicBezTo>
                  <a:pt x="313" y="200"/>
                  <a:pt x="341" y="197"/>
                  <a:pt x="372" y="194"/>
                </a:cubicBezTo>
                <a:cubicBezTo>
                  <a:pt x="377" y="205"/>
                  <a:pt x="383" y="216"/>
                  <a:pt x="392" y="229"/>
                </a:cubicBezTo>
                <a:cubicBezTo>
                  <a:pt x="355" y="229"/>
                  <a:pt x="319" y="230"/>
                  <a:pt x="284" y="230"/>
                </a:cubicBezTo>
                <a:close/>
                <a:moveTo>
                  <a:pt x="426" y="241"/>
                </a:moveTo>
                <a:cubicBezTo>
                  <a:pt x="426" y="241"/>
                  <a:pt x="426" y="242"/>
                  <a:pt x="426" y="243"/>
                </a:cubicBezTo>
                <a:cubicBezTo>
                  <a:pt x="426" y="248"/>
                  <a:pt x="429" y="254"/>
                  <a:pt x="432" y="259"/>
                </a:cubicBezTo>
                <a:cubicBezTo>
                  <a:pt x="434" y="263"/>
                  <a:pt x="436" y="267"/>
                  <a:pt x="436" y="270"/>
                </a:cubicBezTo>
                <a:cubicBezTo>
                  <a:pt x="437" y="271"/>
                  <a:pt x="437" y="271"/>
                  <a:pt x="437" y="272"/>
                </a:cubicBezTo>
                <a:cubicBezTo>
                  <a:pt x="414" y="275"/>
                  <a:pt x="392" y="277"/>
                  <a:pt x="370" y="277"/>
                </a:cubicBezTo>
                <a:cubicBezTo>
                  <a:pt x="369" y="277"/>
                  <a:pt x="369" y="277"/>
                  <a:pt x="369" y="277"/>
                </a:cubicBezTo>
                <a:cubicBezTo>
                  <a:pt x="366" y="265"/>
                  <a:pt x="364" y="253"/>
                  <a:pt x="363" y="242"/>
                </a:cubicBezTo>
                <a:cubicBezTo>
                  <a:pt x="383" y="241"/>
                  <a:pt x="404" y="241"/>
                  <a:pt x="426" y="241"/>
                </a:cubicBezTo>
                <a:close/>
                <a:moveTo>
                  <a:pt x="370" y="282"/>
                </a:moveTo>
                <a:cubicBezTo>
                  <a:pt x="380" y="282"/>
                  <a:pt x="391" y="281"/>
                  <a:pt x="403" y="280"/>
                </a:cubicBezTo>
                <a:cubicBezTo>
                  <a:pt x="405" y="287"/>
                  <a:pt x="407" y="293"/>
                  <a:pt x="408" y="299"/>
                </a:cubicBezTo>
                <a:cubicBezTo>
                  <a:pt x="400" y="299"/>
                  <a:pt x="392" y="300"/>
                  <a:pt x="385" y="300"/>
                </a:cubicBezTo>
                <a:cubicBezTo>
                  <a:pt x="381" y="300"/>
                  <a:pt x="378" y="301"/>
                  <a:pt x="374" y="301"/>
                </a:cubicBezTo>
                <a:cubicBezTo>
                  <a:pt x="373" y="294"/>
                  <a:pt x="371" y="288"/>
                  <a:pt x="370" y="282"/>
                </a:cubicBezTo>
                <a:cubicBezTo>
                  <a:pt x="370" y="282"/>
                  <a:pt x="370" y="282"/>
                  <a:pt x="370" y="282"/>
                </a:cubicBezTo>
                <a:close/>
                <a:moveTo>
                  <a:pt x="386" y="305"/>
                </a:moveTo>
                <a:cubicBezTo>
                  <a:pt x="394" y="304"/>
                  <a:pt x="401" y="303"/>
                  <a:pt x="409" y="303"/>
                </a:cubicBezTo>
                <a:cubicBezTo>
                  <a:pt x="410" y="307"/>
                  <a:pt x="410" y="307"/>
                  <a:pt x="410" y="307"/>
                </a:cubicBezTo>
                <a:cubicBezTo>
                  <a:pt x="411" y="312"/>
                  <a:pt x="411" y="312"/>
                  <a:pt x="411" y="312"/>
                </a:cubicBezTo>
                <a:cubicBezTo>
                  <a:pt x="412" y="314"/>
                  <a:pt x="412" y="316"/>
                  <a:pt x="412" y="319"/>
                </a:cubicBezTo>
                <a:cubicBezTo>
                  <a:pt x="403" y="319"/>
                  <a:pt x="393" y="320"/>
                  <a:pt x="384" y="321"/>
                </a:cubicBezTo>
                <a:cubicBezTo>
                  <a:pt x="380" y="321"/>
                  <a:pt x="380" y="321"/>
                  <a:pt x="380" y="321"/>
                </a:cubicBezTo>
                <a:cubicBezTo>
                  <a:pt x="379" y="318"/>
                  <a:pt x="377" y="311"/>
                  <a:pt x="376" y="306"/>
                </a:cubicBezTo>
                <a:cubicBezTo>
                  <a:pt x="379" y="305"/>
                  <a:pt x="382" y="305"/>
                  <a:pt x="386" y="305"/>
                </a:cubicBezTo>
                <a:close/>
                <a:moveTo>
                  <a:pt x="384" y="325"/>
                </a:moveTo>
                <a:cubicBezTo>
                  <a:pt x="394" y="325"/>
                  <a:pt x="404" y="324"/>
                  <a:pt x="413" y="324"/>
                </a:cubicBezTo>
                <a:cubicBezTo>
                  <a:pt x="415" y="330"/>
                  <a:pt x="415" y="336"/>
                  <a:pt x="416" y="342"/>
                </a:cubicBezTo>
                <a:cubicBezTo>
                  <a:pt x="416" y="344"/>
                  <a:pt x="416" y="347"/>
                  <a:pt x="416" y="349"/>
                </a:cubicBezTo>
                <a:cubicBezTo>
                  <a:pt x="411" y="349"/>
                  <a:pt x="411" y="349"/>
                  <a:pt x="411" y="349"/>
                </a:cubicBezTo>
                <a:cubicBezTo>
                  <a:pt x="388" y="347"/>
                  <a:pt x="388" y="347"/>
                  <a:pt x="388" y="347"/>
                </a:cubicBezTo>
                <a:cubicBezTo>
                  <a:pt x="386" y="341"/>
                  <a:pt x="383" y="334"/>
                  <a:pt x="381" y="325"/>
                </a:cubicBezTo>
                <a:lnTo>
                  <a:pt x="384" y="325"/>
                </a:lnTo>
                <a:close/>
                <a:moveTo>
                  <a:pt x="528" y="269"/>
                </a:moveTo>
                <a:cubicBezTo>
                  <a:pt x="533" y="279"/>
                  <a:pt x="537" y="290"/>
                  <a:pt x="539" y="303"/>
                </a:cubicBezTo>
                <a:cubicBezTo>
                  <a:pt x="529" y="306"/>
                  <a:pt x="522" y="309"/>
                  <a:pt x="518" y="313"/>
                </a:cubicBezTo>
                <a:cubicBezTo>
                  <a:pt x="513" y="317"/>
                  <a:pt x="511" y="323"/>
                  <a:pt x="511" y="330"/>
                </a:cubicBezTo>
                <a:cubicBezTo>
                  <a:pt x="512" y="335"/>
                  <a:pt x="513" y="341"/>
                  <a:pt x="515" y="347"/>
                </a:cubicBezTo>
                <a:cubicBezTo>
                  <a:pt x="507" y="349"/>
                  <a:pt x="499" y="351"/>
                  <a:pt x="490" y="351"/>
                </a:cubicBezTo>
                <a:cubicBezTo>
                  <a:pt x="490" y="350"/>
                  <a:pt x="490" y="349"/>
                  <a:pt x="490" y="348"/>
                </a:cubicBezTo>
                <a:cubicBezTo>
                  <a:pt x="490" y="335"/>
                  <a:pt x="483" y="323"/>
                  <a:pt x="477" y="311"/>
                </a:cubicBezTo>
                <a:cubicBezTo>
                  <a:pt x="477" y="310"/>
                  <a:pt x="477" y="310"/>
                  <a:pt x="477" y="310"/>
                </a:cubicBezTo>
                <a:cubicBezTo>
                  <a:pt x="474" y="306"/>
                  <a:pt x="470" y="301"/>
                  <a:pt x="467" y="297"/>
                </a:cubicBezTo>
                <a:cubicBezTo>
                  <a:pt x="461" y="290"/>
                  <a:pt x="455" y="282"/>
                  <a:pt x="455" y="275"/>
                </a:cubicBezTo>
                <a:cubicBezTo>
                  <a:pt x="455" y="274"/>
                  <a:pt x="455" y="274"/>
                  <a:pt x="455" y="274"/>
                </a:cubicBezTo>
                <a:cubicBezTo>
                  <a:pt x="455" y="274"/>
                  <a:pt x="455" y="274"/>
                  <a:pt x="455" y="274"/>
                </a:cubicBezTo>
                <a:cubicBezTo>
                  <a:pt x="473" y="272"/>
                  <a:pt x="492" y="269"/>
                  <a:pt x="511" y="269"/>
                </a:cubicBezTo>
                <a:cubicBezTo>
                  <a:pt x="512" y="269"/>
                  <a:pt x="512" y="269"/>
                  <a:pt x="512" y="269"/>
                </a:cubicBezTo>
                <a:cubicBezTo>
                  <a:pt x="517" y="269"/>
                  <a:pt x="522" y="269"/>
                  <a:pt x="527" y="269"/>
                </a:cubicBezTo>
                <a:lnTo>
                  <a:pt x="528" y="269"/>
                </a:lnTo>
                <a:close/>
                <a:moveTo>
                  <a:pt x="526" y="264"/>
                </a:moveTo>
                <a:cubicBezTo>
                  <a:pt x="521" y="264"/>
                  <a:pt x="516" y="264"/>
                  <a:pt x="512" y="264"/>
                </a:cubicBezTo>
                <a:cubicBezTo>
                  <a:pt x="510" y="264"/>
                  <a:pt x="510" y="264"/>
                  <a:pt x="510" y="264"/>
                </a:cubicBezTo>
                <a:cubicBezTo>
                  <a:pt x="506" y="264"/>
                  <a:pt x="500" y="265"/>
                  <a:pt x="497" y="265"/>
                </a:cubicBezTo>
                <a:cubicBezTo>
                  <a:pt x="496" y="260"/>
                  <a:pt x="494" y="255"/>
                  <a:pt x="492" y="251"/>
                </a:cubicBezTo>
                <a:cubicBezTo>
                  <a:pt x="489" y="247"/>
                  <a:pt x="487" y="243"/>
                  <a:pt x="486" y="239"/>
                </a:cubicBezTo>
                <a:cubicBezTo>
                  <a:pt x="492" y="239"/>
                  <a:pt x="492" y="239"/>
                  <a:pt x="492" y="239"/>
                </a:cubicBezTo>
                <a:cubicBezTo>
                  <a:pt x="504" y="238"/>
                  <a:pt x="504" y="238"/>
                  <a:pt x="504" y="238"/>
                </a:cubicBezTo>
                <a:cubicBezTo>
                  <a:pt x="513" y="246"/>
                  <a:pt x="520" y="254"/>
                  <a:pt x="526" y="264"/>
                </a:cubicBezTo>
                <a:close/>
                <a:moveTo>
                  <a:pt x="487" y="201"/>
                </a:moveTo>
                <a:cubicBezTo>
                  <a:pt x="505" y="201"/>
                  <a:pt x="521" y="203"/>
                  <a:pt x="535" y="205"/>
                </a:cubicBezTo>
                <a:cubicBezTo>
                  <a:pt x="532" y="212"/>
                  <a:pt x="530" y="219"/>
                  <a:pt x="530" y="225"/>
                </a:cubicBezTo>
                <a:cubicBezTo>
                  <a:pt x="464" y="227"/>
                  <a:pt x="464" y="227"/>
                  <a:pt x="464" y="227"/>
                </a:cubicBezTo>
                <a:cubicBezTo>
                  <a:pt x="464" y="225"/>
                  <a:pt x="464" y="221"/>
                  <a:pt x="464" y="218"/>
                </a:cubicBezTo>
                <a:cubicBezTo>
                  <a:pt x="464" y="213"/>
                  <a:pt x="463" y="207"/>
                  <a:pt x="462" y="201"/>
                </a:cubicBezTo>
                <a:cubicBezTo>
                  <a:pt x="470" y="201"/>
                  <a:pt x="479" y="201"/>
                  <a:pt x="487" y="201"/>
                </a:cubicBezTo>
                <a:close/>
                <a:moveTo>
                  <a:pt x="480" y="239"/>
                </a:moveTo>
                <a:cubicBezTo>
                  <a:pt x="480" y="239"/>
                  <a:pt x="480" y="239"/>
                  <a:pt x="480" y="239"/>
                </a:cubicBezTo>
                <a:cubicBezTo>
                  <a:pt x="482" y="244"/>
                  <a:pt x="484" y="249"/>
                  <a:pt x="486" y="253"/>
                </a:cubicBezTo>
                <a:cubicBezTo>
                  <a:pt x="489" y="257"/>
                  <a:pt x="491" y="261"/>
                  <a:pt x="492" y="265"/>
                </a:cubicBezTo>
                <a:cubicBezTo>
                  <a:pt x="476" y="266"/>
                  <a:pt x="460" y="269"/>
                  <a:pt x="444" y="271"/>
                </a:cubicBezTo>
                <a:cubicBezTo>
                  <a:pt x="442" y="271"/>
                  <a:pt x="442" y="271"/>
                  <a:pt x="442" y="271"/>
                </a:cubicBezTo>
                <a:cubicBezTo>
                  <a:pt x="442" y="270"/>
                  <a:pt x="442" y="270"/>
                  <a:pt x="442" y="269"/>
                </a:cubicBezTo>
                <a:cubicBezTo>
                  <a:pt x="441" y="265"/>
                  <a:pt x="439" y="261"/>
                  <a:pt x="437" y="257"/>
                </a:cubicBezTo>
                <a:cubicBezTo>
                  <a:pt x="434" y="252"/>
                  <a:pt x="432" y="247"/>
                  <a:pt x="432" y="243"/>
                </a:cubicBezTo>
                <a:cubicBezTo>
                  <a:pt x="432" y="242"/>
                  <a:pt x="432" y="241"/>
                  <a:pt x="432" y="240"/>
                </a:cubicBezTo>
                <a:lnTo>
                  <a:pt x="480" y="239"/>
                </a:lnTo>
                <a:close/>
                <a:moveTo>
                  <a:pt x="489" y="142"/>
                </a:moveTo>
                <a:cubicBezTo>
                  <a:pt x="470" y="145"/>
                  <a:pt x="452" y="149"/>
                  <a:pt x="438" y="154"/>
                </a:cubicBezTo>
                <a:cubicBezTo>
                  <a:pt x="436" y="152"/>
                  <a:pt x="432" y="147"/>
                  <a:pt x="424" y="139"/>
                </a:cubicBezTo>
                <a:cubicBezTo>
                  <a:pt x="427" y="137"/>
                  <a:pt x="430" y="135"/>
                  <a:pt x="433" y="134"/>
                </a:cubicBezTo>
                <a:cubicBezTo>
                  <a:pt x="440" y="130"/>
                  <a:pt x="449" y="128"/>
                  <a:pt x="457" y="126"/>
                </a:cubicBezTo>
                <a:cubicBezTo>
                  <a:pt x="463" y="124"/>
                  <a:pt x="468" y="123"/>
                  <a:pt x="474" y="121"/>
                </a:cubicBezTo>
                <a:cubicBezTo>
                  <a:pt x="480" y="128"/>
                  <a:pt x="485" y="135"/>
                  <a:pt x="489" y="142"/>
                </a:cubicBezTo>
                <a:close/>
                <a:moveTo>
                  <a:pt x="471" y="117"/>
                </a:moveTo>
                <a:cubicBezTo>
                  <a:pt x="466" y="118"/>
                  <a:pt x="461" y="120"/>
                  <a:pt x="455" y="121"/>
                </a:cubicBezTo>
                <a:cubicBezTo>
                  <a:pt x="447" y="123"/>
                  <a:pt x="438" y="126"/>
                  <a:pt x="430" y="130"/>
                </a:cubicBezTo>
                <a:cubicBezTo>
                  <a:pt x="426" y="131"/>
                  <a:pt x="423" y="133"/>
                  <a:pt x="420" y="135"/>
                </a:cubicBezTo>
                <a:cubicBezTo>
                  <a:pt x="417" y="132"/>
                  <a:pt x="404" y="120"/>
                  <a:pt x="387" y="106"/>
                </a:cubicBezTo>
                <a:cubicBezTo>
                  <a:pt x="404" y="98"/>
                  <a:pt x="422" y="91"/>
                  <a:pt x="440" y="84"/>
                </a:cubicBezTo>
                <a:cubicBezTo>
                  <a:pt x="453" y="96"/>
                  <a:pt x="463" y="107"/>
                  <a:pt x="471" y="117"/>
                </a:cubicBezTo>
                <a:close/>
                <a:moveTo>
                  <a:pt x="436" y="25"/>
                </a:moveTo>
                <a:cubicBezTo>
                  <a:pt x="444" y="34"/>
                  <a:pt x="454" y="43"/>
                  <a:pt x="464" y="52"/>
                </a:cubicBezTo>
                <a:cubicBezTo>
                  <a:pt x="474" y="61"/>
                  <a:pt x="484" y="70"/>
                  <a:pt x="491" y="79"/>
                </a:cubicBezTo>
                <a:cubicBezTo>
                  <a:pt x="479" y="83"/>
                  <a:pt x="467" y="88"/>
                  <a:pt x="456" y="92"/>
                </a:cubicBezTo>
                <a:cubicBezTo>
                  <a:pt x="452" y="88"/>
                  <a:pt x="431" y="67"/>
                  <a:pt x="400" y="41"/>
                </a:cubicBezTo>
                <a:cubicBezTo>
                  <a:pt x="411" y="35"/>
                  <a:pt x="423" y="30"/>
                  <a:pt x="436" y="25"/>
                </a:cubicBezTo>
                <a:close/>
                <a:moveTo>
                  <a:pt x="395" y="43"/>
                </a:moveTo>
                <a:cubicBezTo>
                  <a:pt x="411" y="57"/>
                  <a:pt x="424" y="69"/>
                  <a:pt x="436" y="81"/>
                </a:cubicBezTo>
                <a:cubicBezTo>
                  <a:pt x="418" y="87"/>
                  <a:pt x="400" y="95"/>
                  <a:pt x="382" y="103"/>
                </a:cubicBezTo>
                <a:cubicBezTo>
                  <a:pt x="381" y="102"/>
                  <a:pt x="378" y="100"/>
                  <a:pt x="376" y="98"/>
                </a:cubicBezTo>
                <a:cubicBezTo>
                  <a:pt x="366" y="92"/>
                  <a:pt x="356" y="85"/>
                  <a:pt x="345" y="78"/>
                </a:cubicBezTo>
                <a:cubicBezTo>
                  <a:pt x="354" y="67"/>
                  <a:pt x="371" y="56"/>
                  <a:pt x="395" y="43"/>
                </a:cubicBezTo>
                <a:close/>
                <a:moveTo>
                  <a:pt x="343" y="94"/>
                </a:moveTo>
                <a:cubicBezTo>
                  <a:pt x="328" y="99"/>
                  <a:pt x="316" y="106"/>
                  <a:pt x="306" y="112"/>
                </a:cubicBezTo>
                <a:cubicBezTo>
                  <a:pt x="301" y="110"/>
                  <a:pt x="277" y="97"/>
                  <a:pt x="265" y="88"/>
                </a:cubicBezTo>
                <a:cubicBezTo>
                  <a:pt x="279" y="81"/>
                  <a:pt x="288" y="74"/>
                  <a:pt x="292" y="65"/>
                </a:cubicBezTo>
                <a:cubicBezTo>
                  <a:pt x="310" y="74"/>
                  <a:pt x="327" y="84"/>
                  <a:pt x="343" y="94"/>
                </a:cubicBezTo>
                <a:close/>
                <a:moveTo>
                  <a:pt x="257" y="53"/>
                </a:moveTo>
                <a:cubicBezTo>
                  <a:pt x="258" y="53"/>
                  <a:pt x="258" y="53"/>
                  <a:pt x="258" y="53"/>
                </a:cubicBezTo>
                <a:cubicBezTo>
                  <a:pt x="259" y="52"/>
                  <a:pt x="261" y="51"/>
                  <a:pt x="262" y="50"/>
                </a:cubicBezTo>
                <a:cubicBezTo>
                  <a:pt x="271" y="54"/>
                  <a:pt x="279" y="58"/>
                  <a:pt x="287" y="62"/>
                </a:cubicBezTo>
                <a:cubicBezTo>
                  <a:pt x="280" y="77"/>
                  <a:pt x="259" y="86"/>
                  <a:pt x="242" y="93"/>
                </a:cubicBezTo>
                <a:cubicBezTo>
                  <a:pt x="238" y="91"/>
                  <a:pt x="221" y="82"/>
                  <a:pt x="210" y="76"/>
                </a:cubicBezTo>
                <a:cubicBezTo>
                  <a:pt x="228" y="69"/>
                  <a:pt x="245" y="61"/>
                  <a:pt x="257" y="53"/>
                </a:cubicBezTo>
                <a:close/>
                <a:moveTo>
                  <a:pt x="208" y="93"/>
                </a:moveTo>
                <a:cubicBezTo>
                  <a:pt x="194" y="99"/>
                  <a:pt x="194" y="99"/>
                  <a:pt x="194" y="99"/>
                </a:cubicBezTo>
                <a:cubicBezTo>
                  <a:pt x="185" y="92"/>
                  <a:pt x="185" y="92"/>
                  <a:pt x="185" y="92"/>
                </a:cubicBezTo>
                <a:cubicBezTo>
                  <a:pt x="200" y="87"/>
                  <a:pt x="200" y="87"/>
                  <a:pt x="200" y="87"/>
                </a:cubicBezTo>
                <a:lnTo>
                  <a:pt x="208" y="93"/>
                </a:lnTo>
                <a:close/>
                <a:moveTo>
                  <a:pt x="162" y="86"/>
                </a:moveTo>
                <a:cubicBezTo>
                  <a:pt x="159" y="83"/>
                  <a:pt x="145" y="69"/>
                  <a:pt x="138" y="60"/>
                </a:cubicBezTo>
                <a:cubicBezTo>
                  <a:pt x="148" y="56"/>
                  <a:pt x="156" y="53"/>
                  <a:pt x="164" y="50"/>
                </a:cubicBezTo>
                <a:cubicBezTo>
                  <a:pt x="171" y="57"/>
                  <a:pt x="183" y="66"/>
                  <a:pt x="198" y="75"/>
                </a:cubicBezTo>
                <a:cubicBezTo>
                  <a:pt x="185" y="79"/>
                  <a:pt x="173" y="83"/>
                  <a:pt x="162" y="86"/>
                </a:cubicBezTo>
                <a:close/>
                <a:moveTo>
                  <a:pt x="177" y="111"/>
                </a:moveTo>
                <a:cubicBezTo>
                  <a:pt x="190" y="119"/>
                  <a:pt x="204" y="127"/>
                  <a:pt x="219" y="135"/>
                </a:cubicBezTo>
                <a:cubicBezTo>
                  <a:pt x="210" y="148"/>
                  <a:pt x="195" y="159"/>
                  <a:pt x="175" y="169"/>
                </a:cubicBezTo>
                <a:cubicBezTo>
                  <a:pt x="171" y="160"/>
                  <a:pt x="161" y="152"/>
                  <a:pt x="151" y="145"/>
                </a:cubicBezTo>
                <a:cubicBezTo>
                  <a:pt x="145" y="140"/>
                  <a:pt x="139" y="135"/>
                  <a:pt x="135" y="131"/>
                </a:cubicBezTo>
                <a:cubicBezTo>
                  <a:pt x="133" y="129"/>
                  <a:pt x="132" y="127"/>
                  <a:pt x="130" y="125"/>
                </a:cubicBezTo>
                <a:cubicBezTo>
                  <a:pt x="148" y="120"/>
                  <a:pt x="164" y="116"/>
                  <a:pt x="177" y="111"/>
                </a:cubicBezTo>
                <a:close/>
                <a:moveTo>
                  <a:pt x="107" y="156"/>
                </a:moveTo>
                <a:cubicBezTo>
                  <a:pt x="103" y="149"/>
                  <a:pt x="103" y="149"/>
                  <a:pt x="103" y="149"/>
                </a:cubicBezTo>
                <a:cubicBezTo>
                  <a:pt x="102" y="148"/>
                  <a:pt x="102" y="148"/>
                  <a:pt x="102" y="148"/>
                </a:cubicBezTo>
                <a:cubicBezTo>
                  <a:pt x="102" y="148"/>
                  <a:pt x="102" y="148"/>
                  <a:pt x="102" y="148"/>
                </a:cubicBezTo>
                <a:cubicBezTo>
                  <a:pt x="99" y="144"/>
                  <a:pt x="96" y="139"/>
                  <a:pt x="92" y="134"/>
                </a:cubicBezTo>
                <a:cubicBezTo>
                  <a:pt x="103" y="132"/>
                  <a:pt x="114" y="129"/>
                  <a:pt x="124" y="127"/>
                </a:cubicBezTo>
                <a:cubicBezTo>
                  <a:pt x="126" y="129"/>
                  <a:pt x="129" y="132"/>
                  <a:pt x="131" y="134"/>
                </a:cubicBezTo>
                <a:cubicBezTo>
                  <a:pt x="135" y="138"/>
                  <a:pt x="141" y="143"/>
                  <a:pt x="147" y="148"/>
                </a:cubicBezTo>
                <a:cubicBezTo>
                  <a:pt x="157" y="155"/>
                  <a:pt x="166" y="163"/>
                  <a:pt x="170" y="171"/>
                </a:cubicBezTo>
                <a:cubicBezTo>
                  <a:pt x="155" y="177"/>
                  <a:pt x="139" y="182"/>
                  <a:pt x="121" y="185"/>
                </a:cubicBezTo>
                <a:cubicBezTo>
                  <a:pt x="117" y="176"/>
                  <a:pt x="112" y="166"/>
                  <a:pt x="107" y="156"/>
                </a:cubicBezTo>
                <a:close/>
                <a:moveTo>
                  <a:pt x="114" y="250"/>
                </a:moveTo>
                <a:cubicBezTo>
                  <a:pt x="110" y="250"/>
                  <a:pt x="110" y="250"/>
                  <a:pt x="110" y="250"/>
                </a:cubicBezTo>
                <a:cubicBezTo>
                  <a:pt x="85" y="249"/>
                  <a:pt x="60" y="249"/>
                  <a:pt x="35" y="249"/>
                </a:cubicBezTo>
                <a:cubicBezTo>
                  <a:pt x="28" y="249"/>
                  <a:pt x="28" y="249"/>
                  <a:pt x="28" y="249"/>
                </a:cubicBezTo>
                <a:cubicBezTo>
                  <a:pt x="26" y="242"/>
                  <a:pt x="24" y="234"/>
                  <a:pt x="21" y="226"/>
                </a:cubicBezTo>
                <a:cubicBezTo>
                  <a:pt x="23" y="226"/>
                  <a:pt x="26" y="226"/>
                  <a:pt x="29" y="226"/>
                </a:cubicBezTo>
                <a:cubicBezTo>
                  <a:pt x="29" y="226"/>
                  <a:pt x="29" y="226"/>
                  <a:pt x="29" y="226"/>
                </a:cubicBezTo>
                <a:cubicBezTo>
                  <a:pt x="44" y="226"/>
                  <a:pt x="60" y="224"/>
                  <a:pt x="75" y="222"/>
                </a:cubicBezTo>
                <a:cubicBezTo>
                  <a:pt x="87" y="220"/>
                  <a:pt x="100" y="219"/>
                  <a:pt x="114" y="218"/>
                </a:cubicBezTo>
                <a:cubicBezTo>
                  <a:pt x="114" y="219"/>
                  <a:pt x="114" y="219"/>
                  <a:pt x="114" y="220"/>
                </a:cubicBezTo>
                <a:cubicBezTo>
                  <a:pt x="115" y="227"/>
                  <a:pt x="116" y="234"/>
                  <a:pt x="116" y="241"/>
                </a:cubicBezTo>
                <a:cubicBezTo>
                  <a:pt x="116" y="244"/>
                  <a:pt x="116" y="246"/>
                  <a:pt x="116" y="250"/>
                </a:cubicBezTo>
                <a:lnTo>
                  <a:pt x="114" y="250"/>
                </a:lnTo>
                <a:close/>
                <a:moveTo>
                  <a:pt x="129" y="281"/>
                </a:moveTo>
                <a:cubicBezTo>
                  <a:pt x="151" y="282"/>
                  <a:pt x="151" y="282"/>
                  <a:pt x="151" y="282"/>
                </a:cubicBezTo>
                <a:cubicBezTo>
                  <a:pt x="151" y="286"/>
                  <a:pt x="151" y="286"/>
                  <a:pt x="151" y="286"/>
                </a:cubicBezTo>
                <a:cubicBezTo>
                  <a:pt x="151" y="300"/>
                  <a:pt x="146" y="310"/>
                  <a:pt x="141" y="322"/>
                </a:cubicBezTo>
                <a:cubicBezTo>
                  <a:pt x="139" y="326"/>
                  <a:pt x="137" y="330"/>
                  <a:pt x="135" y="335"/>
                </a:cubicBezTo>
                <a:cubicBezTo>
                  <a:pt x="111" y="327"/>
                  <a:pt x="111" y="327"/>
                  <a:pt x="111" y="327"/>
                </a:cubicBezTo>
                <a:cubicBezTo>
                  <a:pt x="117" y="313"/>
                  <a:pt x="124" y="298"/>
                  <a:pt x="129" y="281"/>
                </a:cubicBezTo>
                <a:close/>
                <a:moveTo>
                  <a:pt x="90" y="371"/>
                </a:moveTo>
                <a:cubicBezTo>
                  <a:pt x="92" y="365"/>
                  <a:pt x="100" y="349"/>
                  <a:pt x="105" y="339"/>
                </a:cubicBezTo>
                <a:cubicBezTo>
                  <a:pt x="109" y="331"/>
                  <a:pt x="109" y="331"/>
                  <a:pt x="109" y="331"/>
                </a:cubicBezTo>
                <a:cubicBezTo>
                  <a:pt x="123" y="336"/>
                  <a:pt x="144" y="344"/>
                  <a:pt x="163" y="349"/>
                </a:cubicBezTo>
                <a:cubicBezTo>
                  <a:pt x="156" y="356"/>
                  <a:pt x="152" y="363"/>
                  <a:pt x="151" y="372"/>
                </a:cubicBezTo>
                <a:cubicBezTo>
                  <a:pt x="144" y="371"/>
                  <a:pt x="138" y="371"/>
                  <a:pt x="132" y="371"/>
                </a:cubicBezTo>
                <a:cubicBezTo>
                  <a:pt x="118" y="371"/>
                  <a:pt x="104" y="371"/>
                  <a:pt x="90" y="371"/>
                </a:cubicBezTo>
                <a:close/>
                <a:moveTo>
                  <a:pt x="209" y="428"/>
                </a:moveTo>
                <a:cubicBezTo>
                  <a:pt x="201" y="426"/>
                  <a:pt x="193" y="424"/>
                  <a:pt x="185" y="424"/>
                </a:cubicBezTo>
                <a:cubicBezTo>
                  <a:pt x="176" y="423"/>
                  <a:pt x="165" y="422"/>
                  <a:pt x="152" y="422"/>
                </a:cubicBezTo>
                <a:cubicBezTo>
                  <a:pt x="142" y="422"/>
                  <a:pt x="131" y="422"/>
                  <a:pt x="121" y="422"/>
                </a:cubicBezTo>
                <a:cubicBezTo>
                  <a:pt x="121" y="419"/>
                  <a:pt x="121" y="414"/>
                  <a:pt x="121" y="412"/>
                </a:cubicBezTo>
                <a:cubicBezTo>
                  <a:pt x="121" y="406"/>
                  <a:pt x="121" y="400"/>
                  <a:pt x="120" y="395"/>
                </a:cubicBezTo>
                <a:cubicBezTo>
                  <a:pt x="120" y="389"/>
                  <a:pt x="120" y="389"/>
                  <a:pt x="120" y="389"/>
                </a:cubicBezTo>
                <a:cubicBezTo>
                  <a:pt x="120" y="387"/>
                  <a:pt x="119" y="386"/>
                  <a:pt x="119" y="384"/>
                </a:cubicBezTo>
                <a:cubicBezTo>
                  <a:pt x="119" y="384"/>
                  <a:pt x="119" y="384"/>
                  <a:pt x="119" y="384"/>
                </a:cubicBezTo>
                <a:cubicBezTo>
                  <a:pt x="133" y="384"/>
                  <a:pt x="133" y="384"/>
                  <a:pt x="133" y="384"/>
                </a:cubicBezTo>
                <a:cubicBezTo>
                  <a:pt x="139" y="384"/>
                  <a:pt x="146" y="384"/>
                  <a:pt x="153" y="384"/>
                </a:cubicBezTo>
                <a:cubicBezTo>
                  <a:pt x="159" y="402"/>
                  <a:pt x="182" y="415"/>
                  <a:pt x="210" y="419"/>
                </a:cubicBezTo>
                <a:cubicBezTo>
                  <a:pt x="209" y="422"/>
                  <a:pt x="209" y="425"/>
                  <a:pt x="209" y="428"/>
                </a:cubicBezTo>
                <a:close/>
                <a:moveTo>
                  <a:pt x="262" y="393"/>
                </a:moveTo>
                <a:cubicBezTo>
                  <a:pt x="253" y="402"/>
                  <a:pt x="237" y="407"/>
                  <a:pt x="220" y="407"/>
                </a:cubicBezTo>
                <a:cubicBezTo>
                  <a:pt x="192" y="406"/>
                  <a:pt x="169" y="392"/>
                  <a:pt x="169" y="375"/>
                </a:cubicBezTo>
                <a:cubicBezTo>
                  <a:pt x="169" y="369"/>
                  <a:pt x="171" y="364"/>
                  <a:pt x="176" y="359"/>
                </a:cubicBezTo>
                <a:cubicBezTo>
                  <a:pt x="185" y="350"/>
                  <a:pt x="201" y="345"/>
                  <a:pt x="219" y="345"/>
                </a:cubicBezTo>
                <a:cubicBezTo>
                  <a:pt x="246" y="345"/>
                  <a:pt x="269" y="360"/>
                  <a:pt x="269" y="377"/>
                </a:cubicBezTo>
                <a:cubicBezTo>
                  <a:pt x="269" y="382"/>
                  <a:pt x="267" y="388"/>
                  <a:pt x="262" y="393"/>
                </a:cubicBezTo>
                <a:close/>
                <a:moveTo>
                  <a:pt x="270" y="348"/>
                </a:moveTo>
                <a:cubicBezTo>
                  <a:pt x="260" y="341"/>
                  <a:pt x="246" y="335"/>
                  <a:pt x="231" y="333"/>
                </a:cubicBezTo>
                <a:cubicBezTo>
                  <a:pt x="230" y="324"/>
                  <a:pt x="230" y="315"/>
                  <a:pt x="230" y="307"/>
                </a:cubicBezTo>
                <a:cubicBezTo>
                  <a:pt x="230" y="301"/>
                  <a:pt x="230" y="301"/>
                  <a:pt x="230" y="301"/>
                </a:cubicBezTo>
                <a:cubicBezTo>
                  <a:pt x="230" y="301"/>
                  <a:pt x="230" y="301"/>
                  <a:pt x="230" y="301"/>
                </a:cubicBezTo>
                <a:cubicBezTo>
                  <a:pt x="250" y="301"/>
                  <a:pt x="250" y="301"/>
                  <a:pt x="250" y="301"/>
                </a:cubicBezTo>
                <a:cubicBezTo>
                  <a:pt x="271" y="302"/>
                  <a:pt x="271" y="302"/>
                  <a:pt x="271" y="302"/>
                </a:cubicBezTo>
                <a:cubicBezTo>
                  <a:pt x="299" y="302"/>
                  <a:pt x="328" y="302"/>
                  <a:pt x="355" y="298"/>
                </a:cubicBezTo>
                <a:cubicBezTo>
                  <a:pt x="357" y="306"/>
                  <a:pt x="359" y="313"/>
                  <a:pt x="361" y="321"/>
                </a:cubicBezTo>
                <a:cubicBezTo>
                  <a:pt x="343" y="325"/>
                  <a:pt x="325" y="331"/>
                  <a:pt x="309" y="336"/>
                </a:cubicBezTo>
                <a:cubicBezTo>
                  <a:pt x="296" y="340"/>
                  <a:pt x="283" y="345"/>
                  <a:pt x="270" y="348"/>
                </a:cubicBezTo>
                <a:close/>
                <a:moveTo>
                  <a:pt x="288" y="378"/>
                </a:moveTo>
                <a:cubicBezTo>
                  <a:pt x="288" y="377"/>
                  <a:pt x="288" y="377"/>
                  <a:pt x="288" y="377"/>
                </a:cubicBezTo>
                <a:cubicBezTo>
                  <a:pt x="287" y="369"/>
                  <a:pt x="284" y="362"/>
                  <a:pt x="278" y="355"/>
                </a:cubicBezTo>
                <a:cubicBezTo>
                  <a:pt x="291" y="352"/>
                  <a:pt x="303" y="348"/>
                  <a:pt x="314" y="344"/>
                </a:cubicBezTo>
                <a:cubicBezTo>
                  <a:pt x="330" y="339"/>
                  <a:pt x="347" y="334"/>
                  <a:pt x="364" y="329"/>
                </a:cubicBezTo>
                <a:cubicBezTo>
                  <a:pt x="367" y="341"/>
                  <a:pt x="371" y="353"/>
                  <a:pt x="375" y="365"/>
                </a:cubicBezTo>
                <a:cubicBezTo>
                  <a:pt x="357" y="372"/>
                  <a:pt x="337" y="382"/>
                  <a:pt x="323" y="394"/>
                </a:cubicBezTo>
                <a:cubicBezTo>
                  <a:pt x="319" y="393"/>
                  <a:pt x="302" y="386"/>
                  <a:pt x="288" y="378"/>
                </a:cubicBezTo>
                <a:close/>
                <a:moveTo>
                  <a:pt x="328" y="396"/>
                </a:moveTo>
                <a:cubicBezTo>
                  <a:pt x="341" y="386"/>
                  <a:pt x="359" y="377"/>
                  <a:pt x="377" y="369"/>
                </a:cubicBezTo>
                <a:cubicBezTo>
                  <a:pt x="383" y="385"/>
                  <a:pt x="389" y="401"/>
                  <a:pt x="396" y="417"/>
                </a:cubicBezTo>
                <a:cubicBezTo>
                  <a:pt x="387" y="415"/>
                  <a:pt x="357" y="407"/>
                  <a:pt x="328" y="396"/>
                </a:cubicBezTo>
                <a:close/>
                <a:moveTo>
                  <a:pt x="391" y="356"/>
                </a:moveTo>
                <a:cubicBezTo>
                  <a:pt x="410" y="358"/>
                  <a:pt x="410" y="358"/>
                  <a:pt x="410" y="358"/>
                </a:cubicBezTo>
                <a:cubicBezTo>
                  <a:pt x="429" y="359"/>
                  <a:pt x="429" y="359"/>
                  <a:pt x="429" y="359"/>
                </a:cubicBezTo>
                <a:cubicBezTo>
                  <a:pt x="429" y="370"/>
                  <a:pt x="429" y="370"/>
                  <a:pt x="429" y="370"/>
                </a:cubicBezTo>
                <a:cubicBezTo>
                  <a:pt x="429" y="377"/>
                  <a:pt x="430" y="384"/>
                  <a:pt x="434" y="391"/>
                </a:cubicBezTo>
                <a:cubicBezTo>
                  <a:pt x="427" y="391"/>
                  <a:pt x="419" y="390"/>
                  <a:pt x="411" y="390"/>
                </a:cubicBezTo>
                <a:cubicBezTo>
                  <a:pt x="403" y="389"/>
                  <a:pt x="403" y="389"/>
                  <a:pt x="403" y="389"/>
                </a:cubicBezTo>
                <a:cubicBezTo>
                  <a:pt x="399" y="378"/>
                  <a:pt x="395" y="367"/>
                  <a:pt x="391" y="356"/>
                </a:cubicBezTo>
                <a:close/>
                <a:moveTo>
                  <a:pt x="417" y="420"/>
                </a:moveTo>
                <a:cubicBezTo>
                  <a:pt x="412" y="411"/>
                  <a:pt x="409" y="402"/>
                  <a:pt x="405" y="394"/>
                </a:cubicBezTo>
                <a:cubicBezTo>
                  <a:pt x="411" y="394"/>
                  <a:pt x="411" y="394"/>
                  <a:pt x="411" y="394"/>
                </a:cubicBezTo>
                <a:cubicBezTo>
                  <a:pt x="420" y="395"/>
                  <a:pt x="428" y="395"/>
                  <a:pt x="437" y="395"/>
                </a:cubicBezTo>
                <a:cubicBezTo>
                  <a:pt x="453" y="396"/>
                  <a:pt x="465" y="394"/>
                  <a:pt x="477" y="391"/>
                </a:cubicBezTo>
                <a:cubicBezTo>
                  <a:pt x="481" y="400"/>
                  <a:pt x="485" y="408"/>
                  <a:pt x="486" y="417"/>
                </a:cubicBezTo>
                <a:cubicBezTo>
                  <a:pt x="460" y="418"/>
                  <a:pt x="438" y="419"/>
                  <a:pt x="417" y="420"/>
                </a:cubicBezTo>
                <a:close/>
              </a:path>
            </a:pathLst>
          </a:custGeom>
          <a:noFill/>
          <a:ln w="3175" cap="flat">
            <a:solidFill>
              <a:srgbClr val="BFBFB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882" tIns="60941" rIns="121882" bIns="60941" numCol="1" anchor="t" anchorCtr="0" compatLnSpc="1">
            <a:prstTxWarp prst="textNoShape">
              <a:avLst/>
            </a:prstTxWarp>
          </a:bodyPr>
          <a:lstStyle/>
          <a:p>
            <a:endParaRPr lang="ru-RU" sz="2399"/>
          </a:p>
        </p:txBody>
      </p:sp>
      <p:sp>
        <p:nvSpPr>
          <p:cNvPr id="32" name="Freeform 205"/>
          <p:cNvSpPr>
            <a:spLocks noEditPoints="1"/>
          </p:cNvSpPr>
          <p:nvPr/>
        </p:nvSpPr>
        <p:spPr bwMode="auto">
          <a:xfrm>
            <a:off x="9117601" y="4153146"/>
            <a:ext cx="255020" cy="282841"/>
          </a:xfrm>
          <a:custGeom>
            <a:avLst/>
            <a:gdLst>
              <a:gd name="T0" fmla="*/ 204 w 406"/>
              <a:gd name="T1" fmla="*/ 45 h 422"/>
              <a:gd name="T2" fmla="*/ 204 w 406"/>
              <a:gd name="T3" fmla="*/ 45 h 422"/>
              <a:gd name="T4" fmla="*/ 184 w 406"/>
              <a:gd name="T5" fmla="*/ 45 h 422"/>
              <a:gd name="T6" fmla="*/ 74 w 406"/>
              <a:gd name="T7" fmla="*/ 46 h 422"/>
              <a:gd name="T8" fmla="*/ 30 w 406"/>
              <a:gd name="T9" fmla="*/ 95 h 422"/>
              <a:gd name="T10" fmla="*/ 30 w 406"/>
              <a:gd name="T11" fmla="*/ 339 h 422"/>
              <a:gd name="T12" fmla="*/ 82 w 406"/>
              <a:gd name="T13" fmla="*/ 391 h 422"/>
              <a:gd name="T14" fmla="*/ 177 w 406"/>
              <a:gd name="T15" fmla="*/ 391 h 422"/>
              <a:gd name="T16" fmla="*/ 326 w 406"/>
              <a:gd name="T17" fmla="*/ 391 h 422"/>
              <a:gd name="T18" fmla="*/ 376 w 406"/>
              <a:gd name="T19" fmla="*/ 341 h 422"/>
              <a:gd name="T20" fmla="*/ 376 w 406"/>
              <a:gd name="T21" fmla="*/ 95 h 422"/>
              <a:gd name="T22" fmla="*/ 375 w 406"/>
              <a:gd name="T23" fmla="*/ 84 h 422"/>
              <a:gd name="T24" fmla="*/ 324 w 406"/>
              <a:gd name="T25" fmla="*/ 45 h 422"/>
              <a:gd name="T26" fmla="*/ 204 w 406"/>
              <a:gd name="T27" fmla="*/ 45 h 422"/>
              <a:gd name="T28" fmla="*/ 153 w 406"/>
              <a:gd name="T29" fmla="*/ 15 h 422"/>
              <a:gd name="T30" fmla="*/ 153 w 406"/>
              <a:gd name="T31" fmla="*/ 15 h 422"/>
              <a:gd name="T32" fmla="*/ 172 w 406"/>
              <a:gd name="T33" fmla="*/ 0 h 422"/>
              <a:gd name="T34" fmla="*/ 228 w 406"/>
              <a:gd name="T35" fmla="*/ 0 h 422"/>
              <a:gd name="T36" fmla="*/ 247 w 406"/>
              <a:gd name="T37" fmla="*/ 12 h 422"/>
              <a:gd name="T38" fmla="*/ 253 w 406"/>
              <a:gd name="T39" fmla="*/ 15 h 422"/>
              <a:gd name="T40" fmla="*/ 324 w 406"/>
              <a:gd name="T41" fmla="*/ 15 h 422"/>
              <a:gd name="T42" fmla="*/ 359 w 406"/>
              <a:gd name="T43" fmla="*/ 22 h 422"/>
              <a:gd name="T44" fmla="*/ 406 w 406"/>
              <a:gd name="T45" fmla="*/ 95 h 422"/>
              <a:gd name="T46" fmla="*/ 406 w 406"/>
              <a:gd name="T47" fmla="*/ 346 h 422"/>
              <a:gd name="T48" fmla="*/ 335 w 406"/>
              <a:gd name="T49" fmla="*/ 421 h 422"/>
              <a:gd name="T50" fmla="*/ 269 w 406"/>
              <a:gd name="T51" fmla="*/ 422 h 422"/>
              <a:gd name="T52" fmla="*/ 71 w 406"/>
              <a:gd name="T53" fmla="*/ 421 h 422"/>
              <a:gd name="T54" fmla="*/ 0 w 406"/>
              <a:gd name="T55" fmla="*/ 347 h 422"/>
              <a:gd name="T56" fmla="*/ 0 w 406"/>
              <a:gd name="T57" fmla="*/ 89 h 422"/>
              <a:gd name="T58" fmla="*/ 67 w 406"/>
              <a:gd name="T59" fmla="*/ 16 h 422"/>
              <a:gd name="T60" fmla="*/ 94 w 406"/>
              <a:gd name="T61" fmla="*/ 15 h 422"/>
              <a:gd name="T62" fmla="*/ 153 w 406"/>
              <a:gd name="T63" fmla="*/ 15 h 4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06" h="422">
                <a:moveTo>
                  <a:pt x="204" y="45"/>
                </a:moveTo>
                <a:lnTo>
                  <a:pt x="204" y="45"/>
                </a:lnTo>
                <a:cubicBezTo>
                  <a:pt x="197" y="45"/>
                  <a:pt x="191" y="45"/>
                  <a:pt x="184" y="45"/>
                </a:cubicBezTo>
                <a:cubicBezTo>
                  <a:pt x="148" y="46"/>
                  <a:pt x="111" y="46"/>
                  <a:pt x="74" y="46"/>
                </a:cubicBezTo>
                <a:cubicBezTo>
                  <a:pt x="48" y="46"/>
                  <a:pt x="30" y="73"/>
                  <a:pt x="30" y="95"/>
                </a:cubicBezTo>
                <a:cubicBezTo>
                  <a:pt x="30" y="176"/>
                  <a:pt x="30" y="257"/>
                  <a:pt x="30" y="339"/>
                </a:cubicBezTo>
                <a:cubicBezTo>
                  <a:pt x="30" y="371"/>
                  <a:pt x="50" y="391"/>
                  <a:pt x="82" y="391"/>
                </a:cubicBezTo>
                <a:cubicBezTo>
                  <a:pt x="114" y="391"/>
                  <a:pt x="146" y="391"/>
                  <a:pt x="177" y="391"/>
                </a:cubicBezTo>
                <a:cubicBezTo>
                  <a:pt x="227" y="391"/>
                  <a:pt x="277" y="391"/>
                  <a:pt x="326" y="391"/>
                </a:cubicBezTo>
                <a:cubicBezTo>
                  <a:pt x="356" y="391"/>
                  <a:pt x="376" y="370"/>
                  <a:pt x="376" y="341"/>
                </a:cubicBezTo>
                <a:cubicBezTo>
                  <a:pt x="376" y="259"/>
                  <a:pt x="376" y="177"/>
                  <a:pt x="376" y="95"/>
                </a:cubicBezTo>
                <a:cubicBezTo>
                  <a:pt x="376" y="91"/>
                  <a:pt x="376" y="87"/>
                  <a:pt x="375" y="84"/>
                </a:cubicBezTo>
                <a:cubicBezTo>
                  <a:pt x="371" y="65"/>
                  <a:pt x="355" y="45"/>
                  <a:pt x="324" y="45"/>
                </a:cubicBezTo>
                <a:cubicBezTo>
                  <a:pt x="284" y="46"/>
                  <a:pt x="244" y="45"/>
                  <a:pt x="204" y="45"/>
                </a:cubicBezTo>
                <a:close/>
                <a:moveTo>
                  <a:pt x="153" y="15"/>
                </a:moveTo>
                <a:lnTo>
                  <a:pt x="153" y="15"/>
                </a:lnTo>
                <a:cubicBezTo>
                  <a:pt x="157" y="3"/>
                  <a:pt x="160" y="0"/>
                  <a:pt x="172" y="0"/>
                </a:cubicBezTo>
                <a:cubicBezTo>
                  <a:pt x="191" y="0"/>
                  <a:pt x="209" y="0"/>
                  <a:pt x="228" y="0"/>
                </a:cubicBezTo>
                <a:cubicBezTo>
                  <a:pt x="237" y="0"/>
                  <a:pt x="244" y="3"/>
                  <a:pt x="247" y="12"/>
                </a:cubicBezTo>
                <a:cubicBezTo>
                  <a:pt x="247" y="13"/>
                  <a:pt x="251" y="15"/>
                  <a:pt x="253" y="15"/>
                </a:cubicBezTo>
                <a:cubicBezTo>
                  <a:pt x="277" y="15"/>
                  <a:pt x="301" y="14"/>
                  <a:pt x="324" y="15"/>
                </a:cubicBezTo>
                <a:cubicBezTo>
                  <a:pt x="336" y="16"/>
                  <a:pt x="349" y="17"/>
                  <a:pt x="359" y="22"/>
                </a:cubicBezTo>
                <a:cubicBezTo>
                  <a:pt x="390" y="36"/>
                  <a:pt x="406" y="61"/>
                  <a:pt x="406" y="95"/>
                </a:cubicBezTo>
                <a:cubicBezTo>
                  <a:pt x="406" y="179"/>
                  <a:pt x="406" y="262"/>
                  <a:pt x="406" y="346"/>
                </a:cubicBezTo>
                <a:cubicBezTo>
                  <a:pt x="406" y="384"/>
                  <a:pt x="373" y="419"/>
                  <a:pt x="335" y="421"/>
                </a:cubicBezTo>
                <a:cubicBezTo>
                  <a:pt x="313" y="422"/>
                  <a:pt x="291" y="422"/>
                  <a:pt x="269" y="422"/>
                </a:cubicBezTo>
                <a:cubicBezTo>
                  <a:pt x="203" y="421"/>
                  <a:pt x="137" y="422"/>
                  <a:pt x="71" y="421"/>
                </a:cubicBezTo>
                <a:cubicBezTo>
                  <a:pt x="34" y="420"/>
                  <a:pt x="0" y="383"/>
                  <a:pt x="0" y="347"/>
                </a:cubicBezTo>
                <a:cubicBezTo>
                  <a:pt x="0" y="261"/>
                  <a:pt x="0" y="175"/>
                  <a:pt x="0" y="89"/>
                </a:cubicBezTo>
                <a:cubicBezTo>
                  <a:pt x="0" y="54"/>
                  <a:pt x="32" y="19"/>
                  <a:pt x="67" y="16"/>
                </a:cubicBezTo>
                <a:cubicBezTo>
                  <a:pt x="76" y="15"/>
                  <a:pt x="85" y="15"/>
                  <a:pt x="94" y="15"/>
                </a:cubicBezTo>
                <a:cubicBezTo>
                  <a:pt x="113" y="15"/>
                  <a:pt x="133" y="15"/>
                  <a:pt x="153" y="15"/>
                </a:cubicBez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2" tIns="60941" rIns="121882" bIns="60941" numCol="1" anchor="t" anchorCtr="0" compatLnSpc="1">
            <a:prstTxWarp prst="textNoShape">
              <a:avLst/>
            </a:prstTxWarp>
          </a:bodyPr>
          <a:lstStyle/>
          <a:p>
            <a:endParaRPr lang="ru-RU" sz="2399">
              <a:solidFill>
                <a:srgbClr val="595959"/>
              </a:solidFill>
            </a:endParaRPr>
          </a:p>
        </p:txBody>
      </p:sp>
      <p:sp>
        <p:nvSpPr>
          <p:cNvPr id="33" name="Freeform 206"/>
          <p:cNvSpPr>
            <a:spLocks/>
          </p:cNvSpPr>
          <p:nvPr/>
        </p:nvSpPr>
        <p:spPr bwMode="auto">
          <a:xfrm>
            <a:off x="9115282" y="4449897"/>
            <a:ext cx="64915" cy="69551"/>
          </a:xfrm>
          <a:custGeom>
            <a:avLst/>
            <a:gdLst>
              <a:gd name="T0" fmla="*/ 14 w 103"/>
              <a:gd name="T1" fmla="*/ 103 h 103"/>
              <a:gd name="T2" fmla="*/ 14 w 103"/>
              <a:gd name="T3" fmla="*/ 103 h 103"/>
              <a:gd name="T4" fmla="*/ 2 w 103"/>
              <a:gd name="T5" fmla="*/ 93 h 103"/>
              <a:gd name="T6" fmla="*/ 2 w 103"/>
              <a:gd name="T7" fmla="*/ 78 h 103"/>
              <a:gd name="T8" fmla="*/ 6 w 103"/>
              <a:gd name="T9" fmla="*/ 73 h 103"/>
              <a:gd name="T10" fmla="*/ 72 w 103"/>
              <a:gd name="T11" fmla="*/ 8 h 103"/>
              <a:gd name="T12" fmla="*/ 90 w 103"/>
              <a:gd name="T13" fmla="*/ 3 h 103"/>
              <a:gd name="T14" fmla="*/ 94 w 103"/>
              <a:gd name="T15" fmla="*/ 28 h 103"/>
              <a:gd name="T16" fmla="*/ 54 w 103"/>
              <a:gd name="T17" fmla="*/ 69 h 103"/>
              <a:gd name="T18" fmla="*/ 26 w 103"/>
              <a:gd name="T19" fmla="*/ 96 h 103"/>
              <a:gd name="T20" fmla="*/ 14 w 103"/>
              <a:gd name="T21" fmla="*/ 103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3" h="103">
                <a:moveTo>
                  <a:pt x="14" y="103"/>
                </a:moveTo>
                <a:lnTo>
                  <a:pt x="14" y="103"/>
                </a:lnTo>
                <a:cubicBezTo>
                  <a:pt x="9" y="100"/>
                  <a:pt x="4" y="97"/>
                  <a:pt x="2" y="93"/>
                </a:cubicBezTo>
                <a:cubicBezTo>
                  <a:pt x="0" y="89"/>
                  <a:pt x="2" y="83"/>
                  <a:pt x="2" y="78"/>
                </a:cubicBezTo>
                <a:cubicBezTo>
                  <a:pt x="3" y="76"/>
                  <a:pt x="5" y="75"/>
                  <a:pt x="6" y="73"/>
                </a:cubicBezTo>
                <a:cubicBezTo>
                  <a:pt x="28" y="52"/>
                  <a:pt x="50" y="30"/>
                  <a:pt x="72" y="8"/>
                </a:cubicBezTo>
                <a:cubicBezTo>
                  <a:pt x="77" y="2"/>
                  <a:pt x="83" y="0"/>
                  <a:pt x="90" y="3"/>
                </a:cubicBezTo>
                <a:cubicBezTo>
                  <a:pt x="101" y="6"/>
                  <a:pt x="103" y="19"/>
                  <a:pt x="94" y="28"/>
                </a:cubicBezTo>
                <a:cubicBezTo>
                  <a:pt x="81" y="42"/>
                  <a:pt x="67" y="55"/>
                  <a:pt x="54" y="69"/>
                </a:cubicBezTo>
                <a:cubicBezTo>
                  <a:pt x="45" y="78"/>
                  <a:pt x="36" y="87"/>
                  <a:pt x="26" y="96"/>
                </a:cubicBezTo>
                <a:cubicBezTo>
                  <a:pt x="23" y="99"/>
                  <a:pt x="19" y="100"/>
                  <a:pt x="14" y="103"/>
                </a:cubicBez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2" tIns="60941" rIns="121882" bIns="60941" numCol="1" anchor="t" anchorCtr="0" compatLnSpc="1">
            <a:prstTxWarp prst="textNoShape">
              <a:avLst/>
            </a:prstTxWarp>
          </a:bodyPr>
          <a:lstStyle/>
          <a:p>
            <a:endParaRPr lang="ru-RU" sz="2399">
              <a:solidFill>
                <a:srgbClr val="595959"/>
              </a:solidFill>
            </a:endParaRPr>
          </a:p>
        </p:txBody>
      </p:sp>
      <p:sp>
        <p:nvSpPr>
          <p:cNvPr id="34" name="Freeform 207"/>
          <p:cNvSpPr>
            <a:spLocks/>
          </p:cNvSpPr>
          <p:nvPr/>
        </p:nvSpPr>
        <p:spPr bwMode="auto">
          <a:xfrm>
            <a:off x="9305389" y="4449897"/>
            <a:ext cx="64915" cy="69551"/>
          </a:xfrm>
          <a:custGeom>
            <a:avLst/>
            <a:gdLst>
              <a:gd name="T0" fmla="*/ 86 w 103"/>
              <a:gd name="T1" fmla="*/ 102 h 102"/>
              <a:gd name="T2" fmla="*/ 86 w 103"/>
              <a:gd name="T3" fmla="*/ 102 h 102"/>
              <a:gd name="T4" fmla="*/ 75 w 103"/>
              <a:gd name="T5" fmla="*/ 97 h 102"/>
              <a:gd name="T6" fmla="*/ 7 w 103"/>
              <a:gd name="T7" fmla="*/ 28 h 102"/>
              <a:gd name="T8" fmla="*/ 6 w 103"/>
              <a:gd name="T9" fmla="*/ 6 h 102"/>
              <a:gd name="T10" fmla="*/ 28 w 103"/>
              <a:gd name="T11" fmla="*/ 6 h 102"/>
              <a:gd name="T12" fmla="*/ 96 w 103"/>
              <a:gd name="T13" fmla="*/ 75 h 102"/>
              <a:gd name="T14" fmla="*/ 100 w 103"/>
              <a:gd name="T15" fmla="*/ 92 h 102"/>
              <a:gd name="T16" fmla="*/ 86 w 103"/>
              <a:gd name="T17" fmla="*/ 102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3" h="102">
                <a:moveTo>
                  <a:pt x="86" y="102"/>
                </a:moveTo>
                <a:lnTo>
                  <a:pt x="86" y="102"/>
                </a:lnTo>
                <a:cubicBezTo>
                  <a:pt x="82" y="100"/>
                  <a:pt x="78" y="99"/>
                  <a:pt x="75" y="97"/>
                </a:cubicBezTo>
                <a:cubicBezTo>
                  <a:pt x="52" y="74"/>
                  <a:pt x="29" y="51"/>
                  <a:pt x="7" y="28"/>
                </a:cubicBezTo>
                <a:cubicBezTo>
                  <a:pt x="0" y="21"/>
                  <a:pt x="0" y="12"/>
                  <a:pt x="6" y="6"/>
                </a:cubicBezTo>
                <a:cubicBezTo>
                  <a:pt x="12" y="0"/>
                  <a:pt x="21" y="0"/>
                  <a:pt x="28" y="6"/>
                </a:cubicBezTo>
                <a:cubicBezTo>
                  <a:pt x="51" y="29"/>
                  <a:pt x="74" y="52"/>
                  <a:pt x="96" y="75"/>
                </a:cubicBezTo>
                <a:cubicBezTo>
                  <a:pt x="101" y="80"/>
                  <a:pt x="103" y="85"/>
                  <a:pt x="100" y="92"/>
                </a:cubicBezTo>
                <a:cubicBezTo>
                  <a:pt x="98" y="98"/>
                  <a:pt x="93" y="101"/>
                  <a:pt x="86" y="102"/>
                </a:cubicBez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2" tIns="60941" rIns="121882" bIns="60941" numCol="1" anchor="t" anchorCtr="0" compatLnSpc="1">
            <a:prstTxWarp prst="textNoShape">
              <a:avLst/>
            </a:prstTxWarp>
          </a:bodyPr>
          <a:lstStyle/>
          <a:p>
            <a:endParaRPr lang="ru-RU" sz="2399">
              <a:solidFill>
                <a:srgbClr val="595959"/>
              </a:solidFill>
            </a:endParaRPr>
          </a:p>
        </p:txBody>
      </p:sp>
      <p:sp>
        <p:nvSpPr>
          <p:cNvPr id="38" name="Freeform 208"/>
          <p:cNvSpPr>
            <a:spLocks noEditPoints="1"/>
          </p:cNvSpPr>
          <p:nvPr/>
        </p:nvSpPr>
        <p:spPr bwMode="auto">
          <a:xfrm>
            <a:off x="9154695" y="4197193"/>
            <a:ext cx="180832" cy="120555"/>
          </a:xfrm>
          <a:custGeom>
            <a:avLst/>
            <a:gdLst>
              <a:gd name="T0" fmla="*/ 256 w 287"/>
              <a:gd name="T1" fmla="*/ 146 h 177"/>
              <a:gd name="T2" fmla="*/ 256 w 287"/>
              <a:gd name="T3" fmla="*/ 146 h 177"/>
              <a:gd name="T4" fmla="*/ 256 w 287"/>
              <a:gd name="T5" fmla="*/ 62 h 177"/>
              <a:gd name="T6" fmla="*/ 226 w 287"/>
              <a:gd name="T7" fmla="*/ 32 h 177"/>
              <a:gd name="T8" fmla="*/ 60 w 287"/>
              <a:gd name="T9" fmla="*/ 32 h 177"/>
              <a:gd name="T10" fmla="*/ 30 w 287"/>
              <a:gd name="T11" fmla="*/ 62 h 177"/>
              <a:gd name="T12" fmla="*/ 30 w 287"/>
              <a:gd name="T13" fmla="*/ 138 h 177"/>
              <a:gd name="T14" fmla="*/ 30 w 287"/>
              <a:gd name="T15" fmla="*/ 146 h 177"/>
              <a:gd name="T16" fmla="*/ 256 w 287"/>
              <a:gd name="T17" fmla="*/ 146 h 177"/>
              <a:gd name="T18" fmla="*/ 143 w 287"/>
              <a:gd name="T19" fmla="*/ 177 h 177"/>
              <a:gd name="T20" fmla="*/ 143 w 287"/>
              <a:gd name="T21" fmla="*/ 177 h 177"/>
              <a:gd name="T22" fmla="*/ 20 w 287"/>
              <a:gd name="T23" fmla="*/ 177 h 177"/>
              <a:gd name="T24" fmla="*/ 0 w 287"/>
              <a:gd name="T25" fmla="*/ 156 h 177"/>
              <a:gd name="T26" fmla="*/ 0 w 287"/>
              <a:gd name="T27" fmla="*/ 64 h 177"/>
              <a:gd name="T28" fmla="*/ 58 w 287"/>
              <a:gd name="T29" fmla="*/ 1 h 177"/>
              <a:gd name="T30" fmla="*/ 235 w 287"/>
              <a:gd name="T31" fmla="*/ 2 h 177"/>
              <a:gd name="T32" fmla="*/ 286 w 287"/>
              <a:gd name="T33" fmla="*/ 57 h 177"/>
              <a:gd name="T34" fmla="*/ 286 w 287"/>
              <a:gd name="T35" fmla="*/ 159 h 177"/>
              <a:gd name="T36" fmla="*/ 268 w 287"/>
              <a:gd name="T37" fmla="*/ 177 h 177"/>
              <a:gd name="T38" fmla="*/ 143 w 287"/>
              <a:gd name="T39" fmla="*/ 177 h 1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87" h="177">
                <a:moveTo>
                  <a:pt x="256" y="146"/>
                </a:moveTo>
                <a:lnTo>
                  <a:pt x="256" y="146"/>
                </a:lnTo>
                <a:cubicBezTo>
                  <a:pt x="256" y="118"/>
                  <a:pt x="256" y="90"/>
                  <a:pt x="256" y="62"/>
                </a:cubicBezTo>
                <a:cubicBezTo>
                  <a:pt x="256" y="43"/>
                  <a:pt x="245" y="32"/>
                  <a:pt x="226" y="32"/>
                </a:cubicBezTo>
                <a:cubicBezTo>
                  <a:pt x="171" y="32"/>
                  <a:pt x="116" y="32"/>
                  <a:pt x="60" y="32"/>
                </a:cubicBezTo>
                <a:cubicBezTo>
                  <a:pt x="41" y="32"/>
                  <a:pt x="30" y="43"/>
                  <a:pt x="30" y="62"/>
                </a:cubicBezTo>
                <a:cubicBezTo>
                  <a:pt x="30" y="88"/>
                  <a:pt x="30" y="113"/>
                  <a:pt x="30" y="138"/>
                </a:cubicBezTo>
                <a:cubicBezTo>
                  <a:pt x="30" y="140"/>
                  <a:pt x="30" y="143"/>
                  <a:pt x="30" y="146"/>
                </a:cubicBezTo>
                <a:lnTo>
                  <a:pt x="256" y="146"/>
                </a:lnTo>
                <a:close/>
                <a:moveTo>
                  <a:pt x="143" y="177"/>
                </a:moveTo>
                <a:lnTo>
                  <a:pt x="143" y="177"/>
                </a:lnTo>
                <a:cubicBezTo>
                  <a:pt x="102" y="177"/>
                  <a:pt x="61" y="177"/>
                  <a:pt x="20" y="177"/>
                </a:cubicBezTo>
                <a:cubicBezTo>
                  <a:pt x="5" y="177"/>
                  <a:pt x="0" y="172"/>
                  <a:pt x="0" y="156"/>
                </a:cubicBezTo>
                <a:lnTo>
                  <a:pt x="0" y="64"/>
                </a:lnTo>
                <a:cubicBezTo>
                  <a:pt x="0" y="27"/>
                  <a:pt x="21" y="2"/>
                  <a:pt x="58" y="1"/>
                </a:cubicBezTo>
                <a:cubicBezTo>
                  <a:pt x="117" y="0"/>
                  <a:pt x="176" y="1"/>
                  <a:pt x="235" y="2"/>
                </a:cubicBezTo>
                <a:cubicBezTo>
                  <a:pt x="262" y="2"/>
                  <a:pt x="286" y="29"/>
                  <a:pt x="286" y="57"/>
                </a:cubicBezTo>
                <a:cubicBezTo>
                  <a:pt x="287" y="91"/>
                  <a:pt x="286" y="125"/>
                  <a:pt x="286" y="159"/>
                </a:cubicBezTo>
                <a:cubicBezTo>
                  <a:pt x="286" y="171"/>
                  <a:pt x="281" y="177"/>
                  <a:pt x="268" y="177"/>
                </a:cubicBezTo>
                <a:cubicBezTo>
                  <a:pt x="226" y="177"/>
                  <a:pt x="185" y="177"/>
                  <a:pt x="143" y="177"/>
                </a:cubicBez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2" tIns="60941" rIns="121882" bIns="60941" numCol="1" anchor="t" anchorCtr="0" compatLnSpc="1">
            <a:prstTxWarp prst="textNoShape">
              <a:avLst/>
            </a:prstTxWarp>
          </a:bodyPr>
          <a:lstStyle/>
          <a:p>
            <a:endParaRPr lang="ru-RU" sz="2399">
              <a:solidFill>
                <a:srgbClr val="595959"/>
              </a:solidFill>
            </a:endParaRPr>
          </a:p>
        </p:txBody>
      </p:sp>
      <p:sp>
        <p:nvSpPr>
          <p:cNvPr id="39" name="Freeform 209"/>
          <p:cNvSpPr>
            <a:spLocks/>
          </p:cNvSpPr>
          <p:nvPr/>
        </p:nvSpPr>
        <p:spPr bwMode="auto">
          <a:xfrm>
            <a:off x="9170923" y="4354843"/>
            <a:ext cx="18546" cy="20864"/>
          </a:xfrm>
          <a:custGeom>
            <a:avLst/>
            <a:gdLst>
              <a:gd name="T0" fmla="*/ 30 w 30"/>
              <a:gd name="T1" fmla="*/ 15 h 30"/>
              <a:gd name="T2" fmla="*/ 30 w 30"/>
              <a:gd name="T3" fmla="*/ 15 h 30"/>
              <a:gd name="T4" fmla="*/ 15 w 30"/>
              <a:gd name="T5" fmla="*/ 30 h 30"/>
              <a:gd name="T6" fmla="*/ 0 w 30"/>
              <a:gd name="T7" fmla="*/ 15 h 30"/>
              <a:gd name="T8" fmla="*/ 15 w 30"/>
              <a:gd name="T9" fmla="*/ 0 h 30"/>
              <a:gd name="T10" fmla="*/ 30 w 30"/>
              <a:gd name="T11" fmla="*/ 1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0" h="30">
                <a:moveTo>
                  <a:pt x="30" y="15"/>
                </a:moveTo>
                <a:lnTo>
                  <a:pt x="30" y="15"/>
                </a:lnTo>
                <a:cubicBezTo>
                  <a:pt x="30" y="23"/>
                  <a:pt x="24" y="29"/>
                  <a:pt x="15" y="30"/>
                </a:cubicBezTo>
                <a:cubicBezTo>
                  <a:pt x="7" y="30"/>
                  <a:pt x="0" y="24"/>
                  <a:pt x="0" y="15"/>
                </a:cubicBezTo>
                <a:cubicBezTo>
                  <a:pt x="0" y="6"/>
                  <a:pt x="6" y="0"/>
                  <a:pt x="15" y="0"/>
                </a:cubicBezTo>
                <a:cubicBezTo>
                  <a:pt x="23" y="0"/>
                  <a:pt x="30" y="6"/>
                  <a:pt x="30" y="15"/>
                </a:cubicBez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2" tIns="60941" rIns="121882" bIns="60941" numCol="1" anchor="t" anchorCtr="0" compatLnSpc="1">
            <a:prstTxWarp prst="textNoShape">
              <a:avLst/>
            </a:prstTxWarp>
          </a:bodyPr>
          <a:lstStyle/>
          <a:p>
            <a:endParaRPr lang="ru-RU" sz="2399">
              <a:solidFill>
                <a:srgbClr val="595959"/>
              </a:solidFill>
            </a:endParaRPr>
          </a:p>
        </p:txBody>
      </p:sp>
      <p:sp>
        <p:nvSpPr>
          <p:cNvPr id="40" name="Freeform 210"/>
          <p:cNvSpPr>
            <a:spLocks/>
          </p:cNvSpPr>
          <p:nvPr/>
        </p:nvSpPr>
        <p:spPr bwMode="auto">
          <a:xfrm>
            <a:off x="9298433" y="4354843"/>
            <a:ext cx="20866" cy="20864"/>
          </a:xfrm>
          <a:custGeom>
            <a:avLst/>
            <a:gdLst>
              <a:gd name="T0" fmla="*/ 31 w 31"/>
              <a:gd name="T1" fmla="*/ 15 h 30"/>
              <a:gd name="T2" fmla="*/ 31 w 31"/>
              <a:gd name="T3" fmla="*/ 15 h 30"/>
              <a:gd name="T4" fmla="*/ 16 w 31"/>
              <a:gd name="T5" fmla="*/ 30 h 30"/>
              <a:gd name="T6" fmla="*/ 1 w 31"/>
              <a:gd name="T7" fmla="*/ 15 h 30"/>
              <a:gd name="T8" fmla="*/ 16 w 31"/>
              <a:gd name="T9" fmla="*/ 0 h 30"/>
              <a:gd name="T10" fmla="*/ 31 w 31"/>
              <a:gd name="T11" fmla="*/ 1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1" h="30">
                <a:moveTo>
                  <a:pt x="31" y="15"/>
                </a:moveTo>
                <a:lnTo>
                  <a:pt x="31" y="15"/>
                </a:lnTo>
                <a:cubicBezTo>
                  <a:pt x="31" y="23"/>
                  <a:pt x="25" y="29"/>
                  <a:pt x="16" y="30"/>
                </a:cubicBezTo>
                <a:cubicBezTo>
                  <a:pt x="8" y="30"/>
                  <a:pt x="1" y="23"/>
                  <a:pt x="1" y="15"/>
                </a:cubicBezTo>
                <a:cubicBezTo>
                  <a:pt x="0" y="7"/>
                  <a:pt x="7" y="0"/>
                  <a:pt x="16" y="0"/>
                </a:cubicBezTo>
                <a:cubicBezTo>
                  <a:pt x="24" y="0"/>
                  <a:pt x="31" y="6"/>
                  <a:pt x="31" y="15"/>
                </a:cubicBez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2" tIns="60941" rIns="121882" bIns="60941" numCol="1" anchor="t" anchorCtr="0" compatLnSpc="1">
            <a:prstTxWarp prst="textNoShape">
              <a:avLst/>
            </a:prstTxWarp>
          </a:bodyPr>
          <a:lstStyle/>
          <a:p>
            <a:endParaRPr lang="ru-RU" sz="2399">
              <a:solidFill>
                <a:srgbClr val="595959"/>
              </a:solidFill>
            </a:endParaRPr>
          </a:p>
        </p:txBody>
      </p:sp>
      <p:sp>
        <p:nvSpPr>
          <p:cNvPr id="43" name="Freeform 196"/>
          <p:cNvSpPr>
            <a:spLocks noEditPoints="1"/>
          </p:cNvSpPr>
          <p:nvPr/>
        </p:nvSpPr>
        <p:spPr bwMode="auto">
          <a:xfrm>
            <a:off x="10936506" y="4865404"/>
            <a:ext cx="57959" cy="60277"/>
          </a:xfrm>
          <a:custGeom>
            <a:avLst/>
            <a:gdLst>
              <a:gd name="T0" fmla="*/ 44 w 89"/>
              <a:gd name="T1" fmla="*/ 90 h 90"/>
              <a:gd name="T2" fmla="*/ 44 w 89"/>
              <a:gd name="T3" fmla="*/ 90 h 90"/>
              <a:gd name="T4" fmla="*/ 0 w 89"/>
              <a:gd name="T5" fmla="*/ 45 h 90"/>
              <a:gd name="T6" fmla="*/ 44 w 89"/>
              <a:gd name="T7" fmla="*/ 0 h 90"/>
              <a:gd name="T8" fmla="*/ 89 w 89"/>
              <a:gd name="T9" fmla="*/ 45 h 90"/>
              <a:gd name="T10" fmla="*/ 44 w 89"/>
              <a:gd name="T11" fmla="*/ 90 h 90"/>
              <a:gd name="T12" fmla="*/ 44 w 89"/>
              <a:gd name="T13" fmla="*/ 29 h 90"/>
              <a:gd name="T14" fmla="*/ 44 w 89"/>
              <a:gd name="T15" fmla="*/ 29 h 90"/>
              <a:gd name="T16" fmla="*/ 28 w 89"/>
              <a:gd name="T17" fmla="*/ 45 h 90"/>
              <a:gd name="T18" fmla="*/ 44 w 89"/>
              <a:gd name="T19" fmla="*/ 61 h 90"/>
              <a:gd name="T20" fmla="*/ 60 w 89"/>
              <a:gd name="T21" fmla="*/ 45 h 90"/>
              <a:gd name="T22" fmla="*/ 44 w 89"/>
              <a:gd name="T23" fmla="*/ 29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9" h="90">
                <a:moveTo>
                  <a:pt x="44" y="90"/>
                </a:moveTo>
                <a:lnTo>
                  <a:pt x="44" y="90"/>
                </a:lnTo>
                <a:cubicBezTo>
                  <a:pt x="20" y="90"/>
                  <a:pt x="0" y="69"/>
                  <a:pt x="0" y="45"/>
                </a:cubicBezTo>
                <a:cubicBezTo>
                  <a:pt x="0" y="20"/>
                  <a:pt x="20" y="0"/>
                  <a:pt x="44" y="0"/>
                </a:cubicBezTo>
                <a:cubicBezTo>
                  <a:pt x="69" y="0"/>
                  <a:pt x="89" y="20"/>
                  <a:pt x="89" y="45"/>
                </a:cubicBezTo>
                <a:cubicBezTo>
                  <a:pt x="89" y="69"/>
                  <a:pt x="69" y="90"/>
                  <a:pt x="44" y="90"/>
                </a:cubicBezTo>
                <a:close/>
                <a:moveTo>
                  <a:pt x="44" y="29"/>
                </a:moveTo>
                <a:lnTo>
                  <a:pt x="44" y="29"/>
                </a:lnTo>
                <a:cubicBezTo>
                  <a:pt x="35" y="29"/>
                  <a:pt x="28" y="36"/>
                  <a:pt x="28" y="45"/>
                </a:cubicBezTo>
                <a:cubicBezTo>
                  <a:pt x="28" y="54"/>
                  <a:pt x="35" y="61"/>
                  <a:pt x="44" y="61"/>
                </a:cubicBezTo>
                <a:cubicBezTo>
                  <a:pt x="53" y="61"/>
                  <a:pt x="60" y="54"/>
                  <a:pt x="60" y="45"/>
                </a:cubicBezTo>
                <a:cubicBezTo>
                  <a:pt x="60" y="36"/>
                  <a:pt x="53" y="29"/>
                  <a:pt x="44" y="29"/>
                </a:cubicBez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2" tIns="60941" rIns="121882" bIns="60941" numCol="1" anchor="t" anchorCtr="0" compatLnSpc="1">
            <a:prstTxWarp prst="textNoShape">
              <a:avLst/>
            </a:prstTxWarp>
          </a:bodyPr>
          <a:lstStyle/>
          <a:p>
            <a:endParaRPr lang="ru-RU" sz="2399">
              <a:solidFill>
                <a:srgbClr val="595959"/>
              </a:solidFill>
            </a:endParaRPr>
          </a:p>
        </p:txBody>
      </p:sp>
      <p:sp>
        <p:nvSpPr>
          <p:cNvPr id="46" name="Freeform 197"/>
          <p:cNvSpPr>
            <a:spLocks noEditPoints="1"/>
          </p:cNvSpPr>
          <p:nvPr/>
        </p:nvSpPr>
        <p:spPr bwMode="auto">
          <a:xfrm>
            <a:off x="10778857" y="4865404"/>
            <a:ext cx="55640" cy="60277"/>
          </a:xfrm>
          <a:custGeom>
            <a:avLst/>
            <a:gdLst>
              <a:gd name="T0" fmla="*/ 45 w 89"/>
              <a:gd name="T1" fmla="*/ 90 h 90"/>
              <a:gd name="T2" fmla="*/ 45 w 89"/>
              <a:gd name="T3" fmla="*/ 90 h 90"/>
              <a:gd name="T4" fmla="*/ 0 w 89"/>
              <a:gd name="T5" fmla="*/ 45 h 90"/>
              <a:gd name="T6" fmla="*/ 45 w 89"/>
              <a:gd name="T7" fmla="*/ 0 h 90"/>
              <a:gd name="T8" fmla="*/ 89 w 89"/>
              <a:gd name="T9" fmla="*/ 45 h 90"/>
              <a:gd name="T10" fmla="*/ 45 w 89"/>
              <a:gd name="T11" fmla="*/ 90 h 90"/>
              <a:gd name="T12" fmla="*/ 45 w 89"/>
              <a:gd name="T13" fmla="*/ 29 h 90"/>
              <a:gd name="T14" fmla="*/ 45 w 89"/>
              <a:gd name="T15" fmla="*/ 29 h 90"/>
              <a:gd name="T16" fmla="*/ 29 w 89"/>
              <a:gd name="T17" fmla="*/ 45 h 90"/>
              <a:gd name="T18" fmla="*/ 45 w 89"/>
              <a:gd name="T19" fmla="*/ 61 h 90"/>
              <a:gd name="T20" fmla="*/ 61 w 89"/>
              <a:gd name="T21" fmla="*/ 45 h 90"/>
              <a:gd name="T22" fmla="*/ 45 w 89"/>
              <a:gd name="T23" fmla="*/ 29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9" h="90">
                <a:moveTo>
                  <a:pt x="45" y="90"/>
                </a:moveTo>
                <a:lnTo>
                  <a:pt x="45" y="90"/>
                </a:lnTo>
                <a:cubicBezTo>
                  <a:pt x="20" y="90"/>
                  <a:pt x="0" y="69"/>
                  <a:pt x="0" y="45"/>
                </a:cubicBezTo>
                <a:cubicBezTo>
                  <a:pt x="0" y="20"/>
                  <a:pt x="20" y="0"/>
                  <a:pt x="45" y="0"/>
                </a:cubicBezTo>
                <a:cubicBezTo>
                  <a:pt x="69" y="0"/>
                  <a:pt x="89" y="20"/>
                  <a:pt x="89" y="45"/>
                </a:cubicBezTo>
                <a:cubicBezTo>
                  <a:pt x="89" y="69"/>
                  <a:pt x="69" y="90"/>
                  <a:pt x="45" y="90"/>
                </a:cubicBezTo>
                <a:close/>
                <a:moveTo>
                  <a:pt x="45" y="29"/>
                </a:moveTo>
                <a:lnTo>
                  <a:pt x="45" y="29"/>
                </a:lnTo>
                <a:cubicBezTo>
                  <a:pt x="36" y="29"/>
                  <a:pt x="29" y="36"/>
                  <a:pt x="29" y="45"/>
                </a:cubicBezTo>
                <a:cubicBezTo>
                  <a:pt x="29" y="54"/>
                  <a:pt x="36" y="61"/>
                  <a:pt x="45" y="61"/>
                </a:cubicBezTo>
                <a:cubicBezTo>
                  <a:pt x="53" y="61"/>
                  <a:pt x="61" y="54"/>
                  <a:pt x="61" y="45"/>
                </a:cubicBezTo>
                <a:cubicBezTo>
                  <a:pt x="61" y="36"/>
                  <a:pt x="53" y="29"/>
                  <a:pt x="45" y="29"/>
                </a:cubicBez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2" tIns="60941" rIns="121882" bIns="60941" numCol="1" anchor="t" anchorCtr="0" compatLnSpc="1">
            <a:prstTxWarp prst="textNoShape">
              <a:avLst/>
            </a:prstTxWarp>
          </a:bodyPr>
          <a:lstStyle/>
          <a:p>
            <a:endParaRPr lang="ru-RU" sz="2399">
              <a:solidFill>
                <a:srgbClr val="595959"/>
              </a:solidFill>
            </a:endParaRPr>
          </a:p>
        </p:txBody>
      </p:sp>
      <p:sp>
        <p:nvSpPr>
          <p:cNvPr id="47" name="Freeform 198"/>
          <p:cNvSpPr>
            <a:spLocks/>
          </p:cNvSpPr>
          <p:nvPr/>
        </p:nvSpPr>
        <p:spPr bwMode="auto">
          <a:xfrm>
            <a:off x="10917958" y="4754123"/>
            <a:ext cx="118237" cy="150693"/>
          </a:xfrm>
          <a:custGeom>
            <a:avLst/>
            <a:gdLst>
              <a:gd name="T0" fmla="*/ 150 w 189"/>
              <a:gd name="T1" fmla="*/ 225 h 225"/>
              <a:gd name="T2" fmla="*/ 150 w 189"/>
              <a:gd name="T3" fmla="*/ 225 h 225"/>
              <a:gd name="T4" fmla="*/ 108 w 189"/>
              <a:gd name="T5" fmla="*/ 225 h 225"/>
              <a:gd name="T6" fmla="*/ 108 w 189"/>
              <a:gd name="T7" fmla="*/ 196 h 225"/>
              <a:gd name="T8" fmla="*/ 150 w 189"/>
              <a:gd name="T9" fmla="*/ 196 h 225"/>
              <a:gd name="T10" fmla="*/ 160 w 189"/>
              <a:gd name="T11" fmla="*/ 186 h 225"/>
              <a:gd name="T12" fmla="*/ 160 w 189"/>
              <a:gd name="T13" fmla="*/ 132 h 225"/>
              <a:gd name="T14" fmla="*/ 150 w 189"/>
              <a:gd name="T15" fmla="*/ 122 h 225"/>
              <a:gd name="T16" fmla="*/ 91 w 189"/>
              <a:gd name="T17" fmla="*/ 122 h 225"/>
              <a:gd name="T18" fmla="*/ 46 w 189"/>
              <a:gd name="T19" fmla="*/ 89 h 225"/>
              <a:gd name="T20" fmla="*/ 33 w 189"/>
              <a:gd name="T21" fmla="*/ 42 h 225"/>
              <a:gd name="T22" fmla="*/ 15 w 189"/>
              <a:gd name="T23" fmla="*/ 29 h 225"/>
              <a:gd name="T24" fmla="*/ 0 w 189"/>
              <a:gd name="T25" fmla="*/ 29 h 225"/>
              <a:gd name="T26" fmla="*/ 0 w 189"/>
              <a:gd name="T27" fmla="*/ 0 h 225"/>
              <a:gd name="T28" fmla="*/ 15 w 189"/>
              <a:gd name="T29" fmla="*/ 0 h 225"/>
              <a:gd name="T30" fmla="*/ 60 w 189"/>
              <a:gd name="T31" fmla="*/ 34 h 225"/>
              <a:gd name="T32" fmla="*/ 74 w 189"/>
              <a:gd name="T33" fmla="*/ 81 h 225"/>
              <a:gd name="T34" fmla="*/ 91 w 189"/>
              <a:gd name="T35" fmla="*/ 93 h 225"/>
              <a:gd name="T36" fmla="*/ 150 w 189"/>
              <a:gd name="T37" fmla="*/ 93 h 225"/>
              <a:gd name="T38" fmla="*/ 189 w 189"/>
              <a:gd name="T39" fmla="*/ 132 h 225"/>
              <a:gd name="T40" fmla="*/ 189 w 189"/>
              <a:gd name="T41" fmla="*/ 186 h 225"/>
              <a:gd name="T42" fmla="*/ 150 w 189"/>
              <a:gd name="T43" fmla="*/ 225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89" h="225">
                <a:moveTo>
                  <a:pt x="150" y="225"/>
                </a:moveTo>
                <a:lnTo>
                  <a:pt x="150" y="225"/>
                </a:lnTo>
                <a:lnTo>
                  <a:pt x="108" y="225"/>
                </a:lnTo>
                <a:lnTo>
                  <a:pt x="108" y="196"/>
                </a:lnTo>
                <a:lnTo>
                  <a:pt x="150" y="196"/>
                </a:lnTo>
                <a:cubicBezTo>
                  <a:pt x="155" y="196"/>
                  <a:pt x="160" y="191"/>
                  <a:pt x="160" y="186"/>
                </a:cubicBezTo>
                <a:lnTo>
                  <a:pt x="160" y="132"/>
                </a:lnTo>
                <a:cubicBezTo>
                  <a:pt x="160" y="127"/>
                  <a:pt x="155" y="122"/>
                  <a:pt x="150" y="122"/>
                </a:cubicBezTo>
                <a:lnTo>
                  <a:pt x="91" y="122"/>
                </a:lnTo>
                <a:cubicBezTo>
                  <a:pt x="72" y="122"/>
                  <a:pt x="52" y="108"/>
                  <a:pt x="46" y="89"/>
                </a:cubicBezTo>
                <a:lnTo>
                  <a:pt x="33" y="42"/>
                </a:lnTo>
                <a:cubicBezTo>
                  <a:pt x="31" y="35"/>
                  <a:pt x="22" y="29"/>
                  <a:pt x="15" y="29"/>
                </a:cubicBezTo>
                <a:lnTo>
                  <a:pt x="0" y="29"/>
                </a:lnTo>
                <a:lnTo>
                  <a:pt x="0" y="0"/>
                </a:lnTo>
                <a:lnTo>
                  <a:pt x="15" y="0"/>
                </a:lnTo>
                <a:cubicBezTo>
                  <a:pt x="35" y="0"/>
                  <a:pt x="55" y="15"/>
                  <a:pt x="60" y="34"/>
                </a:cubicBezTo>
                <a:lnTo>
                  <a:pt x="74" y="81"/>
                </a:lnTo>
                <a:cubicBezTo>
                  <a:pt x="76" y="87"/>
                  <a:pt x="84" y="93"/>
                  <a:pt x="91" y="93"/>
                </a:cubicBezTo>
                <a:lnTo>
                  <a:pt x="150" y="93"/>
                </a:lnTo>
                <a:cubicBezTo>
                  <a:pt x="171" y="93"/>
                  <a:pt x="189" y="111"/>
                  <a:pt x="189" y="132"/>
                </a:cubicBezTo>
                <a:lnTo>
                  <a:pt x="189" y="186"/>
                </a:lnTo>
                <a:cubicBezTo>
                  <a:pt x="189" y="207"/>
                  <a:pt x="171" y="225"/>
                  <a:pt x="150" y="225"/>
                </a:cubicBez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2" tIns="60941" rIns="121882" bIns="60941" numCol="1" anchor="t" anchorCtr="0" compatLnSpc="1">
            <a:prstTxWarp prst="textNoShape">
              <a:avLst/>
            </a:prstTxWarp>
          </a:bodyPr>
          <a:lstStyle/>
          <a:p>
            <a:endParaRPr lang="ru-RU" sz="2399">
              <a:solidFill>
                <a:srgbClr val="595959"/>
              </a:solidFill>
            </a:endParaRPr>
          </a:p>
        </p:txBody>
      </p:sp>
      <p:sp>
        <p:nvSpPr>
          <p:cNvPr id="52" name="Freeform 199"/>
          <p:cNvSpPr>
            <a:spLocks/>
          </p:cNvSpPr>
          <p:nvPr/>
        </p:nvSpPr>
        <p:spPr bwMode="auto">
          <a:xfrm>
            <a:off x="10734806" y="4754123"/>
            <a:ext cx="192425" cy="150693"/>
          </a:xfrm>
          <a:custGeom>
            <a:avLst/>
            <a:gdLst>
              <a:gd name="T0" fmla="*/ 39 w 306"/>
              <a:gd name="T1" fmla="*/ 225 h 225"/>
              <a:gd name="T2" fmla="*/ 39 w 306"/>
              <a:gd name="T3" fmla="*/ 225 h 225"/>
              <a:gd name="T4" fmla="*/ 81 w 306"/>
              <a:gd name="T5" fmla="*/ 225 h 225"/>
              <a:gd name="T6" fmla="*/ 81 w 306"/>
              <a:gd name="T7" fmla="*/ 196 h 225"/>
              <a:gd name="T8" fmla="*/ 39 w 306"/>
              <a:gd name="T9" fmla="*/ 196 h 225"/>
              <a:gd name="T10" fmla="*/ 29 w 306"/>
              <a:gd name="T11" fmla="*/ 186 h 225"/>
              <a:gd name="T12" fmla="*/ 29 w 306"/>
              <a:gd name="T13" fmla="*/ 132 h 225"/>
              <a:gd name="T14" fmla="*/ 39 w 306"/>
              <a:gd name="T15" fmla="*/ 122 h 225"/>
              <a:gd name="T16" fmla="*/ 49 w 306"/>
              <a:gd name="T17" fmla="*/ 122 h 225"/>
              <a:gd name="T18" fmla="*/ 94 w 306"/>
              <a:gd name="T19" fmla="*/ 89 h 225"/>
              <a:gd name="T20" fmla="*/ 108 w 306"/>
              <a:gd name="T21" fmla="*/ 42 h 225"/>
              <a:gd name="T22" fmla="*/ 125 w 306"/>
              <a:gd name="T23" fmla="*/ 29 h 225"/>
              <a:gd name="T24" fmla="*/ 306 w 306"/>
              <a:gd name="T25" fmla="*/ 29 h 225"/>
              <a:gd name="T26" fmla="*/ 306 w 306"/>
              <a:gd name="T27" fmla="*/ 0 h 225"/>
              <a:gd name="T28" fmla="*/ 125 w 306"/>
              <a:gd name="T29" fmla="*/ 0 h 225"/>
              <a:gd name="T30" fmla="*/ 80 w 306"/>
              <a:gd name="T31" fmla="*/ 34 h 225"/>
              <a:gd name="T32" fmla="*/ 66 w 306"/>
              <a:gd name="T33" fmla="*/ 81 h 225"/>
              <a:gd name="T34" fmla="*/ 49 w 306"/>
              <a:gd name="T35" fmla="*/ 93 h 225"/>
              <a:gd name="T36" fmla="*/ 39 w 306"/>
              <a:gd name="T37" fmla="*/ 93 h 225"/>
              <a:gd name="T38" fmla="*/ 0 w 306"/>
              <a:gd name="T39" fmla="*/ 132 h 225"/>
              <a:gd name="T40" fmla="*/ 0 w 306"/>
              <a:gd name="T41" fmla="*/ 186 h 225"/>
              <a:gd name="T42" fmla="*/ 39 w 306"/>
              <a:gd name="T43" fmla="*/ 225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06" h="225">
                <a:moveTo>
                  <a:pt x="39" y="225"/>
                </a:moveTo>
                <a:lnTo>
                  <a:pt x="39" y="225"/>
                </a:lnTo>
                <a:lnTo>
                  <a:pt x="81" y="225"/>
                </a:lnTo>
                <a:lnTo>
                  <a:pt x="81" y="196"/>
                </a:lnTo>
                <a:lnTo>
                  <a:pt x="39" y="196"/>
                </a:lnTo>
                <a:cubicBezTo>
                  <a:pt x="34" y="196"/>
                  <a:pt x="29" y="191"/>
                  <a:pt x="29" y="186"/>
                </a:cubicBezTo>
                <a:lnTo>
                  <a:pt x="29" y="132"/>
                </a:lnTo>
                <a:cubicBezTo>
                  <a:pt x="29" y="127"/>
                  <a:pt x="34" y="122"/>
                  <a:pt x="39" y="122"/>
                </a:cubicBezTo>
                <a:lnTo>
                  <a:pt x="49" y="122"/>
                </a:lnTo>
                <a:cubicBezTo>
                  <a:pt x="69" y="122"/>
                  <a:pt x="89" y="108"/>
                  <a:pt x="94" y="89"/>
                </a:cubicBezTo>
                <a:lnTo>
                  <a:pt x="108" y="42"/>
                </a:lnTo>
                <a:cubicBezTo>
                  <a:pt x="110" y="35"/>
                  <a:pt x="118" y="29"/>
                  <a:pt x="125" y="29"/>
                </a:cubicBezTo>
                <a:lnTo>
                  <a:pt x="306" y="29"/>
                </a:lnTo>
                <a:lnTo>
                  <a:pt x="306" y="0"/>
                </a:lnTo>
                <a:lnTo>
                  <a:pt x="125" y="0"/>
                </a:lnTo>
                <a:cubicBezTo>
                  <a:pt x="105" y="0"/>
                  <a:pt x="86" y="15"/>
                  <a:pt x="80" y="34"/>
                </a:cubicBezTo>
                <a:lnTo>
                  <a:pt x="66" y="81"/>
                </a:lnTo>
                <a:cubicBezTo>
                  <a:pt x="64" y="87"/>
                  <a:pt x="56" y="93"/>
                  <a:pt x="49" y="93"/>
                </a:cubicBezTo>
                <a:lnTo>
                  <a:pt x="39" y="93"/>
                </a:lnTo>
                <a:cubicBezTo>
                  <a:pt x="18" y="93"/>
                  <a:pt x="0" y="111"/>
                  <a:pt x="0" y="132"/>
                </a:cubicBezTo>
                <a:lnTo>
                  <a:pt x="0" y="186"/>
                </a:lnTo>
                <a:cubicBezTo>
                  <a:pt x="0" y="207"/>
                  <a:pt x="18" y="225"/>
                  <a:pt x="39" y="225"/>
                </a:cubicBez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2" tIns="60941" rIns="121882" bIns="60941" numCol="1" anchor="t" anchorCtr="0" compatLnSpc="1">
            <a:prstTxWarp prst="textNoShape">
              <a:avLst/>
            </a:prstTxWarp>
          </a:bodyPr>
          <a:lstStyle/>
          <a:p>
            <a:endParaRPr lang="ru-RU" sz="2399">
              <a:solidFill>
                <a:srgbClr val="595959"/>
              </a:solidFill>
            </a:endParaRPr>
          </a:p>
        </p:txBody>
      </p:sp>
      <p:sp>
        <p:nvSpPr>
          <p:cNvPr id="53" name="Freeform 200"/>
          <p:cNvSpPr>
            <a:spLocks/>
          </p:cNvSpPr>
          <p:nvPr/>
        </p:nvSpPr>
        <p:spPr bwMode="auto">
          <a:xfrm>
            <a:off x="10850725" y="4883950"/>
            <a:ext cx="69551" cy="20864"/>
          </a:xfrm>
          <a:custGeom>
            <a:avLst/>
            <a:gdLst>
              <a:gd name="T0" fmla="*/ 1 w 111"/>
              <a:gd name="T1" fmla="*/ 29 h 29"/>
              <a:gd name="T2" fmla="*/ 1 w 111"/>
              <a:gd name="T3" fmla="*/ 29 h 29"/>
              <a:gd name="T4" fmla="*/ 0 w 111"/>
              <a:gd name="T5" fmla="*/ 0 h 29"/>
              <a:gd name="T6" fmla="*/ 111 w 111"/>
              <a:gd name="T7" fmla="*/ 0 h 29"/>
              <a:gd name="T8" fmla="*/ 111 w 111"/>
              <a:gd name="T9" fmla="*/ 28 h 29"/>
              <a:gd name="T10" fmla="*/ 1 w 111"/>
              <a:gd name="T11" fmla="*/ 2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11" h="29">
                <a:moveTo>
                  <a:pt x="1" y="29"/>
                </a:moveTo>
                <a:lnTo>
                  <a:pt x="1" y="29"/>
                </a:lnTo>
                <a:lnTo>
                  <a:pt x="0" y="0"/>
                </a:lnTo>
                <a:lnTo>
                  <a:pt x="111" y="0"/>
                </a:lnTo>
                <a:lnTo>
                  <a:pt x="111" y="28"/>
                </a:lnTo>
                <a:lnTo>
                  <a:pt x="1" y="29"/>
                </a:ln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2" tIns="60941" rIns="121882" bIns="60941" numCol="1" anchor="t" anchorCtr="0" compatLnSpc="1">
            <a:prstTxWarp prst="textNoShape">
              <a:avLst/>
            </a:prstTxWarp>
          </a:bodyPr>
          <a:lstStyle/>
          <a:p>
            <a:endParaRPr lang="ru-RU" sz="2399">
              <a:solidFill>
                <a:srgbClr val="595959"/>
              </a:solidFill>
            </a:endParaRPr>
          </a:p>
        </p:txBody>
      </p:sp>
      <p:sp>
        <p:nvSpPr>
          <p:cNvPr id="54" name="Freeform 201"/>
          <p:cNvSpPr>
            <a:spLocks noEditPoints="1"/>
          </p:cNvSpPr>
          <p:nvPr/>
        </p:nvSpPr>
        <p:spPr bwMode="auto">
          <a:xfrm>
            <a:off x="10732487" y="3473376"/>
            <a:ext cx="60277" cy="67231"/>
          </a:xfrm>
          <a:custGeom>
            <a:avLst/>
            <a:gdLst>
              <a:gd name="T0" fmla="*/ 49 w 98"/>
              <a:gd name="T1" fmla="*/ 99 h 99"/>
              <a:gd name="T2" fmla="*/ 49 w 98"/>
              <a:gd name="T3" fmla="*/ 99 h 99"/>
              <a:gd name="T4" fmla="*/ 0 w 98"/>
              <a:gd name="T5" fmla="*/ 50 h 99"/>
              <a:gd name="T6" fmla="*/ 49 w 98"/>
              <a:gd name="T7" fmla="*/ 0 h 99"/>
              <a:gd name="T8" fmla="*/ 98 w 98"/>
              <a:gd name="T9" fmla="*/ 50 h 99"/>
              <a:gd name="T10" fmla="*/ 49 w 98"/>
              <a:gd name="T11" fmla="*/ 99 h 99"/>
              <a:gd name="T12" fmla="*/ 49 w 98"/>
              <a:gd name="T13" fmla="*/ 26 h 99"/>
              <a:gd name="T14" fmla="*/ 49 w 98"/>
              <a:gd name="T15" fmla="*/ 26 h 99"/>
              <a:gd name="T16" fmla="*/ 25 w 98"/>
              <a:gd name="T17" fmla="*/ 50 h 99"/>
              <a:gd name="T18" fmla="*/ 49 w 98"/>
              <a:gd name="T19" fmla="*/ 73 h 99"/>
              <a:gd name="T20" fmla="*/ 73 w 98"/>
              <a:gd name="T21" fmla="*/ 50 h 99"/>
              <a:gd name="T22" fmla="*/ 49 w 98"/>
              <a:gd name="T23" fmla="*/ 26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8" h="99">
                <a:moveTo>
                  <a:pt x="49" y="99"/>
                </a:moveTo>
                <a:lnTo>
                  <a:pt x="49" y="99"/>
                </a:lnTo>
                <a:cubicBezTo>
                  <a:pt x="22" y="99"/>
                  <a:pt x="0" y="77"/>
                  <a:pt x="0" y="50"/>
                </a:cubicBezTo>
                <a:cubicBezTo>
                  <a:pt x="0" y="22"/>
                  <a:pt x="22" y="0"/>
                  <a:pt x="49" y="0"/>
                </a:cubicBezTo>
                <a:cubicBezTo>
                  <a:pt x="76" y="0"/>
                  <a:pt x="98" y="22"/>
                  <a:pt x="98" y="50"/>
                </a:cubicBezTo>
                <a:cubicBezTo>
                  <a:pt x="98" y="77"/>
                  <a:pt x="76" y="99"/>
                  <a:pt x="49" y="99"/>
                </a:cubicBezTo>
                <a:close/>
                <a:moveTo>
                  <a:pt x="49" y="26"/>
                </a:moveTo>
                <a:lnTo>
                  <a:pt x="49" y="26"/>
                </a:lnTo>
                <a:cubicBezTo>
                  <a:pt x="36" y="26"/>
                  <a:pt x="25" y="36"/>
                  <a:pt x="25" y="50"/>
                </a:cubicBezTo>
                <a:cubicBezTo>
                  <a:pt x="25" y="63"/>
                  <a:pt x="36" y="73"/>
                  <a:pt x="49" y="73"/>
                </a:cubicBezTo>
                <a:cubicBezTo>
                  <a:pt x="62" y="73"/>
                  <a:pt x="73" y="63"/>
                  <a:pt x="73" y="50"/>
                </a:cubicBezTo>
                <a:cubicBezTo>
                  <a:pt x="73" y="36"/>
                  <a:pt x="62" y="26"/>
                  <a:pt x="49" y="26"/>
                </a:cubicBez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2" tIns="60941" rIns="121882" bIns="60941" numCol="1" anchor="t" anchorCtr="0" compatLnSpc="1">
            <a:prstTxWarp prst="textNoShape">
              <a:avLst/>
            </a:prstTxWarp>
          </a:bodyPr>
          <a:lstStyle/>
          <a:p>
            <a:endParaRPr lang="ru-RU" sz="2399">
              <a:solidFill>
                <a:srgbClr val="595959"/>
              </a:solidFill>
            </a:endParaRPr>
          </a:p>
        </p:txBody>
      </p:sp>
      <p:sp>
        <p:nvSpPr>
          <p:cNvPr id="55" name="Freeform 202"/>
          <p:cNvSpPr>
            <a:spLocks noEditPoints="1"/>
          </p:cNvSpPr>
          <p:nvPr/>
        </p:nvSpPr>
        <p:spPr bwMode="auto">
          <a:xfrm>
            <a:off x="10734806" y="3535973"/>
            <a:ext cx="141420" cy="292114"/>
          </a:xfrm>
          <a:custGeom>
            <a:avLst/>
            <a:gdLst>
              <a:gd name="T0" fmla="*/ 66 w 226"/>
              <a:gd name="T1" fmla="*/ 27 h 433"/>
              <a:gd name="T2" fmla="*/ 37 w 226"/>
              <a:gd name="T3" fmla="*/ 67 h 433"/>
              <a:gd name="T4" fmla="*/ 73 w 226"/>
              <a:gd name="T5" fmla="*/ 195 h 433"/>
              <a:gd name="T6" fmla="*/ 51 w 226"/>
              <a:gd name="T7" fmla="*/ 250 h 433"/>
              <a:gd name="T8" fmla="*/ 25 w 226"/>
              <a:gd name="T9" fmla="*/ 302 h 433"/>
              <a:gd name="T10" fmla="*/ 25 w 226"/>
              <a:gd name="T11" fmla="*/ 392 h 433"/>
              <a:gd name="T12" fmla="*/ 39 w 226"/>
              <a:gd name="T13" fmla="*/ 421 h 433"/>
              <a:gd name="T14" fmla="*/ 54 w 226"/>
              <a:gd name="T15" fmla="*/ 392 h 433"/>
              <a:gd name="T16" fmla="*/ 54 w 226"/>
              <a:gd name="T17" fmla="*/ 313 h 433"/>
              <a:gd name="T18" fmla="*/ 61 w 226"/>
              <a:gd name="T19" fmla="*/ 292 h 433"/>
              <a:gd name="T20" fmla="*/ 126 w 226"/>
              <a:gd name="T21" fmla="*/ 158 h 433"/>
              <a:gd name="T22" fmla="*/ 108 w 226"/>
              <a:gd name="T23" fmla="*/ 94 h 433"/>
              <a:gd name="T24" fmla="*/ 148 w 226"/>
              <a:gd name="T25" fmla="*/ 97 h 433"/>
              <a:gd name="T26" fmla="*/ 178 w 226"/>
              <a:gd name="T27" fmla="*/ 144 h 433"/>
              <a:gd name="T28" fmla="*/ 200 w 226"/>
              <a:gd name="T29" fmla="*/ 143 h 433"/>
              <a:gd name="T30" fmla="*/ 187 w 226"/>
              <a:gd name="T31" fmla="*/ 116 h 433"/>
              <a:gd name="T32" fmla="*/ 136 w 226"/>
              <a:gd name="T33" fmla="*/ 59 h 433"/>
              <a:gd name="T34" fmla="*/ 79 w 226"/>
              <a:gd name="T35" fmla="*/ 30 h 433"/>
              <a:gd name="T36" fmla="*/ 66 w 226"/>
              <a:gd name="T37" fmla="*/ 27 h 433"/>
              <a:gd name="T38" fmla="*/ 39 w 226"/>
              <a:gd name="T39" fmla="*/ 433 h 433"/>
              <a:gd name="T40" fmla="*/ 0 w 226"/>
              <a:gd name="T41" fmla="*/ 392 h 433"/>
              <a:gd name="T42" fmla="*/ 1 w 226"/>
              <a:gd name="T43" fmla="*/ 302 h 433"/>
              <a:gd name="T44" fmla="*/ 30 w 226"/>
              <a:gd name="T45" fmla="*/ 237 h 433"/>
              <a:gd name="T46" fmla="*/ 49 w 226"/>
              <a:gd name="T47" fmla="*/ 201 h 433"/>
              <a:gd name="T48" fmla="*/ 14 w 226"/>
              <a:gd name="T49" fmla="*/ 74 h 433"/>
              <a:gd name="T50" fmla="*/ 83 w 226"/>
              <a:gd name="T51" fmla="*/ 6 h 433"/>
              <a:gd name="T52" fmla="*/ 136 w 226"/>
              <a:gd name="T53" fmla="*/ 33 h 433"/>
              <a:gd name="T54" fmla="*/ 189 w 226"/>
              <a:gd name="T55" fmla="*/ 73 h 433"/>
              <a:gd name="T56" fmla="*/ 218 w 226"/>
              <a:gd name="T57" fmla="*/ 118 h 433"/>
              <a:gd name="T58" fmla="*/ 208 w 226"/>
              <a:gd name="T59" fmla="*/ 170 h 433"/>
              <a:gd name="T60" fmla="*/ 151 w 226"/>
              <a:gd name="T61" fmla="*/ 146 h 433"/>
              <a:gd name="T62" fmla="*/ 149 w 226"/>
              <a:gd name="T63" fmla="*/ 151 h 433"/>
              <a:gd name="T64" fmla="*/ 82 w 226"/>
              <a:gd name="T65" fmla="*/ 304 h 433"/>
              <a:gd name="T66" fmla="*/ 78 w 226"/>
              <a:gd name="T67" fmla="*/ 313 h 433"/>
              <a:gd name="T68" fmla="*/ 78 w 226"/>
              <a:gd name="T69" fmla="*/ 393 h 4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26" h="433">
                <a:moveTo>
                  <a:pt x="66" y="27"/>
                </a:moveTo>
                <a:lnTo>
                  <a:pt x="66" y="27"/>
                </a:lnTo>
                <a:cubicBezTo>
                  <a:pt x="58" y="27"/>
                  <a:pt x="51" y="30"/>
                  <a:pt x="45" y="36"/>
                </a:cubicBezTo>
                <a:cubicBezTo>
                  <a:pt x="36" y="44"/>
                  <a:pt x="34" y="55"/>
                  <a:pt x="37" y="67"/>
                </a:cubicBezTo>
                <a:lnTo>
                  <a:pt x="49" y="110"/>
                </a:lnTo>
                <a:cubicBezTo>
                  <a:pt x="57" y="138"/>
                  <a:pt x="65" y="166"/>
                  <a:pt x="73" y="195"/>
                </a:cubicBezTo>
                <a:cubicBezTo>
                  <a:pt x="75" y="201"/>
                  <a:pt x="74" y="210"/>
                  <a:pt x="70" y="216"/>
                </a:cubicBezTo>
                <a:cubicBezTo>
                  <a:pt x="64" y="227"/>
                  <a:pt x="57" y="238"/>
                  <a:pt x="51" y="250"/>
                </a:cubicBezTo>
                <a:cubicBezTo>
                  <a:pt x="43" y="263"/>
                  <a:pt x="36" y="276"/>
                  <a:pt x="29" y="289"/>
                </a:cubicBezTo>
                <a:cubicBezTo>
                  <a:pt x="26" y="293"/>
                  <a:pt x="25" y="298"/>
                  <a:pt x="25" y="302"/>
                </a:cubicBezTo>
                <a:cubicBezTo>
                  <a:pt x="24" y="326"/>
                  <a:pt x="24" y="349"/>
                  <a:pt x="25" y="373"/>
                </a:cubicBezTo>
                <a:lnTo>
                  <a:pt x="25" y="392"/>
                </a:lnTo>
                <a:cubicBezTo>
                  <a:pt x="25" y="403"/>
                  <a:pt x="30" y="409"/>
                  <a:pt x="39" y="409"/>
                </a:cubicBezTo>
                <a:lnTo>
                  <a:pt x="39" y="421"/>
                </a:lnTo>
                <a:lnTo>
                  <a:pt x="39" y="409"/>
                </a:lnTo>
                <a:cubicBezTo>
                  <a:pt x="48" y="409"/>
                  <a:pt x="54" y="402"/>
                  <a:pt x="54" y="392"/>
                </a:cubicBezTo>
                <a:lnTo>
                  <a:pt x="54" y="368"/>
                </a:lnTo>
                <a:cubicBezTo>
                  <a:pt x="54" y="350"/>
                  <a:pt x="54" y="331"/>
                  <a:pt x="54" y="313"/>
                </a:cubicBezTo>
                <a:cubicBezTo>
                  <a:pt x="54" y="307"/>
                  <a:pt x="56" y="300"/>
                  <a:pt x="59" y="295"/>
                </a:cubicBezTo>
                <a:lnTo>
                  <a:pt x="61" y="292"/>
                </a:lnTo>
                <a:cubicBezTo>
                  <a:pt x="81" y="257"/>
                  <a:pt x="101" y="221"/>
                  <a:pt x="122" y="186"/>
                </a:cubicBezTo>
                <a:cubicBezTo>
                  <a:pt x="127" y="177"/>
                  <a:pt x="129" y="168"/>
                  <a:pt x="126" y="158"/>
                </a:cubicBezTo>
                <a:cubicBezTo>
                  <a:pt x="121" y="144"/>
                  <a:pt x="117" y="129"/>
                  <a:pt x="113" y="114"/>
                </a:cubicBezTo>
                <a:lnTo>
                  <a:pt x="108" y="94"/>
                </a:lnTo>
                <a:lnTo>
                  <a:pt x="122" y="79"/>
                </a:lnTo>
                <a:cubicBezTo>
                  <a:pt x="134" y="81"/>
                  <a:pt x="142" y="87"/>
                  <a:pt x="148" y="97"/>
                </a:cubicBezTo>
                <a:cubicBezTo>
                  <a:pt x="156" y="109"/>
                  <a:pt x="164" y="121"/>
                  <a:pt x="171" y="133"/>
                </a:cubicBezTo>
                <a:lnTo>
                  <a:pt x="178" y="144"/>
                </a:lnTo>
                <a:cubicBezTo>
                  <a:pt x="183" y="150"/>
                  <a:pt x="190" y="153"/>
                  <a:pt x="195" y="149"/>
                </a:cubicBezTo>
                <a:cubicBezTo>
                  <a:pt x="198" y="148"/>
                  <a:pt x="199" y="145"/>
                  <a:pt x="200" y="143"/>
                </a:cubicBezTo>
                <a:cubicBezTo>
                  <a:pt x="201" y="139"/>
                  <a:pt x="200" y="135"/>
                  <a:pt x="197" y="131"/>
                </a:cubicBezTo>
                <a:cubicBezTo>
                  <a:pt x="194" y="126"/>
                  <a:pt x="191" y="121"/>
                  <a:pt x="187" y="116"/>
                </a:cubicBezTo>
                <a:cubicBezTo>
                  <a:pt x="180" y="106"/>
                  <a:pt x="174" y="96"/>
                  <a:pt x="167" y="85"/>
                </a:cubicBezTo>
                <a:cubicBezTo>
                  <a:pt x="160" y="73"/>
                  <a:pt x="151" y="65"/>
                  <a:pt x="136" y="59"/>
                </a:cubicBezTo>
                <a:lnTo>
                  <a:pt x="128" y="56"/>
                </a:lnTo>
                <a:cubicBezTo>
                  <a:pt x="111" y="49"/>
                  <a:pt x="94" y="43"/>
                  <a:pt x="79" y="30"/>
                </a:cubicBezTo>
                <a:cubicBezTo>
                  <a:pt x="79" y="30"/>
                  <a:pt x="78" y="29"/>
                  <a:pt x="77" y="29"/>
                </a:cubicBezTo>
                <a:cubicBezTo>
                  <a:pt x="73" y="28"/>
                  <a:pt x="69" y="27"/>
                  <a:pt x="66" y="27"/>
                </a:cubicBezTo>
                <a:close/>
                <a:moveTo>
                  <a:pt x="39" y="433"/>
                </a:moveTo>
                <a:lnTo>
                  <a:pt x="39" y="433"/>
                </a:lnTo>
                <a:lnTo>
                  <a:pt x="39" y="433"/>
                </a:lnTo>
                <a:cubicBezTo>
                  <a:pt x="17" y="433"/>
                  <a:pt x="0" y="416"/>
                  <a:pt x="0" y="392"/>
                </a:cubicBezTo>
                <a:lnTo>
                  <a:pt x="0" y="373"/>
                </a:lnTo>
                <a:cubicBezTo>
                  <a:pt x="0" y="349"/>
                  <a:pt x="0" y="325"/>
                  <a:pt x="1" y="302"/>
                </a:cubicBezTo>
                <a:cubicBezTo>
                  <a:pt x="1" y="293"/>
                  <a:pt x="3" y="284"/>
                  <a:pt x="7" y="277"/>
                </a:cubicBezTo>
                <a:cubicBezTo>
                  <a:pt x="15" y="264"/>
                  <a:pt x="22" y="251"/>
                  <a:pt x="30" y="237"/>
                </a:cubicBezTo>
                <a:cubicBezTo>
                  <a:pt x="36" y="226"/>
                  <a:pt x="43" y="215"/>
                  <a:pt x="49" y="204"/>
                </a:cubicBezTo>
                <a:cubicBezTo>
                  <a:pt x="49" y="203"/>
                  <a:pt x="49" y="202"/>
                  <a:pt x="49" y="201"/>
                </a:cubicBezTo>
                <a:cubicBezTo>
                  <a:pt x="42" y="173"/>
                  <a:pt x="34" y="145"/>
                  <a:pt x="26" y="117"/>
                </a:cubicBezTo>
                <a:lnTo>
                  <a:pt x="14" y="74"/>
                </a:lnTo>
                <a:cubicBezTo>
                  <a:pt x="8" y="53"/>
                  <a:pt x="13" y="33"/>
                  <a:pt x="28" y="18"/>
                </a:cubicBezTo>
                <a:cubicBezTo>
                  <a:pt x="43" y="4"/>
                  <a:pt x="62" y="0"/>
                  <a:pt x="83" y="6"/>
                </a:cubicBezTo>
                <a:cubicBezTo>
                  <a:pt x="88" y="7"/>
                  <a:pt x="92" y="9"/>
                  <a:pt x="95" y="12"/>
                </a:cubicBezTo>
                <a:cubicBezTo>
                  <a:pt x="107" y="22"/>
                  <a:pt x="121" y="27"/>
                  <a:pt x="136" y="33"/>
                </a:cubicBezTo>
                <a:lnTo>
                  <a:pt x="145" y="36"/>
                </a:lnTo>
                <a:cubicBezTo>
                  <a:pt x="165" y="44"/>
                  <a:pt x="179" y="56"/>
                  <a:pt x="189" y="73"/>
                </a:cubicBezTo>
                <a:cubicBezTo>
                  <a:pt x="194" y="83"/>
                  <a:pt x="201" y="93"/>
                  <a:pt x="207" y="103"/>
                </a:cubicBezTo>
                <a:cubicBezTo>
                  <a:pt x="211" y="108"/>
                  <a:pt x="214" y="113"/>
                  <a:pt x="218" y="118"/>
                </a:cubicBezTo>
                <a:cubicBezTo>
                  <a:pt x="224" y="128"/>
                  <a:pt x="226" y="138"/>
                  <a:pt x="224" y="148"/>
                </a:cubicBezTo>
                <a:cubicBezTo>
                  <a:pt x="222" y="157"/>
                  <a:pt x="216" y="165"/>
                  <a:pt x="208" y="170"/>
                </a:cubicBezTo>
                <a:cubicBezTo>
                  <a:pt x="192" y="180"/>
                  <a:pt x="169" y="174"/>
                  <a:pt x="158" y="157"/>
                </a:cubicBezTo>
                <a:lnTo>
                  <a:pt x="151" y="146"/>
                </a:lnTo>
                <a:cubicBezTo>
                  <a:pt x="149" y="143"/>
                  <a:pt x="147" y="140"/>
                  <a:pt x="145" y="136"/>
                </a:cubicBezTo>
                <a:cubicBezTo>
                  <a:pt x="146" y="141"/>
                  <a:pt x="147" y="146"/>
                  <a:pt x="149" y="151"/>
                </a:cubicBezTo>
                <a:cubicBezTo>
                  <a:pt x="154" y="168"/>
                  <a:pt x="152" y="183"/>
                  <a:pt x="143" y="198"/>
                </a:cubicBezTo>
                <a:cubicBezTo>
                  <a:pt x="122" y="233"/>
                  <a:pt x="102" y="269"/>
                  <a:pt x="82" y="304"/>
                </a:cubicBezTo>
                <a:lnTo>
                  <a:pt x="80" y="307"/>
                </a:lnTo>
                <a:cubicBezTo>
                  <a:pt x="79" y="309"/>
                  <a:pt x="78" y="311"/>
                  <a:pt x="78" y="313"/>
                </a:cubicBezTo>
                <a:cubicBezTo>
                  <a:pt x="78" y="332"/>
                  <a:pt x="78" y="350"/>
                  <a:pt x="78" y="368"/>
                </a:cubicBezTo>
                <a:lnTo>
                  <a:pt x="78" y="393"/>
                </a:lnTo>
                <a:cubicBezTo>
                  <a:pt x="78" y="416"/>
                  <a:pt x="62" y="433"/>
                  <a:pt x="39" y="433"/>
                </a:cubicBez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2" tIns="60941" rIns="121882" bIns="60941" numCol="1" anchor="t" anchorCtr="0" compatLnSpc="1">
            <a:prstTxWarp prst="textNoShape">
              <a:avLst/>
            </a:prstTxWarp>
          </a:bodyPr>
          <a:lstStyle/>
          <a:p>
            <a:endParaRPr lang="ru-RU" sz="2399">
              <a:solidFill>
                <a:srgbClr val="595959"/>
              </a:solidFill>
            </a:endParaRPr>
          </a:p>
        </p:txBody>
      </p:sp>
      <p:sp>
        <p:nvSpPr>
          <p:cNvPr id="56" name="Freeform 204"/>
          <p:cNvSpPr>
            <a:spLocks noEditPoints="1"/>
          </p:cNvSpPr>
          <p:nvPr/>
        </p:nvSpPr>
        <p:spPr bwMode="auto">
          <a:xfrm>
            <a:off x="10662937" y="3577703"/>
            <a:ext cx="85780" cy="57958"/>
          </a:xfrm>
          <a:custGeom>
            <a:avLst/>
            <a:gdLst>
              <a:gd name="T0" fmla="*/ 103 w 136"/>
              <a:gd name="T1" fmla="*/ 29 h 86"/>
              <a:gd name="T2" fmla="*/ 103 w 136"/>
              <a:gd name="T3" fmla="*/ 29 h 86"/>
              <a:gd name="T4" fmla="*/ 91 w 136"/>
              <a:gd name="T5" fmla="*/ 33 h 86"/>
              <a:gd name="T6" fmla="*/ 68 w 136"/>
              <a:gd name="T7" fmla="*/ 36 h 86"/>
              <a:gd name="T8" fmla="*/ 54 w 136"/>
              <a:gd name="T9" fmla="*/ 37 h 86"/>
              <a:gd name="T10" fmla="*/ 49 w 136"/>
              <a:gd name="T11" fmla="*/ 38 h 86"/>
              <a:gd name="T12" fmla="*/ 38 w 136"/>
              <a:gd name="T13" fmla="*/ 39 h 86"/>
              <a:gd name="T14" fmla="*/ 28 w 136"/>
              <a:gd name="T15" fmla="*/ 53 h 86"/>
              <a:gd name="T16" fmla="*/ 42 w 136"/>
              <a:gd name="T17" fmla="*/ 61 h 86"/>
              <a:gd name="T18" fmla="*/ 50 w 136"/>
              <a:gd name="T19" fmla="*/ 61 h 86"/>
              <a:gd name="T20" fmla="*/ 93 w 136"/>
              <a:gd name="T21" fmla="*/ 55 h 86"/>
              <a:gd name="T22" fmla="*/ 109 w 136"/>
              <a:gd name="T23" fmla="*/ 51 h 86"/>
              <a:gd name="T24" fmla="*/ 103 w 136"/>
              <a:gd name="T25" fmla="*/ 29 h 86"/>
              <a:gd name="T26" fmla="*/ 40 w 136"/>
              <a:gd name="T27" fmla="*/ 86 h 86"/>
              <a:gd name="T28" fmla="*/ 40 w 136"/>
              <a:gd name="T29" fmla="*/ 86 h 86"/>
              <a:gd name="T30" fmla="*/ 4 w 136"/>
              <a:gd name="T31" fmla="*/ 57 h 86"/>
              <a:gd name="T32" fmla="*/ 33 w 136"/>
              <a:gd name="T33" fmla="*/ 15 h 86"/>
              <a:gd name="T34" fmla="*/ 46 w 136"/>
              <a:gd name="T35" fmla="*/ 14 h 86"/>
              <a:gd name="T36" fmla="*/ 51 w 136"/>
              <a:gd name="T37" fmla="*/ 13 h 86"/>
              <a:gd name="T38" fmla="*/ 67 w 136"/>
              <a:gd name="T39" fmla="*/ 12 h 86"/>
              <a:gd name="T40" fmla="*/ 86 w 136"/>
              <a:gd name="T41" fmla="*/ 9 h 86"/>
              <a:gd name="T42" fmla="*/ 98 w 136"/>
              <a:gd name="T43" fmla="*/ 4 h 86"/>
              <a:gd name="T44" fmla="*/ 105 w 136"/>
              <a:gd name="T45" fmla="*/ 0 h 86"/>
              <a:gd name="T46" fmla="*/ 122 w 136"/>
              <a:gd name="T47" fmla="*/ 7 h 86"/>
              <a:gd name="T48" fmla="*/ 125 w 136"/>
              <a:gd name="T49" fmla="*/ 16 h 86"/>
              <a:gd name="T50" fmla="*/ 134 w 136"/>
              <a:gd name="T51" fmla="*/ 52 h 86"/>
              <a:gd name="T52" fmla="*/ 122 w 136"/>
              <a:gd name="T53" fmla="*/ 73 h 86"/>
              <a:gd name="T54" fmla="*/ 96 w 136"/>
              <a:gd name="T55" fmla="*/ 79 h 86"/>
              <a:gd name="T56" fmla="*/ 53 w 136"/>
              <a:gd name="T57" fmla="*/ 85 h 86"/>
              <a:gd name="T58" fmla="*/ 45 w 136"/>
              <a:gd name="T59" fmla="*/ 86 h 86"/>
              <a:gd name="T60" fmla="*/ 40 w 136"/>
              <a:gd name="T61" fmla="*/ 8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36" h="86">
                <a:moveTo>
                  <a:pt x="103" y="29"/>
                </a:moveTo>
                <a:lnTo>
                  <a:pt x="103" y="29"/>
                </a:lnTo>
                <a:cubicBezTo>
                  <a:pt x="99" y="31"/>
                  <a:pt x="95" y="32"/>
                  <a:pt x="91" y="33"/>
                </a:cubicBezTo>
                <a:cubicBezTo>
                  <a:pt x="82" y="35"/>
                  <a:pt x="75" y="36"/>
                  <a:pt x="68" y="36"/>
                </a:cubicBezTo>
                <a:cubicBezTo>
                  <a:pt x="64" y="36"/>
                  <a:pt x="60" y="36"/>
                  <a:pt x="54" y="37"/>
                </a:cubicBezTo>
                <a:lnTo>
                  <a:pt x="49" y="38"/>
                </a:lnTo>
                <a:cubicBezTo>
                  <a:pt x="45" y="38"/>
                  <a:pt x="42" y="39"/>
                  <a:pt x="38" y="39"/>
                </a:cubicBezTo>
                <a:cubicBezTo>
                  <a:pt x="30" y="41"/>
                  <a:pt x="26" y="45"/>
                  <a:pt x="28" y="53"/>
                </a:cubicBezTo>
                <a:cubicBezTo>
                  <a:pt x="28" y="59"/>
                  <a:pt x="35" y="62"/>
                  <a:pt x="42" y="61"/>
                </a:cubicBezTo>
                <a:lnTo>
                  <a:pt x="50" y="61"/>
                </a:lnTo>
                <a:cubicBezTo>
                  <a:pt x="64" y="59"/>
                  <a:pt x="78" y="57"/>
                  <a:pt x="93" y="55"/>
                </a:cubicBezTo>
                <a:cubicBezTo>
                  <a:pt x="100" y="54"/>
                  <a:pt x="104" y="53"/>
                  <a:pt x="109" y="51"/>
                </a:cubicBezTo>
                <a:cubicBezTo>
                  <a:pt x="107" y="44"/>
                  <a:pt x="105" y="36"/>
                  <a:pt x="103" y="29"/>
                </a:cubicBezTo>
                <a:close/>
                <a:moveTo>
                  <a:pt x="40" y="86"/>
                </a:moveTo>
                <a:lnTo>
                  <a:pt x="40" y="86"/>
                </a:lnTo>
                <a:cubicBezTo>
                  <a:pt x="21" y="86"/>
                  <a:pt x="6" y="74"/>
                  <a:pt x="4" y="57"/>
                </a:cubicBezTo>
                <a:cubicBezTo>
                  <a:pt x="0" y="36"/>
                  <a:pt x="12" y="20"/>
                  <a:pt x="33" y="15"/>
                </a:cubicBezTo>
                <a:cubicBezTo>
                  <a:pt x="38" y="15"/>
                  <a:pt x="42" y="14"/>
                  <a:pt x="46" y="14"/>
                </a:cubicBezTo>
                <a:lnTo>
                  <a:pt x="51" y="13"/>
                </a:lnTo>
                <a:cubicBezTo>
                  <a:pt x="57" y="12"/>
                  <a:pt x="62" y="12"/>
                  <a:pt x="67" y="12"/>
                </a:cubicBezTo>
                <a:cubicBezTo>
                  <a:pt x="73" y="11"/>
                  <a:pt x="78" y="11"/>
                  <a:pt x="86" y="9"/>
                </a:cubicBezTo>
                <a:cubicBezTo>
                  <a:pt x="89" y="9"/>
                  <a:pt x="93" y="6"/>
                  <a:pt x="98" y="4"/>
                </a:cubicBezTo>
                <a:cubicBezTo>
                  <a:pt x="100" y="2"/>
                  <a:pt x="103" y="1"/>
                  <a:pt x="105" y="0"/>
                </a:cubicBezTo>
                <a:lnTo>
                  <a:pt x="122" y="7"/>
                </a:lnTo>
                <a:lnTo>
                  <a:pt x="125" y="16"/>
                </a:lnTo>
                <a:cubicBezTo>
                  <a:pt x="128" y="28"/>
                  <a:pt x="131" y="40"/>
                  <a:pt x="134" y="52"/>
                </a:cubicBezTo>
                <a:cubicBezTo>
                  <a:pt x="136" y="60"/>
                  <a:pt x="130" y="71"/>
                  <a:pt x="122" y="73"/>
                </a:cubicBezTo>
                <a:cubicBezTo>
                  <a:pt x="112" y="76"/>
                  <a:pt x="108" y="77"/>
                  <a:pt x="96" y="79"/>
                </a:cubicBezTo>
                <a:cubicBezTo>
                  <a:pt x="82" y="81"/>
                  <a:pt x="67" y="83"/>
                  <a:pt x="53" y="85"/>
                </a:cubicBezTo>
                <a:lnTo>
                  <a:pt x="45" y="86"/>
                </a:lnTo>
                <a:cubicBezTo>
                  <a:pt x="43" y="86"/>
                  <a:pt x="41" y="86"/>
                  <a:pt x="40" y="86"/>
                </a:cubicBez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2" tIns="60941" rIns="121882" bIns="60941" numCol="1" anchor="t" anchorCtr="0" compatLnSpc="1">
            <a:prstTxWarp prst="textNoShape">
              <a:avLst/>
            </a:prstTxWarp>
          </a:bodyPr>
          <a:lstStyle/>
          <a:p>
            <a:endParaRPr lang="ru-RU" sz="2399">
              <a:solidFill>
                <a:srgbClr val="595959"/>
              </a:solidFill>
            </a:endParaRPr>
          </a:p>
        </p:txBody>
      </p:sp>
      <p:sp>
        <p:nvSpPr>
          <p:cNvPr id="57" name="Freeform 203"/>
          <p:cNvSpPr>
            <a:spLocks noEditPoints="1"/>
          </p:cNvSpPr>
          <p:nvPr/>
        </p:nvSpPr>
        <p:spPr bwMode="auto">
          <a:xfrm>
            <a:off x="10792764" y="3709112"/>
            <a:ext cx="85780" cy="132146"/>
          </a:xfrm>
          <a:custGeom>
            <a:avLst/>
            <a:gdLst>
              <a:gd name="T0" fmla="*/ 46 w 138"/>
              <a:gd name="T1" fmla="*/ 38 h 196"/>
              <a:gd name="T2" fmla="*/ 46 w 138"/>
              <a:gd name="T3" fmla="*/ 38 h 196"/>
              <a:gd name="T4" fmla="*/ 26 w 138"/>
              <a:gd name="T5" fmla="*/ 73 h 196"/>
              <a:gd name="T6" fmla="*/ 35 w 138"/>
              <a:gd name="T7" fmla="*/ 92 h 196"/>
              <a:gd name="T8" fmla="*/ 65 w 138"/>
              <a:gd name="T9" fmla="*/ 139 h 196"/>
              <a:gd name="T10" fmla="*/ 82 w 138"/>
              <a:gd name="T11" fmla="*/ 164 h 196"/>
              <a:gd name="T12" fmla="*/ 95 w 138"/>
              <a:gd name="T13" fmla="*/ 172 h 196"/>
              <a:gd name="T14" fmla="*/ 104 w 138"/>
              <a:gd name="T15" fmla="*/ 168 h 196"/>
              <a:gd name="T16" fmla="*/ 106 w 138"/>
              <a:gd name="T17" fmla="*/ 148 h 196"/>
              <a:gd name="T18" fmla="*/ 84 w 138"/>
              <a:gd name="T19" fmla="*/ 113 h 196"/>
              <a:gd name="T20" fmla="*/ 59 w 138"/>
              <a:gd name="T21" fmla="*/ 74 h 196"/>
              <a:gd name="T22" fmla="*/ 51 w 138"/>
              <a:gd name="T23" fmla="*/ 58 h 196"/>
              <a:gd name="T24" fmla="*/ 46 w 138"/>
              <a:gd name="T25" fmla="*/ 38 h 196"/>
              <a:gd name="T26" fmla="*/ 95 w 138"/>
              <a:gd name="T27" fmla="*/ 196 h 196"/>
              <a:gd name="T28" fmla="*/ 95 w 138"/>
              <a:gd name="T29" fmla="*/ 196 h 196"/>
              <a:gd name="T30" fmla="*/ 61 w 138"/>
              <a:gd name="T31" fmla="*/ 177 h 196"/>
              <a:gd name="T32" fmla="*/ 45 w 138"/>
              <a:gd name="T33" fmla="*/ 152 h 196"/>
              <a:gd name="T34" fmla="*/ 15 w 138"/>
              <a:gd name="T35" fmla="*/ 106 h 196"/>
              <a:gd name="T36" fmla="*/ 3 w 138"/>
              <a:gd name="T37" fmla="*/ 79 h 196"/>
              <a:gd name="T38" fmla="*/ 4 w 138"/>
              <a:gd name="T39" fmla="*/ 61 h 196"/>
              <a:gd name="T40" fmla="*/ 30 w 138"/>
              <a:gd name="T41" fmla="*/ 16 h 196"/>
              <a:gd name="T42" fmla="*/ 37 w 138"/>
              <a:gd name="T43" fmla="*/ 5 h 196"/>
              <a:gd name="T44" fmla="*/ 41 w 138"/>
              <a:gd name="T45" fmla="*/ 0 h 196"/>
              <a:gd name="T46" fmla="*/ 61 w 138"/>
              <a:gd name="T47" fmla="*/ 5 h 196"/>
              <a:gd name="T48" fmla="*/ 68 w 138"/>
              <a:gd name="T49" fmla="*/ 27 h 196"/>
              <a:gd name="T50" fmla="*/ 74 w 138"/>
              <a:gd name="T51" fmla="*/ 50 h 196"/>
              <a:gd name="T52" fmla="*/ 80 w 138"/>
              <a:gd name="T53" fmla="*/ 61 h 196"/>
              <a:gd name="T54" fmla="*/ 104 w 138"/>
              <a:gd name="T55" fmla="*/ 100 h 196"/>
              <a:gd name="T56" fmla="*/ 126 w 138"/>
              <a:gd name="T57" fmla="*/ 135 h 196"/>
              <a:gd name="T58" fmla="*/ 120 w 138"/>
              <a:gd name="T59" fmla="*/ 186 h 196"/>
              <a:gd name="T60" fmla="*/ 95 w 138"/>
              <a:gd name="T61" fmla="*/ 196 h 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38" h="196">
                <a:moveTo>
                  <a:pt x="46" y="38"/>
                </a:moveTo>
                <a:lnTo>
                  <a:pt x="46" y="38"/>
                </a:lnTo>
                <a:cubicBezTo>
                  <a:pt x="39" y="50"/>
                  <a:pt x="32" y="61"/>
                  <a:pt x="26" y="73"/>
                </a:cubicBezTo>
                <a:cubicBezTo>
                  <a:pt x="29" y="83"/>
                  <a:pt x="29" y="84"/>
                  <a:pt x="35" y="92"/>
                </a:cubicBezTo>
                <a:cubicBezTo>
                  <a:pt x="46" y="108"/>
                  <a:pt x="55" y="123"/>
                  <a:pt x="65" y="139"/>
                </a:cubicBezTo>
                <a:cubicBezTo>
                  <a:pt x="71" y="147"/>
                  <a:pt x="76" y="156"/>
                  <a:pt x="82" y="164"/>
                </a:cubicBezTo>
                <a:cubicBezTo>
                  <a:pt x="85" y="169"/>
                  <a:pt x="90" y="172"/>
                  <a:pt x="95" y="172"/>
                </a:cubicBezTo>
                <a:cubicBezTo>
                  <a:pt x="97" y="172"/>
                  <a:pt x="101" y="171"/>
                  <a:pt x="104" y="168"/>
                </a:cubicBezTo>
                <a:cubicBezTo>
                  <a:pt x="111" y="162"/>
                  <a:pt x="111" y="156"/>
                  <a:pt x="106" y="148"/>
                </a:cubicBezTo>
                <a:cubicBezTo>
                  <a:pt x="99" y="136"/>
                  <a:pt x="91" y="125"/>
                  <a:pt x="84" y="113"/>
                </a:cubicBezTo>
                <a:cubicBezTo>
                  <a:pt x="75" y="100"/>
                  <a:pt x="67" y="87"/>
                  <a:pt x="59" y="74"/>
                </a:cubicBezTo>
                <a:cubicBezTo>
                  <a:pt x="56" y="69"/>
                  <a:pt x="53" y="64"/>
                  <a:pt x="51" y="58"/>
                </a:cubicBezTo>
                <a:cubicBezTo>
                  <a:pt x="49" y="50"/>
                  <a:pt x="47" y="44"/>
                  <a:pt x="46" y="38"/>
                </a:cubicBezTo>
                <a:close/>
                <a:moveTo>
                  <a:pt x="95" y="196"/>
                </a:moveTo>
                <a:lnTo>
                  <a:pt x="95" y="196"/>
                </a:lnTo>
                <a:cubicBezTo>
                  <a:pt x="81" y="196"/>
                  <a:pt x="69" y="189"/>
                  <a:pt x="61" y="177"/>
                </a:cubicBezTo>
                <a:cubicBezTo>
                  <a:pt x="56" y="169"/>
                  <a:pt x="50" y="160"/>
                  <a:pt x="45" y="152"/>
                </a:cubicBezTo>
                <a:cubicBezTo>
                  <a:pt x="35" y="136"/>
                  <a:pt x="25" y="121"/>
                  <a:pt x="15" y="106"/>
                </a:cubicBezTo>
                <a:cubicBezTo>
                  <a:pt x="7" y="95"/>
                  <a:pt x="6" y="91"/>
                  <a:pt x="3" y="79"/>
                </a:cubicBezTo>
                <a:cubicBezTo>
                  <a:pt x="2" y="77"/>
                  <a:pt x="0" y="68"/>
                  <a:pt x="4" y="61"/>
                </a:cubicBezTo>
                <a:cubicBezTo>
                  <a:pt x="13" y="46"/>
                  <a:pt x="22" y="31"/>
                  <a:pt x="30" y="16"/>
                </a:cubicBezTo>
                <a:lnTo>
                  <a:pt x="37" y="5"/>
                </a:lnTo>
                <a:lnTo>
                  <a:pt x="41" y="0"/>
                </a:lnTo>
                <a:lnTo>
                  <a:pt x="61" y="5"/>
                </a:lnTo>
                <a:cubicBezTo>
                  <a:pt x="64" y="14"/>
                  <a:pt x="66" y="20"/>
                  <a:pt x="68" y="27"/>
                </a:cubicBezTo>
                <a:cubicBezTo>
                  <a:pt x="69" y="34"/>
                  <a:pt x="71" y="41"/>
                  <a:pt x="74" y="50"/>
                </a:cubicBezTo>
                <a:cubicBezTo>
                  <a:pt x="76" y="54"/>
                  <a:pt x="78" y="58"/>
                  <a:pt x="80" y="61"/>
                </a:cubicBezTo>
                <a:cubicBezTo>
                  <a:pt x="88" y="74"/>
                  <a:pt x="96" y="87"/>
                  <a:pt x="104" y="100"/>
                </a:cubicBezTo>
                <a:cubicBezTo>
                  <a:pt x="112" y="112"/>
                  <a:pt x="119" y="123"/>
                  <a:pt x="126" y="135"/>
                </a:cubicBezTo>
                <a:cubicBezTo>
                  <a:pt x="138" y="153"/>
                  <a:pt x="136" y="172"/>
                  <a:pt x="120" y="186"/>
                </a:cubicBezTo>
                <a:cubicBezTo>
                  <a:pt x="113" y="193"/>
                  <a:pt x="104" y="196"/>
                  <a:pt x="95" y="196"/>
                </a:cubicBez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2" tIns="60941" rIns="121882" bIns="60941" numCol="1" anchor="t" anchorCtr="0" compatLnSpc="1">
            <a:prstTxWarp prst="textNoShape">
              <a:avLst/>
            </a:prstTxWarp>
          </a:bodyPr>
          <a:lstStyle/>
          <a:p>
            <a:endParaRPr lang="ru-RU" sz="2399">
              <a:solidFill>
                <a:srgbClr val="595959"/>
              </a:solidFill>
            </a:endParaRPr>
          </a:p>
        </p:txBody>
      </p:sp>
      <p:sp>
        <p:nvSpPr>
          <p:cNvPr id="58" name="Freeform 7"/>
          <p:cNvSpPr>
            <a:spLocks noEditPoints="1"/>
          </p:cNvSpPr>
          <p:nvPr/>
        </p:nvSpPr>
        <p:spPr bwMode="auto">
          <a:xfrm>
            <a:off x="11047419" y="4350949"/>
            <a:ext cx="160081" cy="268087"/>
          </a:xfrm>
          <a:custGeom>
            <a:avLst/>
            <a:gdLst>
              <a:gd name="T0" fmla="*/ 113 w 227"/>
              <a:gd name="T1" fmla="*/ 142 h 380"/>
              <a:gd name="T2" fmla="*/ 113 w 227"/>
              <a:gd name="T3" fmla="*/ 142 h 380"/>
              <a:gd name="T4" fmla="*/ 84 w 227"/>
              <a:gd name="T5" fmla="*/ 113 h 380"/>
              <a:gd name="T6" fmla="*/ 113 w 227"/>
              <a:gd name="T7" fmla="*/ 83 h 380"/>
              <a:gd name="T8" fmla="*/ 143 w 227"/>
              <a:gd name="T9" fmla="*/ 113 h 380"/>
              <a:gd name="T10" fmla="*/ 113 w 227"/>
              <a:gd name="T11" fmla="*/ 142 h 380"/>
              <a:gd name="T12" fmla="*/ 114 w 227"/>
              <a:gd name="T13" fmla="*/ 0 h 380"/>
              <a:gd name="T14" fmla="*/ 114 w 227"/>
              <a:gd name="T15" fmla="*/ 0 h 380"/>
              <a:gd name="T16" fmla="*/ 0 w 227"/>
              <a:gd name="T17" fmla="*/ 113 h 380"/>
              <a:gd name="T18" fmla="*/ 10 w 227"/>
              <a:gd name="T19" fmla="*/ 158 h 380"/>
              <a:gd name="T20" fmla="*/ 97 w 227"/>
              <a:gd name="T21" fmla="*/ 368 h 380"/>
              <a:gd name="T22" fmla="*/ 114 w 227"/>
              <a:gd name="T23" fmla="*/ 380 h 380"/>
              <a:gd name="T24" fmla="*/ 131 w 227"/>
              <a:gd name="T25" fmla="*/ 368 h 380"/>
              <a:gd name="T26" fmla="*/ 218 w 227"/>
              <a:gd name="T27" fmla="*/ 158 h 380"/>
              <a:gd name="T28" fmla="*/ 227 w 227"/>
              <a:gd name="T29" fmla="*/ 113 h 380"/>
              <a:gd name="T30" fmla="*/ 114 w 227"/>
              <a:gd name="T31" fmla="*/ 0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27" h="380">
                <a:moveTo>
                  <a:pt x="113" y="142"/>
                </a:moveTo>
                <a:lnTo>
                  <a:pt x="113" y="142"/>
                </a:lnTo>
                <a:cubicBezTo>
                  <a:pt x="97" y="142"/>
                  <a:pt x="84" y="129"/>
                  <a:pt x="84" y="113"/>
                </a:cubicBezTo>
                <a:cubicBezTo>
                  <a:pt x="84" y="97"/>
                  <a:pt x="97" y="83"/>
                  <a:pt x="113" y="83"/>
                </a:cubicBezTo>
                <a:cubicBezTo>
                  <a:pt x="130" y="83"/>
                  <a:pt x="143" y="97"/>
                  <a:pt x="143" y="113"/>
                </a:cubicBezTo>
                <a:cubicBezTo>
                  <a:pt x="143" y="129"/>
                  <a:pt x="130" y="142"/>
                  <a:pt x="113" y="142"/>
                </a:cubicBezTo>
                <a:close/>
                <a:moveTo>
                  <a:pt x="114" y="0"/>
                </a:moveTo>
                <a:lnTo>
                  <a:pt x="114" y="0"/>
                </a:lnTo>
                <a:cubicBezTo>
                  <a:pt x="51" y="0"/>
                  <a:pt x="0" y="51"/>
                  <a:pt x="0" y="113"/>
                </a:cubicBezTo>
                <a:cubicBezTo>
                  <a:pt x="0" y="129"/>
                  <a:pt x="4" y="144"/>
                  <a:pt x="10" y="158"/>
                </a:cubicBezTo>
                <a:lnTo>
                  <a:pt x="97" y="368"/>
                </a:lnTo>
                <a:cubicBezTo>
                  <a:pt x="100" y="375"/>
                  <a:pt x="106" y="380"/>
                  <a:pt x="114" y="380"/>
                </a:cubicBezTo>
                <a:cubicBezTo>
                  <a:pt x="121" y="380"/>
                  <a:pt x="128" y="375"/>
                  <a:pt x="131" y="368"/>
                </a:cubicBezTo>
                <a:lnTo>
                  <a:pt x="218" y="158"/>
                </a:lnTo>
                <a:cubicBezTo>
                  <a:pt x="224" y="144"/>
                  <a:pt x="227" y="129"/>
                  <a:pt x="227" y="113"/>
                </a:cubicBezTo>
                <a:cubicBezTo>
                  <a:pt x="227" y="51"/>
                  <a:pt x="176" y="0"/>
                  <a:pt x="114" y="0"/>
                </a:cubicBez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2" tIns="60941" rIns="121882" bIns="60941" numCol="1" anchor="t" anchorCtr="0" compatLnSpc="1">
            <a:prstTxWarp prst="textNoShape">
              <a:avLst/>
            </a:prstTxWarp>
          </a:bodyPr>
          <a:lstStyle/>
          <a:p>
            <a:endParaRPr lang="ru-RU" sz="2399">
              <a:solidFill>
                <a:srgbClr val="595959"/>
              </a:solidFill>
            </a:endParaRPr>
          </a:p>
        </p:txBody>
      </p:sp>
      <p:sp>
        <p:nvSpPr>
          <p:cNvPr id="59" name="Freeform 7"/>
          <p:cNvSpPr>
            <a:spLocks noEditPoints="1"/>
          </p:cNvSpPr>
          <p:nvPr/>
        </p:nvSpPr>
        <p:spPr bwMode="auto">
          <a:xfrm>
            <a:off x="9734912" y="3623113"/>
            <a:ext cx="160081" cy="268087"/>
          </a:xfrm>
          <a:custGeom>
            <a:avLst/>
            <a:gdLst>
              <a:gd name="T0" fmla="*/ 113 w 227"/>
              <a:gd name="T1" fmla="*/ 142 h 380"/>
              <a:gd name="T2" fmla="*/ 113 w 227"/>
              <a:gd name="T3" fmla="*/ 142 h 380"/>
              <a:gd name="T4" fmla="*/ 84 w 227"/>
              <a:gd name="T5" fmla="*/ 113 h 380"/>
              <a:gd name="T6" fmla="*/ 113 w 227"/>
              <a:gd name="T7" fmla="*/ 83 h 380"/>
              <a:gd name="T8" fmla="*/ 143 w 227"/>
              <a:gd name="T9" fmla="*/ 113 h 380"/>
              <a:gd name="T10" fmla="*/ 113 w 227"/>
              <a:gd name="T11" fmla="*/ 142 h 380"/>
              <a:gd name="T12" fmla="*/ 114 w 227"/>
              <a:gd name="T13" fmla="*/ 0 h 380"/>
              <a:gd name="T14" fmla="*/ 114 w 227"/>
              <a:gd name="T15" fmla="*/ 0 h 380"/>
              <a:gd name="T16" fmla="*/ 0 w 227"/>
              <a:gd name="T17" fmla="*/ 113 h 380"/>
              <a:gd name="T18" fmla="*/ 10 w 227"/>
              <a:gd name="T19" fmla="*/ 158 h 380"/>
              <a:gd name="T20" fmla="*/ 97 w 227"/>
              <a:gd name="T21" fmla="*/ 368 h 380"/>
              <a:gd name="T22" fmla="*/ 114 w 227"/>
              <a:gd name="T23" fmla="*/ 380 h 380"/>
              <a:gd name="T24" fmla="*/ 131 w 227"/>
              <a:gd name="T25" fmla="*/ 368 h 380"/>
              <a:gd name="T26" fmla="*/ 218 w 227"/>
              <a:gd name="T27" fmla="*/ 158 h 380"/>
              <a:gd name="T28" fmla="*/ 227 w 227"/>
              <a:gd name="T29" fmla="*/ 113 h 380"/>
              <a:gd name="T30" fmla="*/ 114 w 227"/>
              <a:gd name="T31" fmla="*/ 0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27" h="380">
                <a:moveTo>
                  <a:pt x="113" y="142"/>
                </a:moveTo>
                <a:lnTo>
                  <a:pt x="113" y="142"/>
                </a:lnTo>
                <a:cubicBezTo>
                  <a:pt x="97" y="142"/>
                  <a:pt x="84" y="129"/>
                  <a:pt x="84" y="113"/>
                </a:cubicBezTo>
                <a:cubicBezTo>
                  <a:pt x="84" y="97"/>
                  <a:pt x="97" y="83"/>
                  <a:pt x="113" y="83"/>
                </a:cubicBezTo>
                <a:cubicBezTo>
                  <a:pt x="130" y="83"/>
                  <a:pt x="143" y="97"/>
                  <a:pt x="143" y="113"/>
                </a:cubicBezTo>
                <a:cubicBezTo>
                  <a:pt x="143" y="129"/>
                  <a:pt x="130" y="142"/>
                  <a:pt x="113" y="142"/>
                </a:cubicBezTo>
                <a:close/>
                <a:moveTo>
                  <a:pt x="114" y="0"/>
                </a:moveTo>
                <a:lnTo>
                  <a:pt x="114" y="0"/>
                </a:lnTo>
                <a:cubicBezTo>
                  <a:pt x="51" y="0"/>
                  <a:pt x="0" y="51"/>
                  <a:pt x="0" y="113"/>
                </a:cubicBezTo>
                <a:cubicBezTo>
                  <a:pt x="0" y="129"/>
                  <a:pt x="4" y="144"/>
                  <a:pt x="10" y="158"/>
                </a:cubicBezTo>
                <a:lnTo>
                  <a:pt x="97" y="368"/>
                </a:lnTo>
                <a:cubicBezTo>
                  <a:pt x="100" y="375"/>
                  <a:pt x="106" y="380"/>
                  <a:pt x="114" y="380"/>
                </a:cubicBezTo>
                <a:cubicBezTo>
                  <a:pt x="121" y="380"/>
                  <a:pt x="128" y="375"/>
                  <a:pt x="131" y="368"/>
                </a:cubicBezTo>
                <a:lnTo>
                  <a:pt x="218" y="158"/>
                </a:lnTo>
                <a:cubicBezTo>
                  <a:pt x="224" y="144"/>
                  <a:pt x="227" y="129"/>
                  <a:pt x="227" y="113"/>
                </a:cubicBezTo>
                <a:cubicBezTo>
                  <a:pt x="227" y="51"/>
                  <a:pt x="176" y="0"/>
                  <a:pt x="114" y="0"/>
                </a:cubicBez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2" tIns="60941" rIns="121882" bIns="60941" numCol="1" anchor="t" anchorCtr="0" compatLnSpc="1">
            <a:prstTxWarp prst="textNoShape">
              <a:avLst/>
            </a:prstTxWarp>
          </a:bodyPr>
          <a:lstStyle/>
          <a:p>
            <a:endParaRPr lang="ru-RU" sz="2399">
              <a:solidFill>
                <a:srgbClr val="595959"/>
              </a:solidFill>
            </a:endParaRPr>
          </a:p>
        </p:txBody>
      </p:sp>
      <p:sp>
        <p:nvSpPr>
          <p:cNvPr id="60" name="Freeform 7"/>
          <p:cNvSpPr>
            <a:spLocks noEditPoints="1"/>
          </p:cNvSpPr>
          <p:nvPr/>
        </p:nvSpPr>
        <p:spPr bwMode="auto">
          <a:xfrm>
            <a:off x="9705933" y="4707816"/>
            <a:ext cx="160081" cy="268087"/>
          </a:xfrm>
          <a:custGeom>
            <a:avLst/>
            <a:gdLst>
              <a:gd name="T0" fmla="*/ 113 w 227"/>
              <a:gd name="T1" fmla="*/ 142 h 380"/>
              <a:gd name="T2" fmla="*/ 113 w 227"/>
              <a:gd name="T3" fmla="*/ 142 h 380"/>
              <a:gd name="T4" fmla="*/ 84 w 227"/>
              <a:gd name="T5" fmla="*/ 113 h 380"/>
              <a:gd name="T6" fmla="*/ 113 w 227"/>
              <a:gd name="T7" fmla="*/ 83 h 380"/>
              <a:gd name="T8" fmla="*/ 143 w 227"/>
              <a:gd name="T9" fmla="*/ 113 h 380"/>
              <a:gd name="T10" fmla="*/ 113 w 227"/>
              <a:gd name="T11" fmla="*/ 142 h 380"/>
              <a:gd name="T12" fmla="*/ 114 w 227"/>
              <a:gd name="T13" fmla="*/ 0 h 380"/>
              <a:gd name="T14" fmla="*/ 114 w 227"/>
              <a:gd name="T15" fmla="*/ 0 h 380"/>
              <a:gd name="T16" fmla="*/ 0 w 227"/>
              <a:gd name="T17" fmla="*/ 113 h 380"/>
              <a:gd name="T18" fmla="*/ 10 w 227"/>
              <a:gd name="T19" fmla="*/ 158 h 380"/>
              <a:gd name="T20" fmla="*/ 97 w 227"/>
              <a:gd name="T21" fmla="*/ 368 h 380"/>
              <a:gd name="T22" fmla="*/ 114 w 227"/>
              <a:gd name="T23" fmla="*/ 380 h 380"/>
              <a:gd name="T24" fmla="*/ 131 w 227"/>
              <a:gd name="T25" fmla="*/ 368 h 380"/>
              <a:gd name="T26" fmla="*/ 218 w 227"/>
              <a:gd name="T27" fmla="*/ 158 h 380"/>
              <a:gd name="T28" fmla="*/ 227 w 227"/>
              <a:gd name="T29" fmla="*/ 113 h 380"/>
              <a:gd name="T30" fmla="*/ 114 w 227"/>
              <a:gd name="T31" fmla="*/ 0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27" h="380">
                <a:moveTo>
                  <a:pt x="113" y="142"/>
                </a:moveTo>
                <a:lnTo>
                  <a:pt x="113" y="142"/>
                </a:lnTo>
                <a:cubicBezTo>
                  <a:pt x="97" y="142"/>
                  <a:pt x="84" y="129"/>
                  <a:pt x="84" y="113"/>
                </a:cubicBezTo>
                <a:cubicBezTo>
                  <a:pt x="84" y="97"/>
                  <a:pt x="97" y="83"/>
                  <a:pt x="113" y="83"/>
                </a:cubicBezTo>
                <a:cubicBezTo>
                  <a:pt x="130" y="83"/>
                  <a:pt x="143" y="97"/>
                  <a:pt x="143" y="113"/>
                </a:cubicBezTo>
                <a:cubicBezTo>
                  <a:pt x="143" y="129"/>
                  <a:pt x="130" y="142"/>
                  <a:pt x="113" y="142"/>
                </a:cubicBezTo>
                <a:close/>
                <a:moveTo>
                  <a:pt x="114" y="0"/>
                </a:moveTo>
                <a:lnTo>
                  <a:pt x="114" y="0"/>
                </a:lnTo>
                <a:cubicBezTo>
                  <a:pt x="51" y="0"/>
                  <a:pt x="0" y="51"/>
                  <a:pt x="0" y="113"/>
                </a:cubicBezTo>
                <a:cubicBezTo>
                  <a:pt x="0" y="129"/>
                  <a:pt x="4" y="144"/>
                  <a:pt x="10" y="158"/>
                </a:cubicBezTo>
                <a:lnTo>
                  <a:pt x="97" y="368"/>
                </a:lnTo>
                <a:cubicBezTo>
                  <a:pt x="100" y="375"/>
                  <a:pt x="106" y="380"/>
                  <a:pt x="114" y="380"/>
                </a:cubicBezTo>
                <a:cubicBezTo>
                  <a:pt x="121" y="380"/>
                  <a:pt x="128" y="375"/>
                  <a:pt x="131" y="368"/>
                </a:cubicBezTo>
                <a:lnTo>
                  <a:pt x="218" y="158"/>
                </a:lnTo>
                <a:cubicBezTo>
                  <a:pt x="224" y="144"/>
                  <a:pt x="227" y="129"/>
                  <a:pt x="227" y="113"/>
                </a:cubicBezTo>
                <a:cubicBezTo>
                  <a:pt x="227" y="51"/>
                  <a:pt x="176" y="0"/>
                  <a:pt x="114" y="0"/>
                </a:cubicBez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2" tIns="60941" rIns="121882" bIns="60941" numCol="1" anchor="t" anchorCtr="0" compatLnSpc="1">
            <a:prstTxWarp prst="textNoShape">
              <a:avLst/>
            </a:prstTxWarp>
          </a:bodyPr>
          <a:lstStyle/>
          <a:p>
            <a:endParaRPr lang="ru-RU" sz="2399">
              <a:solidFill>
                <a:srgbClr val="595959"/>
              </a:solidFill>
            </a:endParaRPr>
          </a:p>
        </p:txBody>
      </p:sp>
      <p:sp>
        <p:nvSpPr>
          <p:cNvPr id="61" name="Freeform 7"/>
          <p:cNvSpPr>
            <a:spLocks noEditPoints="1"/>
          </p:cNvSpPr>
          <p:nvPr/>
        </p:nvSpPr>
        <p:spPr bwMode="auto">
          <a:xfrm>
            <a:off x="10049857" y="4144044"/>
            <a:ext cx="160081" cy="268087"/>
          </a:xfrm>
          <a:custGeom>
            <a:avLst/>
            <a:gdLst>
              <a:gd name="T0" fmla="*/ 113 w 227"/>
              <a:gd name="T1" fmla="*/ 142 h 380"/>
              <a:gd name="T2" fmla="*/ 113 w 227"/>
              <a:gd name="T3" fmla="*/ 142 h 380"/>
              <a:gd name="T4" fmla="*/ 84 w 227"/>
              <a:gd name="T5" fmla="*/ 113 h 380"/>
              <a:gd name="T6" fmla="*/ 113 w 227"/>
              <a:gd name="T7" fmla="*/ 83 h 380"/>
              <a:gd name="T8" fmla="*/ 143 w 227"/>
              <a:gd name="T9" fmla="*/ 113 h 380"/>
              <a:gd name="T10" fmla="*/ 113 w 227"/>
              <a:gd name="T11" fmla="*/ 142 h 380"/>
              <a:gd name="T12" fmla="*/ 114 w 227"/>
              <a:gd name="T13" fmla="*/ 0 h 380"/>
              <a:gd name="T14" fmla="*/ 114 w 227"/>
              <a:gd name="T15" fmla="*/ 0 h 380"/>
              <a:gd name="T16" fmla="*/ 0 w 227"/>
              <a:gd name="T17" fmla="*/ 113 h 380"/>
              <a:gd name="T18" fmla="*/ 10 w 227"/>
              <a:gd name="T19" fmla="*/ 158 h 380"/>
              <a:gd name="T20" fmla="*/ 97 w 227"/>
              <a:gd name="T21" fmla="*/ 368 h 380"/>
              <a:gd name="T22" fmla="*/ 114 w 227"/>
              <a:gd name="T23" fmla="*/ 380 h 380"/>
              <a:gd name="T24" fmla="*/ 131 w 227"/>
              <a:gd name="T25" fmla="*/ 368 h 380"/>
              <a:gd name="T26" fmla="*/ 218 w 227"/>
              <a:gd name="T27" fmla="*/ 158 h 380"/>
              <a:gd name="T28" fmla="*/ 227 w 227"/>
              <a:gd name="T29" fmla="*/ 113 h 380"/>
              <a:gd name="T30" fmla="*/ 114 w 227"/>
              <a:gd name="T31" fmla="*/ 0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27" h="380">
                <a:moveTo>
                  <a:pt x="113" y="142"/>
                </a:moveTo>
                <a:lnTo>
                  <a:pt x="113" y="142"/>
                </a:lnTo>
                <a:cubicBezTo>
                  <a:pt x="97" y="142"/>
                  <a:pt x="84" y="129"/>
                  <a:pt x="84" y="113"/>
                </a:cubicBezTo>
                <a:cubicBezTo>
                  <a:pt x="84" y="97"/>
                  <a:pt x="97" y="83"/>
                  <a:pt x="113" y="83"/>
                </a:cubicBezTo>
                <a:cubicBezTo>
                  <a:pt x="130" y="83"/>
                  <a:pt x="143" y="97"/>
                  <a:pt x="143" y="113"/>
                </a:cubicBezTo>
                <a:cubicBezTo>
                  <a:pt x="143" y="129"/>
                  <a:pt x="130" y="142"/>
                  <a:pt x="113" y="142"/>
                </a:cubicBezTo>
                <a:close/>
                <a:moveTo>
                  <a:pt x="114" y="0"/>
                </a:moveTo>
                <a:lnTo>
                  <a:pt x="114" y="0"/>
                </a:lnTo>
                <a:cubicBezTo>
                  <a:pt x="51" y="0"/>
                  <a:pt x="0" y="51"/>
                  <a:pt x="0" y="113"/>
                </a:cubicBezTo>
                <a:cubicBezTo>
                  <a:pt x="0" y="129"/>
                  <a:pt x="4" y="144"/>
                  <a:pt x="10" y="158"/>
                </a:cubicBezTo>
                <a:lnTo>
                  <a:pt x="97" y="368"/>
                </a:lnTo>
                <a:cubicBezTo>
                  <a:pt x="100" y="375"/>
                  <a:pt x="106" y="380"/>
                  <a:pt x="114" y="380"/>
                </a:cubicBezTo>
                <a:cubicBezTo>
                  <a:pt x="121" y="380"/>
                  <a:pt x="128" y="375"/>
                  <a:pt x="131" y="368"/>
                </a:cubicBezTo>
                <a:lnTo>
                  <a:pt x="218" y="158"/>
                </a:lnTo>
                <a:cubicBezTo>
                  <a:pt x="224" y="144"/>
                  <a:pt x="227" y="129"/>
                  <a:pt x="227" y="113"/>
                </a:cubicBezTo>
                <a:cubicBezTo>
                  <a:pt x="227" y="51"/>
                  <a:pt x="176" y="0"/>
                  <a:pt x="114" y="0"/>
                </a:cubicBezTo>
                <a:close/>
              </a:path>
            </a:pathLst>
          </a:custGeom>
          <a:solidFill>
            <a:srgbClr val="00B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882" tIns="60941" rIns="121882" bIns="60941" numCol="1" anchor="t" anchorCtr="0" compatLnSpc="1">
            <a:prstTxWarp prst="textNoShape">
              <a:avLst/>
            </a:prstTxWarp>
          </a:bodyPr>
          <a:lstStyle/>
          <a:p>
            <a:endParaRPr lang="ru-RU" sz="2399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955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mrIqgIaAy1qX8Bhg4R7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60</TotalTime>
  <Words>601</Words>
  <Application>Microsoft Office PowerPoint</Application>
  <PresentationFormat>Произвольный</PresentationFormat>
  <Paragraphs>118</Paragraphs>
  <Slides>13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Тема Office</vt:lpstr>
      <vt:lpstr>Слайд think-cell</vt:lpstr>
      <vt:lpstr>Презентация PowerPoint</vt:lpstr>
      <vt:lpstr>Презентация PowerPoint</vt:lpstr>
      <vt:lpstr>Технологическая платформа МегаФона</vt:lpstr>
      <vt:lpstr>Живой источник данных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ПАО "МегаФон"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ndrey Levinsky (HQ)</dc:creator>
  <cp:lastModifiedBy>Абайдуллин Марат Хадиевич</cp:lastModifiedBy>
  <cp:revision>251</cp:revision>
  <dcterms:created xsi:type="dcterms:W3CDTF">2018-10-18T12:21:55Z</dcterms:created>
  <dcterms:modified xsi:type="dcterms:W3CDTF">2019-08-08T13:53:59Z</dcterms:modified>
</cp:coreProperties>
</file>